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2.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theme/theme3.xml" ContentType="application/vnd.openxmlformats-officedocument.theme+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theme/theme4.xml" ContentType="application/vnd.openxmlformats-officedocument.theme+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theme/theme5.xml" ContentType="application/vnd.openxmlformats-officedocument.theme+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theme/theme7.xml" ContentType="application/vnd.openxmlformats-officedocument.theme+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theme/theme8.xml" ContentType="application/vnd.openxmlformats-officedocument.theme+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theme/theme9.xml" ContentType="application/vnd.openxmlformats-officedocument.theme+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theme/theme10.xml" ContentType="application/vnd.openxmlformats-officedocument.theme+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theme/theme11.xml" ContentType="application/vnd.openxmlformats-officedocument.theme+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theme/theme12.xml" ContentType="application/vnd.openxmlformats-officedocument.theme+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theme/theme13.xml" ContentType="application/vnd.openxmlformats-officedocument.theme+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921" r:id="rId2"/>
    <p:sldMasterId id="2147484071" r:id="rId3"/>
    <p:sldMasterId id="2147485679" r:id="rId4"/>
    <p:sldMasterId id="2147485626" r:id="rId5"/>
    <p:sldMasterId id="2147485628" r:id="rId6"/>
    <p:sldMasterId id="2147485582" r:id="rId7"/>
    <p:sldMasterId id="2147486664" r:id="rId8"/>
    <p:sldMasterId id="2147486666" r:id="rId9"/>
    <p:sldMasterId id="2147486679" r:id="rId10"/>
    <p:sldMasterId id="2147483661" r:id="rId11"/>
    <p:sldMasterId id="2147488246" r:id="rId12"/>
    <p:sldMasterId id="2147488259" r:id="rId13"/>
    <p:sldMasterId id="2147488271" r:id="rId14"/>
  </p:sldMasterIdLst>
  <p:notesMasterIdLst>
    <p:notesMasterId r:id="rId80"/>
  </p:notesMasterIdLst>
  <p:sldIdLst>
    <p:sldId id="256" r:id="rId15"/>
    <p:sldId id="257" r:id="rId16"/>
    <p:sldId id="443" r:id="rId17"/>
    <p:sldId id="442" r:id="rId18"/>
    <p:sldId id="884" r:id="rId19"/>
    <p:sldId id="260" r:id="rId20"/>
    <p:sldId id="2145707991" r:id="rId21"/>
    <p:sldId id="841" r:id="rId22"/>
    <p:sldId id="335" r:id="rId23"/>
    <p:sldId id="336" r:id="rId24"/>
    <p:sldId id="842" r:id="rId25"/>
    <p:sldId id="262" r:id="rId26"/>
    <p:sldId id="840" r:id="rId27"/>
    <p:sldId id="265" r:id="rId28"/>
    <p:sldId id="266" r:id="rId29"/>
    <p:sldId id="1034" r:id="rId30"/>
    <p:sldId id="665" r:id="rId31"/>
    <p:sldId id="2145708015" r:id="rId32"/>
    <p:sldId id="2145708016" r:id="rId33"/>
    <p:sldId id="2145708020" r:id="rId34"/>
    <p:sldId id="2145708010" r:id="rId35"/>
    <p:sldId id="2145708017" r:id="rId36"/>
    <p:sldId id="2145708012" r:id="rId37"/>
    <p:sldId id="2145707996" r:id="rId38"/>
    <p:sldId id="2145707997" r:id="rId39"/>
    <p:sldId id="258" r:id="rId40"/>
    <p:sldId id="259" r:id="rId41"/>
    <p:sldId id="2145707998" r:id="rId42"/>
    <p:sldId id="261" r:id="rId43"/>
    <p:sldId id="2145707999" r:id="rId44"/>
    <p:sldId id="263" r:id="rId45"/>
    <p:sldId id="264" r:id="rId46"/>
    <p:sldId id="2145708000" r:id="rId47"/>
    <p:sldId id="2145708001" r:id="rId48"/>
    <p:sldId id="267" r:id="rId49"/>
    <p:sldId id="317" r:id="rId50"/>
    <p:sldId id="2145708002" r:id="rId51"/>
    <p:sldId id="2145708003" r:id="rId52"/>
    <p:sldId id="283" r:id="rId53"/>
    <p:sldId id="312" r:id="rId54"/>
    <p:sldId id="287" r:id="rId55"/>
    <p:sldId id="2145708004" r:id="rId56"/>
    <p:sldId id="2145708005" r:id="rId57"/>
    <p:sldId id="2145708006" r:id="rId58"/>
    <p:sldId id="306" r:id="rId59"/>
    <p:sldId id="307" r:id="rId60"/>
    <p:sldId id="313" r:id="rId61"/>
    <p:sldId id="311" r:id="rId62"/>
    <p:sldId id="314" r:id="rId63"/>
    <p:sldId id="315" r:id="rId64"/>
    <p:sldId id="2145707994" r:id="rId65"/>
    <p:sldId id="2145707995" r:id="rId66"/>
    <p:sldId id="318" r:id="rId67"/>
    <p:sldId id="2145708018" r:id="rId68"/>
    <p:sldId id="2145708019" r:id="rId69"/>
    <p:sldId id="860" r:id="rId70"/>
    <p:sldId id="861" r:id="rId71"/>
    <p:sldId id="862" r:id="rId72"/>
    <p:sldId id="319" r:id="rId73"/>
    <p:sldId id="2145707985" r:id="rId74"/>
    <p:sldId id="2145707989" r:id="rId75"/>
    <p:sldId id="320" r:id="rId76"/>
    <p:sldId id="845" r:id="rId77"/>
    <p:sldId id="322" r:id="rId78"/>
    <p:sldId id="323" r:id="rId79"/>
  </p:sldIdLst>
  <p:sldSz cx="12192000" cy="6858000"/>
  <p:notesSz cx="7102475" cy="9388475"/>
  <p:embeddedFontLst>
    <p:embeddedFont>
      <p:font typeface="Cambria" panose="02040503050406030204" pitchFamily="18" charset="0"/>
      <p:regular r:id="rId81"/>
      <p:bold r:id="rId82"/>
      <p:italic r:id="rId83"/>
      <p:boldItalic r:id="rId84"/>
    </p:embeddedFont>
    <p:embeddedFont>
      <p:font typeface="Canva Sans Bold" panose="020B0604020202020204" charset="0"/>
      <p:regular r:id="rId85"/>
    </p:embeddedFont>
    <p:embeddedFont>
      <p:font typeface="EB Garamond" panose="00000500000000000000" pitchFamily="2" charset="0"/>
      <p:regular r:id="rId86"/>
      <p:bold r:id="rId87"/>
      <p:italic r:id="rId88"/>
      <p:boldItalic r:id="rId89"/>
    </p:embeddedFont>
    <p:embeddedFont>
      <p:font typeface="EB Garamond Italics" panose="020B0604020202020204" charset="0"/>
      <p:regular r:id="rId90"/>
    </p:embeddedFont>
    <p:embeddedFont>
      <p:font typeface="EB Garamond Semi-Bold" panose="020B0604020202020204" charset="0"/>
      <p:regular r:id="rId91"/>
    </p:embeddedFont>
    <p:embeddedFont>
      <p:font typeface="EB Garamond Semi-Bold Italics" panose="020B0604020202020204" charset="0"/>
      <p:regular r:id="rId92"/>
    </p:embeddedFont>
    <p:embeddedFont>
      <p:font typeface="Goudy Old Style" panose="02020502050305020303" pitchFamily="18" charset="0"/>
      <p:regular r:id="rId93"/>
      <p:bold r:id="rId94"/>
      <p:italic r:id="rId95"/>
    </p:embeddedFont>
    <p:embeddedFont>
      <p:font typeface="Helvetica Neue" panose="020B0604020202020204" charset="0"/>
      <p:regular r:id="rId96"/>
      <p:bold r:id="rId97"/>
      <p:italic r:id="rId98"/>
      <p:boldItalic r:id="rId99"/>
    </p:embeddedFont>
    <p:embeddedFont>
      <p:font typeface="Moontime" panose="020B0604020202020204" charset="0"/>
      <p:regular r:id="rId100"/>
    </p:embeddedFont>
    <p:embeddedFont>
      <p:font typeface="Prompt" panose="00000500000000000000" pitchFamily="2" charset="-34"/>
      <p:regular r:id="rId101"/>
      <p:bold r:id="rId102"/>
      <p:italic r:id="rId103"/>
      <p:boldItalic r:id="rId104"/>
    </p:embeddedFont>
    <p:embeddedFont>
      <p:font typeface="Prompt Bold" panose="00000800000000000000" pitchFamily="2" charset="-34"/>
      <p:bold r:id="rId105"/>
    </p:embeddedFont>
    <p:embeddedFont>
      <p:font typeface="Segoe UI" panose="020B0502040204020203" pitchFamily="34" charset="0"/>
      <p:regular r:id="rId106"/>
      <p:bold r:id="rId107"/>
      <p:italic r:id="rId108"/>
      <p:boldItalic r:id="rId109"/>
    </p:embeddedFont>
    <p:embeddedFont>
      <p:font typeface="Staatliches" pitchFamily="2" charset="0"/>
      <p:regular r:id="rId11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37" roundtripDataSignature="AMtx7mj2bU3F9M/eAtc9o35hraHKA9qbxg=="/>
    </p:ext>
  </p:extLst>
</p:presentation>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font" Target="fonts/font4.fntdata"/><Relationship Id="rId89" Type="http://schemas.openxmlformats.org/officeDocument/2006/relationships/font" Target="fonts/font9.fntdata"/><Relationship Id="rId138" Type="http://schemas.openxmlformats.org/officeDocument/2006/relationships/presProps" Target="presProps.xml"/><Relationship Id="rId16" Type="http://schemas.openxmlformats.org/officeDocument/2006/relationships/slide" Target="slides/slide2.xml"/><Relationship Id="rId107" Type="http://schemas.openxmlformats.org/officeDocument/2006/relationships/font" Target="fonts/font27.fntdata"/><Relationship Id="rId11" Type="http://schemas.openxmlformats.org/officeDocument/2006/relationships/slideMaster" Target="slideMasters/slideMaster11.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font" Target="fonts/font22.fntdata"/><Relationship Id="rId5" Type="http://schemas.openxmlformats.org/officeDocument/2006/relationships/slideMaster" Target="slideMasters/slideMaster5.xml"/><Relationship Id="rId90" Type="http://schemas.openxmlformats.org/officeDocument/2006/relationships/font" Target="fonts/font10.fntdata"/><Relationship Id="rId95" Type="http://schemas.openxmlformats.org/officeDocument/2006/relationships/font" Target="fonts/font15.fntdata"/><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139" Type="http://schemas.openxmlformats.org/officeDocument/2006/relationships/viewProps" Target="viewProps.xml"/><Relationship Id="rId80" Type="http://schemas.openxmlformats.org/officeDocument/2006/relationships/notesMaster" Target="notesMasters/notesMaster1.xml"/><Relationship Id="rId85" Type="http://schemas.openxmlformats.org/officeDocument/2006/relationships/font" Target="fonts/font5.fntdata"/><Relationship Id="rId12" Type="http://schemas.openxmlformats.org/officeDocument/2006/relationships/slideMaster" Target="slideMasters/slideMaster12.xml"/><Relationship Id="rId17" Type="http://schemas.openxmlformats.org/officeDocument/2006/relationships/slide" Target="slides/slide3.xml"/><Relationship Id="rId33" Type="http://schemas.openxmlformats.org/officeDocument/2006/relationships/slide" Target="slides/slide19.xml"/><Relationship Id="rId38" Type="http://schemas.openxmlformats.org/officeDocument/2006/relationships/slide" Target="slides/slide24.xml"/><Relationship Id="rId59" Type="http://schemas.openxmlformats.org/officeDocument/2006/relationships/slide" Target="slides/slide45.xml"/><Relationship Id="rId103" Type="http://schemas.openxmlformats.org/officeDocument/2006/relationships/font" Target="fonts/font23.fntdata"/><Relationship Id="rId108" Type="http://schemas.openxmlformats.org/officeDocument/2006/relationships/font" Target="fonts/font28.fntdata"/><Relationship Id="rId54" Type="http://schemas.openxmlformats.org/officeDocument/2006/relationships/slide" Target="slides/slide40.xml"/><Relationship Id="rId70" Type="http://schemas.openxmlformats.org/officeDocument/2006/relationships/slide" Target="slides/slide56.xml"/><Relationship Id="rId75" Type="http://schemas.openxmlformats.org/officeDocument/2006/relationships/slide" Target="slides/slide61.xml"/><Relationship Id="rId91" Type="http://schemas.openxmlformats.org/officeDocument/2006/relationships/font" Target="fonts/font11.fntdata"/><Relationship Id="rId96" Type="http://schemas.openxmlformats.org/officeDocument/2006/relationships/font" Target="fonts/font16.fntdata"/><Relationship Id="rId14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6" Type="http://schemas.openxmlformats.org/officeDocument/2006/relationships/font" Target="fonts/font26.fntdata"/><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font" Target="fonts/font1.fntdata"/><Relationship Id="rId86" Type="http://schemas.openxmlformats.org/officeDocument/2006/relationships/font" Target="fonts/font6.fntdata"/><Relationship Id="rId94" Type="http://schemas.openxmlformats.org/officeDocument/2006/relationships/font" Target="fonts/font14.fntdata"/><Relationship Id="rId99" Type="http://schemas.openxmlformats.org/officeDocument/2006/relationships/font" Target="fonts/font19.fntdata"/><Relationship Id="rId101" Type="http://schemas.openxmlformats.org/officeDocument/2006/relationships/font" Target="fonts/font21.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4.xml"/><Relationship Id="rId39" Type="http://schemas.openxmlformats.org/officeDocument/2006/relationships/slide" Target="slides/slide25.xml"/><Relationship Id="rId109" Type="http://schemas.openxmlformats.org/officeDocument/2006/relationships/font" Target="fonts/font29.fntdata"/><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font" Target="fonts/font17.fntdata"/><Relationship Id="rId104" Type="http://schemas.openxmlformats.org/officeDocument/2006/relationships/font" Target="fonts/font24.fntdata"/><Relationship Id="rId141"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57.xml"/><Relationship Id="rId92" Type="http://schemas.openxmlformats.org/officeDocument/2006/relationships/font" Target="fonts/font12.fntdata"/><Relationship Id="rId2" Type="http://schemas.openxmlformats.org/officeDocument/2006/relationships/slideMaster" Target="slideMasters/slideMaster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font" Target="fonts/font7.fntdata"/><Relationship Id="rId110" Type="http://schemas.openxmlformats.org/officeDocument/2006/relationships/font" Target="fonts/font30.fntdata"/><Relationship Id="rId61" Type="http://schemas.openxmlformats.org/officeDocument/2006/relationships/slide" Target="slides/slide47.xml"/><Relationship Id="rId82" Type="http://schemas.openxmlformats.org/officeDocument/2006/relationships/font" Target="fonts/font2.fntdata"/><Relationship Id="rId19" Type="http://schemas.openxmlformats.org/officeDocument/2006/relationships/slide" Target="slides/slide5.xml"/><Relationship Id="rId14" Type="http://schemas.openxmlformats.org/officeDocument/2006/relationships/slideMaster" Target="slideMasters/slideMaster14.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font" Target="fonts/font20.fntdata"/><Relationship Id="rId105" Type="http://schemas.openxmlformats.org/officeDocument/2006/relationships/font" Target="fonts/font25.fntdata"/><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font" Target="fonts/font13.fntdata"/><Relationship Id="rId98" Type="http://schemas.openxmlformats.org/officeDocument/2006/relationships/font" Target="fonts/font18.fntdata"/><Relationship Id="rId142" Type="http://schemas.microsoft.com/office/2015/10/relationships/revisionInfo" Target="revisionInfo.xml"/><Relationship Id="rId3" Type="http://schemas.openxmlformats.org/officeDocument/2006/relationships/slideMaster" Target="slideMasters/slideMaster3.xml"/><Relationship Id="rId25" Type="http://schemas.openxmlformats.org/officeDocument/2006/relationships/slide" Target="slides/slide11.xml"/><Relationship Id="rId46" Type="http://schemas.openxmlformats.org/officeDocument/2006/relationships/slide" Target="slides/slide32.xml"/><Relationship Id="rId67" Type="http://schemas.openxmlformats.org/officeDocument/2006/relationships/slide" Target="slides/slide53.xml"/><Relationship Id="rId137" Type="http://customschemas.google.com/relationships/presentationmetadata" Target="metadata"/><Relationship Id="rId20" Type="http://schemas.openxmlformats.org/officeDocument/2006/relationships/slide" Target="slides/slide6.xml"/><Relationship Id="rId41" Type="http://schemas.openxmlformats.org/officeDocument/2006/relationships/slide" Target="slides/slide27.xml"/><Relationship Id="rId62" Type="http://schemas.openxmlformats.org/officeDocument/2006/relationships/slide" Target="slides/slide48.xml"/><Relationship Id="rId83" Type="http://schemas.openxmlformats.org/officeDocument/2006/relationships/font" Target="fonts/font3.fntdata"/><Relationship Id="rId88" Type="http://schemas.openxmlformats.org/officeDocument/2006/relationships/font" Target="fonts/font8.fntdata"/></Relationships>
</file>

<file path=ppt/diagrams/_rels/data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image" Target="../media/image107.png"/><Relationship Id="rId6" Type="http://schemas.openxmlformats.org/officeDocument/2006/relationships/image" Target="../media/image112.png"/><Relationship Id="rId5" Type="http://schemas.openxmlformats.org/officeDocument/2006/relationships/image" Target="../media/image111.png"/><Relationship Id="rId4" Type="http://schemas.openxmlformats.org/officeDocument/2006/relationships/image" Target="../media/image110.png"/></Relationships>
</file>

<file path=ppt/diagrams/data1.xml><?xml version="1.0" encoding="utf-8"?>
<dgm:dataModel xmlns:dgm="http://schemas.openxmlformats.org/drawingml/2006/diagram" xmlns:a="http://schemas.openxmlformats.org/drawingml/2006/main">
  <dgm:ptLst>
    <dgm:pt modelId="{7BA85AD2-5052-45D5-BFD5-C6143513CD6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9F50EA3-B768-423C-9EDA-844D80EA40E9}">
      <dgm:prSet phldr="0"/>
      <dgm:spPr/>
      <dgm:t>
        <a:bodyPr/>
        <a:lstStyle/>
        <a:p>
          <a:pPr algn="l" rtl="0"/>
          <a:r>
            <a:rPr lang="en-US">
              <a:solidFill>
                <a:schemeClr val="bg1"/>
              </a:solidFill>
              <a:latin typeface="Calibri"/>
              <a:cs typeface="Calibri"/>
            </a:rPr>
            <a:t>Goal for each Birth Equity team to identify and engage a patient partner before Face-to-Face conference in May 2024</a:t>
          </a:r>
        </a:p>
      </dgm:t>
    </dgm:pt>
    <dgm:pt modelId="{02595B5A-1EBD-4963-A62C-1F60FC6F4249}" type="parTrans" cxnId="{DC8026A9-6DC9-4BA4-8002-0066C7FDBBDC}">
      <dgm:prSet/>
      <dgm:spPr/>
      <dgm:t>
        <a:bodyPr/>
        <a:lstStyle/>
        <a:p>
          <a:endParaRPr lang="en-US"/>
        </a:p>
      </dgm:t>
    </dgm:pt>
    <dgm:pt modelId="{83741C1F-4374-4DA4-883D-1EF91EBC8BB2}" type="sibTrans" cxnId="{DC8026A9-6DC9-4BA4-8002-0066C7FDBBDC}">
      <dgm:prSet/>
      <dgm:spPr/>
      <dgm:t>
        <a:bodyPr/>
        <a:lstStyle/>
        <a:p>
          <a:endParaRPr lang="en-US"/>
        </a:p>
      </dgm:t>
    </dgm:pt>
    <dgm:pt modelId="{82C89D97-4AEB-4298-927F-D75D5773ED8E}">
      <dgm:prSet phldr="0"/>
      <dgm:spPr/>
      <dgm:t>
        <a:bodyPr/>
        <a:lstStyle/>
        <a:p>
          <a:pPr algn="l" rtl="0"/>
          <a:r>
            <a:rPr lang="en-US">
              <a:solidFill>
                <a:schemeClr val="bg1"/>
              </a:solidFill>
              <a:latin typeface="Calibri"/>
              <a:cs typeface="Calibri"/>
            </a:rPr>
            <a:t>All hospitals hold a Respectful Care Breakfast invite patients delivered at your hospital and clinical team members before Face-to-Face and plan quarterly or biannual </a:t>
          </a:r>
        </a:p>
      </dgm:t>
    </dgm:pt>
    <dgm:pt modelId="{73359EC5-8379-4CB1-8060-F9684305F107}" type="parTrans" cxnId="{0CAF40CC-9D1A-4EC5-A76C-FD6EF1412796}">
      <dgm:prSet/>
      <dgm:spPr/>
      <dgm:t>
        <a:bodyPr/>
        <a:lstStyle/>
        <a:p>
          <a:endParaRPr lang="en-US"/>
        </a:p>
      </dgm:t>
    </dgm:pt>
    <dgm:pt modelId="{CC71B899-96FA-4B31-8413-63894D2F2E76}" type="sibTrans" cxnId="{0CAF40CC-9D1A-4EC5-A76C-FD6EF1412796}">
      <dgm:prSet/>
      <dgm:spPr/>
      <dgm:t>
        <a:bodyPr/>
        <a:lstStyle/>
        <a:p>
          <a:endParaRPr lang="en-US"/>
        </a:p>
      </dgm:t>
    </dgm:pt>
    <dgm:pt modelId="{B13823EE-15F7-43F9-A491-B66C7CA82672}" type="pres">
      <dgm:prSet presAssocID="{7BA85AD2-5052-45D5-BFD5-C6143513CD62}" presName="diagram" presStyleCnt="0">
        <dgm:presLayoutVars>
          <dgm:dir/>
          <dgm:resizeHandles val="exact"/>
        </dgm:presLayoutVars>
      </dgm:prSet>
      <dgm:spPr/>
    </dgm:pt>
    <dgm:pt modelId="{7E14F6E9-A33C-4A5E-9353-A4D1EF765898}" type="pres">
      <dgm:prSet presAssocID="{D9F50EA3-B768-423C-9EDA-844D80EA40E9}" presName="node" presStyleLbl="node1" presStyleIdx="0" presStyleCnt="2">
        <dgm:presLayoutVars>
          <dgm:bulletEnabled val="1"/>
        </dgm:presLayoutVars>
      </dgm:prSet>
      <dgm:spPr/>
    </dgm:pt>
    <dgm:pt modelId="{8A3F39D6-FEF2-42F3-BE74-E27D6490EA7A}" type="pres">
      <dgm:prSet presAssocID="{83741C1F-4374-4DA4-883D-1EF91EBC8BB2}" presName="sibTrans" presStyleCnt="0"/>
      <dgm:spPr/>
    </dgm:pt>
    <dgm:pt modelId="{C2FCD772-AB90-4181-AAFA-507DF54BAF27}" type="pres">
      <dgm:prSet presAssocID="{82C89D97-4AEB-4298-927F-D75D5773ED8E}" presName="node" presStyleLbl="node1" presStyleIdx="1" presStyleCnt="2">
        <dgm:presLayoutVars>
          <dgm:bulletEnabled val="1"/>
        </dgm:presLayoutVars>
      </dgm:prSet>
      <dgm:spPr/>
    </dgm:pt>
  </dgm:ptLst>
  <dgm:cxnLst>
    <dgm:cxn modelId="{E9DCFF07-81A4-45C9-8FBC-CA49A1A33968}" type="presOf" srcId="{D9F50EA3-B768-423C-9EDA-844D80EA40E9}" destId="{7E14F6E9-A33C-4A5E-9353-A4D1EF765898}" srcOrd="0" destOrd="0" presId="urn:microsoft.com/office/officeart/2005/8/layout/default"/>
    <dgm:cxn modelId="{6676CD57-F3B0-4330-AB0C-28B4BF813124}" type="presOf" srcId="{82C89D97-4AEB-4298-927F-D75D5773ED8E}" destId="{C2FCD772-AB90-4181-AAFA-507DF54BAF27}" srcOrd="0" destOrd="0" presId="urn:microsoft.com/office/officeart/2005/8/layout/default"/>
    <dgm:cxn modelId="{DC8026A9-6DC9-4BA4-8002-0066C7FDBBDC}" srcId="{7BA85AD2-5052-45D5-BFD5-C6143513CD62}" destId="{D9F50EA3-B768-423C-9EDA-844D80EA40E9}" srcOrd="0" destOrd="0" parTransId="{02595B5A-1EBD-4963-A62C-1F60FC6F4249}" sibTransId="{83741C1F-4374-4DA4-883D-1EF91EBC8BB2}"/>
    <dgm:cxn modelId="{34C44EBE-C1AB-413A-B121-FA62B8ED0143}" type="presOf" srcId="{7BA85AD2-5052-45D5-BFD5-C6143513CD62}" destId="{B13823EE-15F7-43F9-A491-B66C7CA82672}" srcOrd="0" destOrd="0" presId="urn:microsoft.com/office/officeart/2005/8/layout/default"/>
    <dgm:cxn modelId="{0CAF40CC-9D1A-4EC5-A76C-FD6EF1412796}" srcId="{7BA85AD2-5052-45D5-BFD5-C6143513CD62}" destId="{82C89D97-4AEB-4298-927F-D75D5773ED8E}" srcOrd="1" destOrd="0" parTransId="{73359EC5-8379-4CB1-8060-F9684305F107}" sibTransId="{CC71B899-96FA-4B31-8413-63894D2F2E76}"/>
    <dgm:cxn modelId="{741C8D14-07C8-4CD6-8CA8-C5E88A0DF4F6}" type="presParOf" srcId="{B13823EE-15F7-43F9-A491-B66C7CA82672}" destId="{7E14F6E9-A33C-4A5E-9353-A4D1EF765898}" srcOrd="0" destOrd="0" presId="urn:microsoft.com/office/officeart/2005/8/layout/default"/>
    <dgm:cxn modelId="{FB67DFB8-8260-498B-A516-5B890018551C}" type="presParOf" srcId="{B13823EE-15F7-43F9-A491-B66C7CA82672}" destId="{8A3F39D6-FEF2-42F3-BE74-E27D6490EA7A}" srcOrd="1" destOrd="0" presId="urn:microsoft.com/office/officeart/2005/8/layout/default"/>
    <dgm:cxn modelId="{2DCFE84A-B14A-42BF-9A8A-21DEBC3DC261}" type="presParOf" srcId="{B13823EE-15F7-43F9-A491-B66C7CA82672}" destId="{C2FCD772-AB90-4181-AAFA-507DF54BAF27}"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4A868A-664D-42B6-A599-58F4180D9CD5}" type="doc">
      <dgm:prSet loTypeId="urn:microsoft.com/office/officeart/2008/layout/PictureStrips" loCatId="list" qsTypeId="urn:microsoft.com/office/officeart/2005/8/quickstyle/simple3" qsCatId="simple" csTypeId="urn:microsoft.com/office/officeart/2005/8/colors/accent3_5" csCatId="accent3" phldr="1"/>
      <dgm:spPr/>
      <dgm:t>
        <a:bodyPr/>
        <a:lstStyle/>
        <a:p>
          <a:endParaRPr lang="en-US"/>
        </a:p>
      </dgm:t>
    </dgm:pt>
    <dgm:pt modelId="{7806FEDF-A619-4F80-A944-A6AFB900500D}">
      <dgm:prSet phldrT="[Text]" custT="1"/>
      <dgm:spPr>
        <a:ln w="38100">
          <a:solidFill>
            <a:schemeClr val="accent2"/>
          </a:solidFill>
        </a:ln>
      </dgm:spPr>
      <dgm:t>
        <a:bodyPr/>
        <a:lstStyle/>
        <a:p>
          <a:r>
            <a:rPr lang="en-US" sz="2000" b="1">
              <a:ln>
                <a:noFill/>
              </a:ln>
              <a:solidFill>
                <a:schemeClr val="tx1">
                  <a:lumMod val="50000"/>
                </a:schemeClr>
              </a:solidFill>
            </a:rPr>
            <a:t>Optimize race/ethnicity data</a:t>
          </a:r>
          <a:r>
            <a:rPr lang="en-US" sz="2000">
              <a:ln>
                <a:noFill/>
              </a:ln>
              <a:solidFill>
                <a:schemeClr val="tx1">
                  <a:lumMod val="50000"/>
                </a:schemeClr>
              </a:solidFill>
            </a:rPr>
            <a:t> collection &amp; review key maternal quality data by race, ethnicity &amp; Medicaid status</a:t>
          </a:r>
        </a:p>
      </dgm:t>
    </dgm:pt>
    <dgm:pt modelId="{86F72BA6-7DE5-43E1-BC7F-A064EE63861B}" type="parTrans" cxnId="{A7D9D694-C8B8-437A-8E2A-E8125F469397}">
      <dgm:prSet/>
      <dgm:spPr/>
      <dgm:t>
        <a:bodyPr/>
        <a:lstStyle/>
        <a:p>
          <a:endParaRPr lang="en-US"/>
        </a:p>
      </dgm:t>
    </dgm:pt>
    <dgm:pt modelId="{7C7F3E4F-3F1C-45D6-B50F-B53180E08D01}" type="sibTrans" cxnId="{A7D9D694-C8B8-437A-8E2A-E8125F469397}">
      <dgm:prSet/>
      <dgm:spPr/>
      <dgm:t>
        <a:bodyPr/>
        <a:lstStyle/>
        <a:p>
          <a:endParaRPr lang="en-US"/>
        </a:p>
      </dgm:t>
    </dgm:pt>
    <dgm:pt modelId="{8BADECEC-2FF8-40F9-8CEC-87662EC9ACD4}">
      <dgm:prSet phldrT="[Text]" custT="1"/>
      <dgm:spPr>
        <a:ln w="38100">
          <a:solidFill>
            <a:schemeClr val="accent2"/>
          </a:solidFill>
        </a:ln>
      </dgm:spPr>
      <dgm:t>
        <a:bodyPr/>
        <a:lstStyle/>
        <a:p>
          <a:r>
            <a:rPr lang="en-US" sz="2000" b="1">
              <a:solidFill>
                <a:schemeClr val="tx1">
                  <a:lumMod val="50000"/>
                </a:schemeClr>
              </a:solidFill>
            </a:rPr>
            <a:t>Engage patients and community members </a:t>
          </a:r>
          <a:r>
            <a:rPr lang="en-US" sz="2000">
              <a:solidFill>
                <a:schemeClr val="tx1">
                  <a:lumMod val="50000"/>
                </a:schemeClr>
              </a:solidFill>
            </a:rPr>
            <a:t>for input on quality improvement efforts</a:t>
          </a:r>
        </a:p>
      </dgm:t>
    </dgm:pt>
    <dgm:pt modelId="{4D804546-C693-45EC-852E-E9164F816126}" type="parTrans" cxnId="{F0C010E1-0925-47C2-BC60-F5D7ACA41474}">
      <dgm:prSet/>
      <dgm:spPr/>
      <dgm:t>
        <a:bodyPr/>
        <a:lstStyle/>
        <a:p>
          <a:endParaRPr lang="en-US"/>
        </a:p>
      </dgm:t>
    </dgm:pt>
    <dgm:pt modelId="{30734B9A-4BBF-4E31-AA4B-6CF614EECEFD}" type="sibTrans" cxnId="{F0C010E1-0925-47C2-BC60-F5D7ACA41474}">
      <dgm:prSet/>
      <dgm:spPr/>
      <dgm:t>
        <a:bodyPr/>
        <a:lstStyle/>
        <a:p>
          <a:endParaRPr lang="en-US"/>
        </a:p>
      </dgm:t>
    </dgm:pt>
    <dgm:pt modelId="{06AE8033-DDA0-4D78-B03F-3AD1CD6C2EF0}">
      <dgm:prSet custT="1"/>
      <dgm:spPr>
        <a:solidFill>
          <a:schemeClr val="accent6">
            <a:lumMod val="40000"/>
            <a:lumOff val="60000"/>
            <a:alpha val="40000"/>
          </a:schemeClr>
        </a:solidFill>
        <a:ln w="38100">
          <a:solidFill>
            <a:schemeClr val="accent3"/>
          </a:solidFill>
        </a:ln>
      </dgm:spPr>
      <dgm:t>
        <a:bodyPr/>
        <a:lstStyle/>
        <a:p>
          <a:r>
            <a:rPr lang="en-US" sz="1900">
              <a:solidFill>
                <a:schemeClr val="tx1">
                  <a:lumMod val="50000"/>
                </a:schemeClr>
              </a:solidFill>
            </a:rPr>
            <a:t>Universal </a:t>
          </a:r>
          <a:r>
            <a:rPr lang="en-US" sz="1900" b="1">
              <a:solidFill>
                <a:schemeClr val="tx1">
                  <a:lumMod val="50000"/>
                </a:schemeClr>
              </a:solidFill>
            </a:rPr>
            <a:t>social determinants of health screening</a:t>
          </a:r>
          <a:r>
            <a:rPr lang="en-US" sz="1900">
              <a:solidFill>
                <a:schemeClr val="tx1">
                  <a:lumMod val="50000"/>
                </a:schemeClr>
              </a:solidFill>
            </a:rPr>
            <a:t> tool (prenatal/L&amp;D) with system for linkage to appropriate resources </a:t>
          </a:r>
        </a:p>
      </dgm:t>
    </dgm:pt>
    <dgm:pt modelId="{BCE9A4C6-9B46-40D2-B462-0E76716A75A4}" type="parTrans" cxnId="{5F659E21-5166-47C8-BB35-5AEA57E9EEFB}">
      <dgm:prSet/>
      <dgm:spPr/>
      <dgm:t>
        <a:bodyPr/>
        <a:lstStyle/>
        <a:p>
          <a:endParaRPr lang="en-US"/>
        </a:p>
      </dgm:t>
    </dgm:pt>
    <dgm:pt modelId="{16B03BED-9A88-4CE8-B370-11485C78BCB9}" type="sibTrans" cxnId="{5F659E21-5166-47C8-BB35-5AEA57E9EEFB}">
      <dgm:prSet/>
      <dgm:spPr/>
      <dgm:t>
        <a:bodyPr/>
        <a:lstStyle/>
        <a:p>
          <a:endParaRPr lang="en-US"/>
        </a:p>
      </dgm:t>
    </dgm:pt>
    <dgm:pt modelId="{B6B72146-484E-4F79-BA49-1B269067A153}">
      <dgm:prSet custT="1"/>
      <dgm:spPr>
        <a:solidFill>
          <a:schemeClr val="accent6">
            <a:lumMod val="40000"/>
            <a:lumOff val="60000"/>
            <a:alpha val="40000"/>
          </a:schemeClr>
        </a:solidFill>
        <a:ln w="38100">
          <a:solidFill>
            <a:schemeClr val="accent3"/>
          </a:solidFill>
        </a:ln>
      </dgm:spPr>
      <dgm:t>
        <a:bodyPr/>
        <a:lstStyle/>
        <a:p>
          <a:r>
            <a:rPr lang="en-US" sz="1900">
              <a:solidFill>
                <a:schemeClr val="tx1">
                  <a:lumMod val="50000"/>
                </a:schemeClr>
              </a:solidFill>
            </a:rPr>
            <a:t>Share </a:t>
          </a:r>
          <a:r>
            <a:rPr lang="en-US" sz="1900" b="1">
              <a:solidFill>
                <a:schemeClr val="tx1">
                  <a:lumMod val="50000"/>
                </a:schemeClr>
              </a:solidFill>
            </a:rPr>
            <a:t>respectful care practices </a:t>
          </a:r>
          <a:r>
            <a:rPr lang="en-US" sz="1900">
              <a:solidFill>
                <a:schemeClr val="tx1">
                  <a:lumMod val="50000"/>
                </a:schemeClr>
              </a:solidFill>
            </a:rPr>
            <a:t>on L&amp;D and survey patients before discharge on their care experience (using the PREM) for feedback</a:t>
          </a:r>
        </a:p>
      </dgm:t>
    </dgm:pt>
    <dgm:pt modelId="{ADD461F2-10FF-45CB-AE84-C92D8465A518}" type="parTrans" cxnId="{1DD56503-1C2E-4DBB-98F7-5E85C651D8A1}">
      <dgm:prSet/>
      <dgm:spPr/>
      <dgm:t>
        <a:bodyPr/>
        <a:lstStyle/>
        <a:p>
          <a:endParaRPr lang="en-US"/>
        </a:p>
      </dgm:t>
    </dgm:pt>
    <dgm:pt modelId="{5BBC6221-5249-441E-83CF-AEDA9AE70078}" type="sibTrans" cxnId="{1DD56503-1C2E-4DBB-98F7-5E85C651D8A1}">
      <dgm:prSet/>
      <dgm:spPr/>
      <dgm:t>
        <a:bodyPr/>
        <a:lstStyle/>
        <a:p>
          <a:endParaRPr lang="en-US"/>
        </a:p>
      </dgm:t>
    </dgm:pt>
    <dgm:pt modelId="{145678A4-C9B1-46A8-AB0F-333660A44930}">
      <dgm:prSet custT="1"/>
      <dgm:spPr>
        <a:ln w="38100">
          <a:solidFill>
            <a:schemeClr val="accent2"/>
          </a:solidFill>
        </a:ln>
      </dgm:spPr>
      <dgm:t>
        <a:bodyPr/>
        <a:lstStyle/>
        <a:p>
          <a:r>
            <a:rPr lang="en-US" sz="1900" b="1">
              <a:solidFill>
                <a:schemeClr val="tx1">
                  <a:lumMod val="50000"/>
                </a:schemeClr>
              </a:solidFill>
            </a:rPr>
            <a:t>Standardize postpartum safety </a:t>
          </a:r>
          <a:r>
            <a:rPr lang="en-US" sz="1900">
              <a:solidFill>
                <a:schemeClr val="tx1">
                  <a:lumMod val="50000"/>
                </a:schemeClr>
              </a:solidFill>
            </a:rPr>
            <a:t>education and schedule early postpartum follow up prior to hospital discharge</a:t>
          </a:r>
        </a:p>
      </dgm:t>
    </dgm:pt>
    <dgm:pt modelId="{0BE838AE-950D-41CB-915F-94F09230C8BA}" type="parTrans" cxnId="{FDCCCA09-1174-46B4-B74B-BA16C49073DF}">
      <dgm:prSet/>
      <dgm:spPr/>
      <dgm:t>
        <a:bodyPr/>
        <a:lstStyle/>
        <a:p>
          <a:endParaRPr lang="en-US"/>
        </a:p>
      </dgm:t>
    </dgm:pt>
    <dgm:pt modelId="{6F49F7C4-2516-4E5A-874B-96D7AB23C2BB}" type="sibTrans" cxnId="{FDCCCA09-1174-46B4-B74B-BA16C49073DF}">
      <dgm:prSet/>
      <dgm:spPr/>
      <dgm:t>
        <a:bodyPr/>
        <a:lstStyle/>
        <a:p>
          <a:endParaRPr lang="en-US"/>
        </a:p>
      </dgm:t>
    </dgm:pt>
    <dgm:pt modelId="{0AA1816D-CC2F-4D69-B6DA-C364AB0244B0}">
      <dgm:prSet custT="1"/>
      <dgm:spPr>
        <a:ln w="38100">
          <a:solidFill>
            <a:schemeClr val="accent3"/>
          </a:solidFill>
        </a:ln>
      </dgm:spPr>
      <dgm:t>
        <a:bodyPr/>
        <a:lstStyle/>
        <a:p>
          <a:r>
            <a:rPr lang="en-US" sz="2000" b="1">
              <a:solidFill>
                <a:schemeClr val="tx1">
                  <a:lumMod val="50000"/>
                </a:schemeClr>
              </a:solidFill>
            </a:rPr>
            <a:t>Implicit Bias / Respectful Care training </a:t>
          </a:r>
          <a:r>
            <a:rPr lang="en-US" sz="2000">
              <a:solidFill>
                <a:schemeClr val="tx1">
                  <a:lumMod val="50000"/>
                </a:schemeClr>
              </a:solidFill>
            </a:rPr>
            <a:t>for providers, nurses and other staff</a:t>
          </a:r>
        </a:p>
      </dgm:t>
    </dgm:pt>
    <dgm:pt modelId="{988E88B7-D8BF-47C6-8CF7-14EB94081D4C}" type="parTrans" cxnId="{1A1B0F33-FC23-40B2-BC2A-AF7EE23A173D}">
      <dgm:prSet/>
      <dgm:spPr/>
      <dgm:t>
        <a:bodyPr/>
        <a:lstStyle/>
        <a:p>
          <a:endParaRPr lang="en-US"/>
        </a:p>
      </dgm:t>
    </dgm:pt>
    <dgm:pt modelId="{06A61F8F-57F0-4D32-8C10-319FBF89C4F0}" type="sibTrans" cxnId="{1A1B0F33-FC23-40B2-BC2A-AF7EE23A173D}">
      <dgm:prSet/>
      <dgm:spPr/>
      <dgm:t>
        <a:bodyPr/>
        <a:lstStyle/>
        <a:p>
          <a:endParaRPr lang="en-US"/>
        </a:p>
      </dgm:t>
    </dgm:pt>
    <dgm:pt modelId="{5D833600-D27C-4A11-8523-D11586168895}" type="pres">
      <dgm:prSet presAssocID="{F24A868A-664D-42B6-A599-58F4180D9CD5}" presName="Name0" presStyleCnt="0">
        <dgm:presLayoutVars>
          <dgm:dir/>
          <dgm:resizeHandles val="exact"/>
        </dgm:presLayoutVars>
      </dgm:prSet>
      <dgm:spPr/>
    </dgm:pt>
    <dgm:pt modelId="{D886DD18-ECCC-4014-9E1E-0B83A32A804E}" type="pres">
      <dgm:prSet presAssocID="{7806FEDF-A619-4F80-A944-A6AFB900500D}" presName="composite" presStyleCnt="0"/>
      <dgm:spPr/>
    </dgm:pt>
    <dgm:pt modelId="{59934895-D150-4E33-9DF9-05F4FF77A7AF}" type="pres">
      <dgm:prSet presAssocID="{7806FEDF-A619-4F80-A944-A6AFB900500D}" presName="rect1" presStyleLbl="trAlignAcc1" presStyleIdx="0" presStyleCnt="6">
        <dgm:presLayoutVars>
          <dgm:bulletEnabled val="1"/>
        </dgm:presLayoutVars>
      </dgm:prSet>
      <dgm:spPr/>
    </dgm:pt>
    <dgm:pt modelId="{CC54DB42-0225-4905-A8D7-EBF99D64265A}" type="pres">
      <dgm:prSet presAssocID="{7806FEDF-A619-4F80-A944-A6AFB900500D}" presName="rect2" presStyleLbl="fgImgPlace1" presStyleIdx="0" presStyleCnt="6" custLinFactNeighborX="1206" custLinFactNeighborY="5625"/>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672B8F3D-6A6F-4CB0-A1AE-FC52093F19D3}" type="pres">
      <dgm:prSet presAssocID="{7C7F3E4F-3F1C-45D6-B50F-B53180E08D01}" presName="sibTrans" presStyleCnt="0"/>
      <dgm:spPr/>
    </dgm:pt>
    <dgm:pt modelId="{22907C8F-2179-483B-BF1D-117B0AC55DD2}" type="pres">
      <dgm:prSet presAssocID="{06AE8033-DDA0-4D78-B03F-3AD1CD6C2EF0}" presName="composite" presStyleCnt="0"/>
      <dgm:spPr/>
    </dgm:pt>
    <dgm:pt modelId="{49AFCCF3-3DDD-486F-B69F-0293F48BA1AE}" type="pres">
      <dgm:prSet presAssocID="{06AE8033-DDA0-4D78-B03F-3AD1CD6C2EF0}" presName="rect1" presStyleLbl="trAlignAcc1" presStyleIdx="1" presStyleCnt="6">
        <dgm:presLayoutVars>
          <dgm:bulletEnabled val="1"/>
        </dgm:presLayoutVars>
      </dgm:prSet>
      <dgm:spPr/>
    </dgm:pt>
    <dgm:pt modelId="{E836AFA5-6591-4E14-8210-FEC8BF8E79BF}" type="pres">
      <dgm:prSet presAssocID="{06AE8033-DDA0-4D78-B03F-3AD1CD6C2EF0}" presName="rect2" presStyleLbl="fgImgPlace1" presStyleIdx="1" presStyleCnt="6" custScaleX="121667"/>
      <dgm:spPr>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B17C5BD2-7494-4B92-A7FF-B9EA39D820EC}" type="pres">
      <dgm:prSet presAssocID="{16B03BED-9A88-4CE8-B370-11485C78BCB9}" presName="sibTrans" presStyleCnt="0"/>
      <dgm:spPr/>
    </dgm:pt>
    <dgm:pt modelId="{FD4654B2-1BB2-4EF6-9802-69F8316533F1}" type="pres">
      <dgm:prSet presAssocID="{B6B72146-484E-4F79-BA49-1B269067A153}" presName="composite" presStyleCnt="0"/>
      <dgm:spPr/>
    </dgm:pt>
    <dgm:pt modelId="{E4F7C446-C5AF-419C-B1D8-F6A9C79DD675}" type="pres">
      <dgm:prSet presAssocID="{B6B72146-484E-4F79-BA49-1B269067A153}" presName="rect1" presStyleLbl="trAlignAcc1" presStyleIdx="2" presStyleCnt="6">
        <dgm:presLayoutVars>
          <dgm:bulletEnabled val="1"/>
        </dgm:presLayoutVars>
      </dgm:prSet>
      <dgm:spPr/>
    </dgm:pt>
    <dgm:pt modelId="{1AF332FF-D205-4E81-886F-B0DEEB2FEE24}" type="pres">
      <dgm:prSet presAssocID="{B6B72146-484E-4F79-BA49-1B269067A153}" presName="rect2" presStyleLbl="fgImgPlace1" presStyleIdx="2" presStyleCnt="6"/>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F64733EB-32F4-4191-9701-005CA1845A25}" type="pres">
      <dgm:prSet presAssocID="{5BBC6221-5249-441E-83CF-AEDA9AE70078}" presName="sibTrans" presStyleCnt="0"/>
      <dgm:spPr/>
    </dgm:pt>
    <dgm:pt modelId="{13CAE0DD-4AEA-4BAA-BC34-C9F3E2199916}" type="pres">
      <dgm:prSet presAssocID="{8BADECEC-2FF8-40F9-8CEC-87662EC9ACD4}" presName="composite" presStyleCnt="0"/>
      <dgm:spPr/>
    </dgm:pt>
    <dgm:pt modelId="{5F77EB86-DC3A-4F49-9C1C-64F45674FB41}" type="pres">
      <dgm:prSet presAssocID="{8BADECEC-2FF8-40F9-8CEC-87662EC9ACD4}" presName="rect1" presStyleLbl="trAlignAcc1" presStyleIdx="3" presStyleCnt="6">
        <dgm:presLayoutVars>
          <dgm:bulletEnabled val="1"/>
        </dgm:presLayoutVars>
      </dgm:prSet>
      <dgm:spPr/>
    </dgm:pt>
    <dgm:pt modelId="{BC0ECF19-7FFA-4B14-87B4-72F35EE1B4A9}" type="pres">
      <dgm:prSet presAssocID="{8BADECEC-2FF8-40F9-8CEC-87662EC9ACD4}" presName="rect2" presStyleLbl="fgImgPlace1" presStyleIdx="3" presStyleCnt="6" custScaleX="132762"/>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D7B6C416-0962-48BB-9B31-CE0C8770B0A1}" type="pres">
      <dgm:prSet presAssocID="{30734B9A-4BBF-4E31-AA4B-6CF614EECEFD}" presName="sibTrans" presStyleCnt="0"/>
      <dgm:spPr/>
    </dgm:pt>
    <dgm:pt modelId="{0BFC8CBB-0467-4932-96E0-8DBAC61DC7B7}" type="pres">
      <dgm:prSet presAssocID="{145678A4-C9B1-46A8-AB0F-333660A44930}" presName="composite" presStyleCnt="0"/>
      <dgm:spPr/>
    </dgm:pt>
    <dgm:pt modelId="{70187994-DBE7-4A6A-B505-7DE43D8B5E24}" type="pres">
      <dgm:prSet presAssocID="{145678A4-C9B1-46A8-AB0F-333660A44930}" presName="rect1" presStyleLbl="trAlignAcc1" presStyleIdx="4" presStyleCnt="6">
        <dgm:presLayoutVars>
          <dgm:bulletEnabled val="1"/>
        </dgm:presLayoutVars>
      </dgm:prSet>
      <dgm:spPr/>
    </dgm:pt>
    <dgm:pt modelId="{D00B39CB-6D1C-4FD9-83A3-2EDAA898AC44}" type="pres">
      <dgm:prSet presAssocID="{145678A4-C9B1-46A8-AB0F-333660A44930}" presName="rect2" presStyleLbl="fgImgPlace1" presStyleIdx="4" presStyleCnt="6" custLinFactNeighborX="-4821" custLinFactNeighborY="1607"/>
      <dgm:spPr>
        <a:blipFill rotWithShape="1">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pt>
    <dgm:pt modelId="{A2C41B84-333C-48FA-A372-0205E14CC92A}" type="pres">
      <dgm:prSet presAssocID="{6F49F7C4-2516-4E5A-874B-96D7AB23C2BB}" presName="sibTrans" presStyleCnt="0"/>
      <dgm:spPr/>
    </dgm:pt>
    <dgm:pt modelId="{7F049475-9840-4F67-AB3A-F7C87BB07D12}" type="pres">
      <dgm:prSet presAssocID="{0AA1816D-CC2F-4D69-B6DA-C364AB0244B0}" presName="composite" presStyleCnt="0"/>
      <dgm:spPr/>
    </dgm:pt>
    <dgm:pt modelId="{197AA65D-CC75-4AFD-8AF6-BE49EB492D3A}" type="pres">
      <dgm:prSet presAssocID="{0AA1816D-CC2F-4D69-B6DA-C364AB0244B0}" presName="rect1" presStyleLbl="trAlignAcc1" presStyleIdx="5" presStyleCnt="6">
        <dgm:presLayoutVars>
          <dgm:bulletEnabled val="1"/>
        </dgm:presLayoutVars>
      </dgm:prSet>
      <dgm:spPr/>
    </dgm:pt>
    <dgm:pt modelId="{F76C5C29-CF17-47A8-9710-3F8111C8DB01}" type="pres">
      <dgm:prSet presAssocID="{0AA1816D-CC2F-4D69-B6DA-C364AB0244B0}" presName="rect2" presStyleLbl="fgImgPlace1" presStyleIdx="5" presStyleCnt="6" custLinFactNeighborX="10209" custLinFactNeighborY="2269"/>
      <dgm:spPr>
        <a:blipFill rotWithShape="1">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pt>
  </dgm:ptLst>
  <dgm:cxnLst>
    <dgm:cxn modelId="{1DD56503-1C2E-4DBB-98F7-5E85C651D8A1}" srcId="{F24A868A-664D-42B6-A599-58F4180D9CD5}" destId="{B6B72146-484E-4F79-BA49-1B269067A153}" srcOrd="2" destOrd="0" parTransId="{ADD461F2-10FF-45CB-AE84-C92D8465A518}" sibTransId="{5BBC6221-5249-441E-83CF-AEDA9AE70078}"/>
    <dgm:cxn modelId="{FDCCCA09-1174-46B4-B74B-BA16C49073DF}" srcId="{F24A868A-664D-42B6-A599-58F4180D9CD5}" destId="{145678A4-C9B1-46A8-AB0F-333660A44930}" srcOrd="4" destOrd="0" parTransId="{0BE838AE-950D-41CB-915F-94F09230C8BA}" sibTransId="{6F49F7C4-2516-4E5A-874B-96D7AB23C2BB}"/>
    <dgm:cxn modelId="{5F659E21-5166-47C8-BB35-5AEA57E9EEFB}" srcId="{F24A868A-664D-42B6-A599-58F4180D9CD5}" destId="{06AE8033-DDA0-4D78-B03F-3AD1CD6C2EF0}" srcOrd="1" destOrd="0" parTransId="{BCE9A4C6-9B46-40D2-B462-0E76716A75A4}" sibTransId="{16B03BED-9A88-4CE8-B370-11485C78BCB9}"/>
    <dgm:cxn modelId="{1A1B0F33-FC23-40B2-BC2A-AF7EE23A173D}" srcId="{F24A868A-664D-42B6-A599-58F4180D9CD5}" destId="{0AA1816D-CC2F-4D69-B6DA-C364AB0244B0}" srcOrd="5" destOrd="0" parTransId="{988E88B7-D8BF-47C6-8CF7-14EB94081D4C}" sibTransId="{06A61F8F-57F0-4D32-8C10-319FBF89C4F0}"/>
    <dgm:cxn modelId="{5E7F807A-DAD6-410E-967E-373ADB304855}" type="presOf" srcId="{B6B72146-484E-4F79-BA49-1B269067A153}" destId="{E4F7C446-C5AF-419C-B1D8-F6A9C79DD675}" srcOrd="0" destOrd="0" presId="urn:microsoft.com/office/officeart/2008/layout/PictureStrips"/>
    <dgm:cxn modelId="{E5414B87-917E-477E-BF2C-9E01B8ADA961}" type="presOf" srcId="{8BADECEC-2FF8-40F9-8CEC-87662EC9ACD4}" destId="{5F77EB86-DC3A-4F49-9C1C-64F45674FB41}" srcOrd="0" destOrd="0" presId="urn:microsoft.com/office/officeart/2008/layout/PictureStrips"/>
    <dgm:cxn modelId="{A7D9D694-C8B8-437A-8E2A-E8125F469397}" srcId="{F24A868A-664D-42B6-A599-58F4180D9CD5}" destId="{7806FEDF-A619-4F80-A944-A6AFB900500D}" srcOrd="0" destOrd="0" parTransId="{86F72BA6-7DE5-43E1-BC7F-A064EE63861B}" sibTransId="{7C7F3E4F-3F1C-45D6-B50F-B53180E08D01}"/>
    <dgm:cxn modelId="{132D1BA2-776C-4BBE-A5EF-439F28F52864}" type="presOf" srcId="{7806FEDF-A619-4F80-A944-A6AFB900500D}" destId="{59934895-D150-4E33-9DF9-05F4FF77A7AF}" srcOrd="0" destOrd="0" presId="urn:microsoft.com/office/officeart/2008/layout/PictureStrips"/>
    <dgm:cxn modelId="{57F070A5-5C43-4AA5-8D1A-CFAE1DBF7145}" type="presOf" srcId="{145678A4-C9B1-46A8-AB0F-333660A44930}" destId="{70187994-DBE7-4A6A-B505-7DE43D8B5E24}" srcOrd="0" destOrd="0" presId="urn:microsoft.com/office/officeart/2008/layout/PictureStrips"/>
    <dgm:cxn modelId="{741ABDBB-7012-4181-AD12-927D8305C0DE}" type="presOf" srcId="{0AA1816D-CC2F-4D69-B6DA-C364AB0244B0}" destId="{197AA65D-CC75-4AFD-8AF6-BE49EB492D3A}" srcOrd="0" destOrd="0" presId="urn:microsoft.com/office/officeart/2008/layout/PictureStrips"/>
    <dgm:cxn modelId="{EA9DC5C9-CA4D-49C3-B4E1-1CB19D5960EF}" type="presOf" srcId="{06AE8033-DDA0-4D78-B03F-3AD1CD6C2EF0}" destId="{49AFCCF3-3DDD-486F-B69F-0293F48BA1AE}" srcOrd="0" destOrd="0" presId="urn:microsoft.com/office/officeart/2008/layout/PictureStrips"/>
    <dgm:cxn modelId="{C91B8FD6-F9AB-43C1-B548-11F813267C89}" type="presOf" srcId="{F24A868A-664D-42B6-A599-58F4180D9CD5}" destId="{5D833600-D27C-4A11-8523-D11586168895}" srcOrd="0" destOrd="0" presId="urn:microsoft.com/office/officeart/2008/layout/PictureStrips"/>
    <dgm:cxn modelId="{F0C010E1-0925-47C2-BC60-F5D7ACA41474}" srcId="{F24A868A-664D-42B6-A599-58F4180D9CD5}" destId="{8BADECEC-2FF8-40F9-8CEC-87662EC9ACD4}" srcOrd="3" destOrd="0" parTransId="{4D804546-C693-45EC-852E-E9164F816126}" sibTransId="{30734B9A-4BBF-4E31-AA4B-6CF614EECEFD}"/>
    <dgm:cxn modelId="{44B5909C-BC35-4644-B38B-D4538AE89129}" type="presParOf" srcId="{5D833600-D27C-4A11-8523-D11586168895}" destId="{D886DD18-ECCC-4014-9E1E-0B83A32A804E}" srcOrd="0" destOrd="0" presId="urn:microsoft.com/office/officeart/2008/layout/PictureStrips"/>
    <dgm:cxn modelId="{187DC000-AA63-457C-BDEF-0A810F9CED3C}" type="presParOf" srcId="{D886DD18-ECCC-4014-9E1E-0B83A32A804E}" destId="{59934895-D150-4E33-9DF9-05F4FF77A7AF}" srcOrd="0" destOrd="0" presId="urn:microsoft.com/office/officeart/2008/layout/PictureStrips"/>
    <dgm:cxn modelId="{0E29F3B7-273F-45A2-B44C-DBD4E1908882}" type="presParOf" srcId="{D886DD18-ECCC-4014-9E1E-0B83A32A804E}" destId="{CC54DB42-0225-4905-A8D7-EBF99D64265A}" srcOrd="1" destOrd="0" presId="urn:microsoft.com/office/officeart/2008/layout/PictureStrips"/>
    <dgm:cxn modelId="{BC25114B-30FE-4D06-8DAC-A97FB833FD89}" type="presParOf" srcId="{5D833600-D27C-4A11-8523-D11586168895}" destId="{672B8F3D-6A6F-4CB0-A1AE-FC52093F19D3}" srcOrd="1" destOrd="0" presId="urn:microsoft.com/office/officeart/2008/layout/PictureStrips"/>
    <dgm:cxn modelId="{DEA7C34E-31F3-40CF-B1B2-BC8606320899}" type="presParOf" srcId="{5D833600-D27C-4A11-8523-D11586168895}" destId="{22907C8F-2179-483B-BF1D-117B0AC55DD2}" srcOrd="2" destOrd="0" presId="urn:microsoft.com/office/officeart/2008/layout/PictureStrips"/>
    <dgm:cxn modelId="{055F78D7-A16A-40D3-BD62-5292BC0C121A}" type="presParOf" srcId="{22907C8F-2179-483B-BF1D-117B0AC55DD2}" destId="{49AFCCF3-3DDD-486F-B69F-0293F48BA1AE}" srcOrd="0" destOrd="0" presId="urn:microsoft.com/office/officeart/2008/layout/PictureStrips"/>
    <dgm:cxn modelId="{A8B70AF6-40A9-4E4B-8F41-789603EC5B2B}" type="presParOf" srcId="{22907C8F-2179-483B-BF1D-117B0AC55DD2}" destId="{E836AFA5-6591-4E14-8210-FEC8BF8E79BF}" srcOrd="1" destOrd="0" presId="urn:microsoft.com/office/officeart/2008/layout/PictureStrips"/>
    <dgm:cxn modelId="{2F54D05B-F4A8-4F45-8CE2-E73B89F1FBEA}" type="presParOf" srcId="{5D833600-D27C-4A11-8523-D11586168895}" destId="{B17C5BD2-7494-4B92-A7FF-B9EA39D820EC}" srcOrd="3" destOrd="0" presId="urn:microsoft.com/office/officeart/2008/layout/PictureStrips"/>
    <dgm:cxn modelId="{FB9F3956-B97A-48AE-8E7B-712EC9F66C18}" type="presParOf" srcId="{5D833600-D27C-4A11-8523-D11586168895}" destId="{FD4654B2-1BB2-4EF6-9802-69F8316533F1}" srcOrd="4" destOrd="0" presId="urn:microsoft.com/office/officeart/2008/layout/PictureStrips"/>
    <dgm:cxn modelId="{B254E6E1-9021-452A-BFE4-B1256208CECE}" type="presParOf" srcId="{FD4654B2-1BB2-4EF6-9802-69F8316533F1}" destId="{E4F7C446-C5AF-419C-B1D8-F6A9C79DD675}" srcOrd="0" destOrd="0" presId="urn:microsoft.com/office/officeart/2008/layout/PictureStrips"/>
    <dgm:cxn modelId="{85CC5FFC-E957-47B0-8DD3-84AD4F0975F5}" type="presParOf" srcId="{FD4654B2-1BB2-4EF6-9802-69F8316533F1}" destId="{1AF332FF-D205-4E81-886F-B0DEEB2FEE24}" srcOrd="1" destOrd="0" presId="urn:microsoft.com/office/officeart/2008/layout/PictureStrips"/>
    <dgm:cxn modelId="{ED3A76EE-F869-4197-8FBC-E7C6DC453A92}" type="presParOf" srcId="{5D833600-D27C-4A11-8523-D11586168895}" destId="{F64733EB-32F4-4191-9701-005CA1845A25}" srcOrd="5" destOrd="0" presId="urn:microsoft.com/office/officeart/2008/layout/PictureStrips"/>
    <dgm:cxn modelId="{FBDCDAD7-6B34-4E66-9DBA-D9294F960193}" type="presParOf" srcId="{5D833600-D27C-4A11-8523-D11586168895}" destId="{13CAE0DD-4AEA-4BAA-BC34-C9F3E2199916}" srcOrd="6" destOrd="0" presId="urn:microsoft.com/office/officeart/2008/layout/PictureStrips"/>
    <dgm:cxn modelId="{C9C80DE0-2D53-4A29-ABE6-050E1048DEEE}" type="presParOf" srcId="{13CAE0DD-4AEA-4BAA-BC34-C9F3E2199916}" destId="{5F77EB86-DC3A-4F49-9C1C-64F45674FB41}" srcOrd="0" destOrd="0" presId="urn:microsoft.com/office/officeart/2008/layout/PictureStrips"/>
    <dgm:cxn modelId="{29E6F23C-FB86-49AB-B93F-B3959EC0E093}" type="presParOf" srcId="{13CAE0DD-4AEA-4BAA-BC34-C9F3E2199916}" destId="{BC0ECF19-7FFA-4B14-87B4-72F35EE1B4A9}" srcOrd="1" destOrd="0" presId="urn:microsoft.com/office/officeart/2008/layout/PictureStrips"/>
    <dgm:cxn modelId="{8299EFBD-2B2C-4BA4-8F89-1F16635964F7}" type="presParOf" srcId="{5D833600-D27C-4A11-8523-D11586168895}" destId="{D7B6C416-0962-48BB-9B31-CE0C8770B0A1}" srcOrd="7" destOrd="0" presId="urn:microsoft.com/office/officeart/2008/layout/PictureStrips"/>
    <dgm:cxn modelId="{5FFB86C4-E56E-434D-80BC-3BDFCA9F097A}" type="presParOf" srcId="{5D833600-D27C-4A11-8523-D11586168895}" destId="{0BFC8CBB-0467-4932-96E0-8DBAC61DC7B7}" srcOrd="8" destOrd="0" presId="urn:microsoft.com/office/officeart/2008/layout/PictureStrips"/>
    <dgm:cxn modelId="{829012FA-6546-47BF-AEFB-A2906378BB1F}" type="presParOf" srcId="{0BFC8CBB-0467-4932-96E0-8DBAC61DC7B7}" destId="{70187994-DBE7-4A6A-B505-7DE43D8B5E24}" srcOrd="0" destOrd="0" presId="urn:microsoft.com/office/officeart/2008/layout/PictureStrips"/>
    <dgm:cxn modelId="{52FB8FAE-E74E-4E99-99D9-2EFFDD2CC098}" type="presParOf" srcId="{0BFC8CBB-0467-4932-96E0-8DBAC61DC7B7}" destId="{D00B39CB-6D1C-4FD9-83A3-2EDAA898AC44}" srcOrd="1" destOrd="0" presId="urn:microsoft.com/office/officeart/2008/layout/PictureStrips"/>
    <dgm:cxn modelId="{FDCD0F1E-CD77-4E3E-8FC1-52B073D36FE8}" type="presParOf" srcId="{5D833600-D27C-4A11-8523-D11586168895}" destId="{A2C41B84-333C-48FA-A372-0205E14CC92A}" srcOrd="9" destOrd="0" presId="urn:microsoft.com/office/officeart/2008/layout/PictureStrips"/>
    <dgm:cxn modelId="{491FC0F9-3D31-4A11-869F-37015C4430FA}" type="presParOf" srcId="{5D833600-D27C-4A11-8523-D11586168895}" destId="{7F049475-9840-4F67-AB3A-F7C87BB07D12}" srcOrd="10" destOrd="0" presId="urn:microsoft.com/office/officeart/2008/layout/PictureStrips"/>
    <dgm:cxn modelId="{3728E131-7839-4C4B-9E16-3833BDABA5F1}" type="presParOf" srcId="{7F049475-9840-4F67-AB3A-F7C87BB07D12}" destId="{197AA65D-CC75-4AFD-8AF6-BE49EB492D3A}" srcOrd="0" destOrd="0" presId="urn:microsoft.com/office/officeart/2008/layout/PictureStrips"/>
    <dgm:cxn modelId="{846CEB18-5B6E-4557-8DC4-F6015BB02239}" type="presParOf" srcId="{7F049475-9840-4F67-AB3A-F7C87BB07D12}" destId="{F76C5C29-CF17-47A8-9710-3F8111C8DB01}"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6C17432-8553-46AB-BAD5-2EA80EA7EF2C}"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A91EDB55-F7A4-4416-AA27-A985BA1425EA}">
      <dgm:prSet phldrT="[Text]" phldr="0"/>
      <dgm:spPr>
        <a:solidFill>
          <a:schemeClr val="accent1"/>
        </a:solidFill>
      </dgm:spPr>
      <dgm:t>
        <a:bodyPr/>
        <a:lstStyle/>
        <a:p>
          <a:pPr rtl="0"/>
          <a:r>
            <a:rPr lang="en-US" b="1" dirty="0">
              <a:latin typeface="Calibri" panose="020F0502020204030204"/>
            </a:rPr>
            <a:t>How do we build infrastructure for sustainable equity strategies?</a:t>
          </a:r>
          <a:endParaRPr lang="en-US" b="1" dirty="0"/>
        </a:p>
      </dgm:t>
    </dgm:pt>
    <dgm:pt modelId="{BB3AF8C0-A8F0-44FE-82CB-CF45F22F583C}" type="parTrans" cxnId="{EAA7BC15-805B-45E8-836C-D0E420E07209}">
      <dgm:prSet/>
      <dgm:spPr/>
      <dgm:t>
        <a:bodyPr/>
        <a:lstStyle/>
        <a:p>
          <a:endParaRPr lang="en-US"/>
        </a:p>
      </dgm:t>
    </dgm:pt>
    <dgm:pt modelId="{01A3D4A5-BBD5-4CB8-9B75-221E856BE836}" type="sibTrans" cxnId="{EAA7BC15-805B-45E8-836C-D0E420E07209}">
      <dgm:prSet/>
      <dgm:spPr/>
      <dgm:t>
        <a:bodyPr/>
        <a:lstStyle/>
        <a:p>
          <a:endParaRPr lang="en-US"/>
        </a:p>
      </dgm:t>
    </dgm:pt>
    <dgm:pt modelId="{11BE1A71-0A02-42A0-834C-5C09602FEDFD}">
      <dgm:prSet phldrT="[Text]" phldr="0" custT="1"/>
      <dgm:spPr/>
      <dgm:t>
        <a:bodyPr/>
        <a:lstStyle/>
        <a:p>
          <a:pPr rtl="0"/>
          <a:r>
            <a:rPr lang="en-US" sz="2900" dirty="0">
              <a:latin typeface="Calibri" panose="020F0502020204030204"/>
            </a:rPr>
            <a:t>Stratify data by race, ethnicity, insurance, review regularly and take action on identified disparities</a:t>
          </a:r>
        </a:p>
        <a:p>
          <a:pPr rtl="0"/>
          <a:r>
            <a:rPr lang="en-US" sz="2400" i="1" dirty="0">
              <a:latin typeface="Calibri" panose="020F0502020204030204"/>
            </a:rPr>
            <a:t>Are you sharing stratified data with clinical staff and identifying steps to take action? </a:t>
          </a:r>
          <a:endParaRPr lang="en-US" sz="2400" i="1" dirty="0"/>
        </a:p>
      </dgm:t>
    </dgm:pt>
    <dgm:pt modelId="{6C66C3D5-9B9C-47FD-B5D1-00FDED977CB3}" type="parTrans" cxnId="{946CF52A-4EBF-4A6C-9C7D-B41AC7691800}">
      <dgm:prSet/>
      <dgm:spPr/>
      <dgm:t>
        <a:bodyPr/>
        <a:lstStyle/>
        <a:p>
          <a:endParaRPr lang="en-US"/>
        </a:p>
      </dgm:t>
    </dgm:pt>
    <dgm:pt modelId="{A7CD1B89-AE1B-4773-AEC6-4C58E06FD584}" type="sibTrans" cxnId="{946CF52A-4EBF-4A6C-9C7D-B41AC7691800}">
      <dgm:prSet/>
      <dgm:spPr/>
      <dgm:t>
        <a:bodyPr/>
        <a:lstStyle/>
        <a:p>
          <a:endParaRPr lang="en-US"/>
        </a:p>
      </dgm:t>
    </dgm:pt>
    <dgm:pt modelId="{DCAFD29C-AFA1-4BB6-896C-445014482545}">
      <dgm:prSet phldrT="[Text]" phldr="0" custT="1"/>
      <dgm:spPr/>
      <dgm:t>
        <a:bodyPr/>
        <a:lstStyle/>
        <a:p>
          <a:pPr rtl="0"/>
          <a:r>
            <a:rPr lang="en-US" sz="2900" dirty="0">
              <a:latin typeface="Calibri" panose="020F0502020204030204"/>
            </a:rPr>
            <a:t>Engage community partners to improve linkage of patients to community resources</a:t>
          </a:r>
        </a:p>
        <a:p>
          <a:pPr rtl="0"/>
          <a:r>
            <a:rPr lang="en-US" sz="2400" i="1" dirty="0">
              <a:latin typeface="Calibri" panose="020F0502020204030204"/>
            </a:rPr>
            <a:t>Can you actively link patients to community doulas and home visiting programs?</a:t>
          </a:r>
          <a:endParaRPr lang="en-US" sz="2400" i="1" dirty="0"/>
        </a:p>
      </dgm:t>
    </dgm:pt>
    <dgm:pt modelId="{AC441928-F73D-4F91-847F-30AB79AD4E0E}" type="parTrans" cxnId="{77F32642-EC89-4314-8440-C038D02B1899}">
      <dgm:prSet/>
      <dgm:spPr/>
      <dgm:t>
        <a:bodyPr/>
        <a:lstStyle/>
        <a:p>
          <a:endParaRPr lang="en-US"/>
        </a:p>
      </dgm:t>
    </dgm:pt>
    <dgm:pt modelId="{6FD63C78-6E92-430D-810A-15AAAC4844D5}" type="sibTrans" cxnId="{77F32642-EC89-4314-8440-C038D02B1899}">
      <dgm:prSet/>
      <dgm:spPr/>
      <dgm:t>
        <a:bodyPr/>
        <a:lstStyle/>
        <a:p>
          <a:endParaRPr lang="en-US"/>
        </a:p>
      </dgm:t>
    </dgm:pt>
    <dgm:pt modelId="{2AF19695-8448-4FE7-BBDB-3CCC356F2886}">
      <dgm:prSet phldrT="[Text]" phldr="0" custT="1"/>
      <dgm:spPr>
        <a:solidFill>
          <a:schemeClr val="accent1">
            <a:lumMod val="60000"/>
            <a:lumOff val="40000"/>
          </a:schemeClr>
        </a:solidFill>
      </dgm:spPr>
      <dgm:t>
        <a:bodyPr/>
        <a:lstStyle/>
        <a:p>
          <a:pPr rtl="0"/>
          <a:r>
            <a:rPr lang="en-US" sz="2800" dirty="0">
              <a:latin typeface="Calibri" panose="020F0502020204030204"/>
            </a:rPr>
            <a:t>Establish </a:t>
          </a:r>
          <a:r>
            <a:rPr lang="en-US" sz="2800" b="0" dirty="0">
              <a:latin typeface="Calibri" panose="020F0502020204030204"/>
            </a:rPr>
            <a:t>ongoing</a:t>
          </a:r>
          <a:r>
            <a:rPr lang="en-US" sz="2800" dirty="0">
              <a:latin typeface="Calibri" panose="020F0502020204030204"/>
            </a:rPr>
            <a:t> patient/community input on QI strategies and respectful care to provide direct feedback to clinical  staff </a:t>
          </a:r>
        </a:p>
        <a:p>
          <a:pPr rtl="0"/>
          <a:r>
            <a:rPr lang="en-US" sz="2400" i="1" dirty="0">
              <a:latin typeface="Calibri" panose="020F0502020204030204"/>
            </a:rPr>
            <a:t>How can you use PREM surveys, Respectful Care Breakfasts, Patient Partners for ongoing feedback?</a:t>
          </a:r>
          <a:endParaRPr lang="en-US" sz="2400" i="1" dirty="0"/>
        </a:p>
      </dgm:t>
    </dgm:pt>
    <dgm:pt modelId="{F3269BC7-9147-4E08-AF19-6BCB48485EAC}" type="parTrans" cxnId="{BD2034A2-C5F1-4518-848C-B8789E784611}">
      <dgm:prSet/>
      <dgm:spPr/>
      <dgm:t>
        <a:bodyPr/>
        <a:lstStyle/>
        <a:p>
          <a:endParaRPr lang="en-US"/>
        </a:p>
      </dgm:t>
    </dgm:pt>
    <dgm:pt modelId="{09189E63-D139-4D0F-A5CD-BF6AF5090424}" type="sibTrans" cxnId="{BD2034A2-C5F1-4518-848C-B8789E784611}">
      <dgm:prSet/>
      <dgm:spPr/>
      <dgm:t>
        <a:bodyPr/>
        <a:lstStyle/>
        <a:p>
          <a:endParaRPr lang="en-US"/>
        </a:p>
      </dgm:t>
    </dgm:pt>
    <dgm:pt modelId="{9D909CA2-EE7A-4A9E-8915-9E683CBC07B6}" type="pres">
      <dgm:prSet presAssocID="{F6C17432-8553-46AB-BAD5-2EA80EA7EF2C}" presName="composite" presStyleCnt="0">
        <dgm:presLayoutVars>
          <dgm:chMax val="1"/>
          <dgm:dir/>
          <dgm:resizeHandles val="exact"/>
        </dgm:presLayoutVars>
      </dgm:prSet>
      <dgm:spPr/>
    </dgm:pt>
    <dgm:pt modelId="{0359B76E-DAD5-48F6-B5EB-D93C305A9E32}" type="pres">
      <dgm:prSet presAssocID="{A91EDB55-F7A4-4416-AA27-A985BA1425EA}" presName="roof" presStyleLbl="dkBgShp" presStyleIdx="0" presStyleCnt="2"/>
      <dgm:spPr/>
    </dgm:pt>
    <dgm:pt modelId="{6469345E-E85C-4AC3-A599-B11A2F7D9446}" type="pres">
      <dgm:prSet presAssocID="{A91EDB55-F7A4-4416-AA27-A985BA1425EA}" presName="pillars" presStyleCnt="0"/>
      <dgm:spPr/>
    </dgm:pt>
    <dgm:pt modelId="{43B79EBC-F871-4325-ADCF-24EFA4C7C11F}" type="pres">
      <dgm:prSet presAssocID="{A91EDB55-F7A4-4416-AA27-A985BA1425EA}" presName="pillar1" presStyleLbl="node1" presStyleIdx="0" presStyleCnt="3">
        <dgm:presLayoutVars>
          <dgm:bulletEnabled val="1"/>
        </dgm:presLayoutVars>
      </dgm:prSet>
      <dgm:spPr/>
    </dgm:pt>
    <dgm:pt modelId="{B541D26C-71C7-4AE1-B3BA-9D7CF3DA8044}" type="pres">
      <dgm:prSet presAssocID="{DCAFD29C-AFA1-4BB6-896C-445014482545}" presName="pillarX" presStyleLbl="node1" presStyleIdx="1" presStyleCnt="3">
        <dgm:presLayoutVars>
          <dgm:bulletEnabled val="1"/>
        </dgm:presLayoutVars>
      </dgm:prSet>
      <dgm:spPr/>
    </dgm:pt>
    <dgm:pt modelId="{2B8CCC2E-506D-4F53-B85E-56D5E051F7D1}" type="pres">
      <dgm:prSet presAssocID="{2AF19695-8448-4FE7-BBDB-3CCC356F2886}" presName="pillarX" presStyleLbl="node1" presStyleIdx="2" presStyleCnt="3">
        <dgm:presLayoutVars>
          <dgm:bulletEnabled val="1"/>
        </dgm:presLayoutVars>
      </dgm:prSet>
      <dgm:spPr/>
    </dgm:pt>
    <dgm:pt modelId="{D302C257-34CE-4857-951A-45ABCFB620DE}" type="pres">
      <dgm:prSet presAssocID="{A91EDB55-F7A4-4416-AA27-A985BA1425EA}" presName="base" presStyleLbl="dkBgShp" presStyleIdx="1" presStyleCnt="2"/>
      <dgm:spPr>
        <a:solidFill>
          <a:schemeClr val="accent1"/>
        </a:solidFill>
      </dgm:spPr>
    </dgm:pt>
  </dgm:ptLst>
  <dgm:cxnLst>
    <dgm:cxn modelId="{EAA7BC15-805B-45E8-836C-D0E420E07209}" srcId="{F6C17432-8553-46AB-BAD5-2EA80EA7EF2C}" destId="{A91EDB55-F7A4-4416-AA27-A985BA1425EA}" srcOrd="0" destOrd="0" parTransId="{BB3AF8C0-A8F0-44FE-82CB-CF45F22F583C}" sibTransId="{01A3D4A5-BBD5-4CB8-9B75-221E856BE836}"/>
    <dgm:cxn modelId="{8AAA6416-08B3-4AB2-9630-2A1AFDA4B0DE}" type="presOf" srcId="{F6C17432-8553-46AB-BAD5-2EA80EA7EF2C}" destId="{9D909CA2-EE7A-4A9E-8915-9E683CBC07B6}" srcOrd="0" destOrd="0" presId="urn:microsoft.com/office/officeart/2005/8/layout/hList3"/>
    <dgm:cxn modelId="{946CF52A-4EBF-4A6C-9C7D-B41AC7691800}" srcId="{A91EDB55-F7A4-4416-AA27-A985BA1425EA}" destId="{11BE1A71-0A02-42A0-834C-5C09602FEDFD}" srcOrd="0" destOrd="0" parTransId="{6C66C3D5-9B9C-47FD-B5D1-00FDED977CB3}" sibTransId="{A7CD1B89-AE1B-4773-AEC6-4C58E06FD584}"/>
    <dgm:cxn modelId="{77F32642-EC89-4314-8440-C038D02B1899}" srcId="{A91EDB55-F7A4-4416-AA27-A985BA1425EA}" destId="{DCAFD29C-AFA1-4BB6-896C-445014482545}" srcOrd="1" destOrd="0" parTransId="{AC441928-F73D-4F91-847F-30AB79AD4E0E}" sibTransId="{6FD63C78-6E92-430D-810A-15AAAC4844D5}"/>
    <dgm:cxn modelId="{7ACD3F6E-3DD8-4601-8BC6-DB768E959876}" type="presOf" srcId="{2AF19695-8448-4FE7-BBDB-3CCC356F2886}" destId="{2B8CCC2E-506D-4F53-B85E-56D5E051F7D1}" srcOrd="0" destOrd="0" presId="urn:microsoft.com/office/officeart/2005/8/layout/hList3"/>
    <dgm:cxn modelId="{8675C698-808E-42A4-B851-3AA1B0A995AF}" type="presOf" srcId="{A91EDB55-F7A4-4416-AA27-A985BA1425EA}" destId="{0359B76E-DAD5-48F6-B5EB-D93C305A9E32}" srcOrd="0" destOrd="0" presId="urn:microsoft.com/office/officeart/2005/8/layout/hList3"/>
    <dgm:cxn modelId="{BD2034A2-C5F1-4518-848C-B8789E784611}" srcId="{A91EDB55-F7A4-4416-AA27-A985BA1425EA}" destId="{2AF19695-8448-4FE7-BBDB-3CCC356F2886}" srcOrd="2" destOrd="0" parTransId="{F3269BC7-9147-4E08-AF19-6BCB48485EAC}" sibTransId="{09189E63-D139-4D0F-A5CD-BF6AF5090424}"/>
    <dgm:cxn modelId="{35D78DAF-EDA3-4965-87B4-A58D49DC59CD}" type="presOf" srcId="{11BE1A71-0A02-42A0-834C-5C09602FEDFD}" destId="{43B79EBC-F871-4325-ADCF-24EFA4C7C11F}" srcOrd="0" destOrd="0" presId="urn:microsoft.com/office/officeart/2005/8/layout/hList3"/>
    <dgm:cxn modelId="{095E49D9-412E-44A4-A8C2-482BB5691CC3}" type="presOf" srcId="{DCAFD29C-AFA1-4BB6-896C-445014482545}" destId="{B541D26C-71C7-4AE1-B3BA-9D7CF3DA8044}" srcOrd="0" destOrd="0" presId="urn:microsoft.com/office/officeart/2005/8/layout/hList3"/>
    <dgm:cxn modelId="{D99FA0EB-26BB-48E7-BF02-508D0A158E93}" type="presParOf" srcId="{9D909CA2-EE7A-4A9E-8915-9E683CBC07B6}" destId="{0359B76E-DAD5-48F6-B5EB-D93C305A9E32}" srcOrd="0" destOrd="0" presId="urn:microsoft.com/office/officeart/2005/8/layout/hList3"/>
    <dgm:cxn modelId="{1370ADD5-ADC6-4406-8850-727D5FA97176}" type="presParOf" srcId="{9D909CA2-EE7A-4A9E-8915-9E683CBC07B6}" destId="{6469345E-E85C-4AC3-A599-B11A2F7D9446}" srcOrd="1" destOrd="0" presId="urn:microsoft.com/office/officeart/2005/8/layout/hList3"/>
    <dgm:cxn modelId="{1A1D8160-38B7-4104-BEEF-29D3FF1A3B2B}" type="presParOf" srcId="{6469345E-E85C-4AC3-A599-B11A2F7D9446}" destId="{43B79EBC-F871-4325-ADCF-24EFA4C7C11F}" srcOrd="0" destOrd="0" presId="urn:microsoft.com/office/officeart/2005/8/layout/hList3"/>
    <dgm:cxn modelId="{9B9E9929-9B63-4D2D-8A4F-6453E75C2908}" type="presParOf" srcId="{6469345E-E85C-4AC3-A599-B11A2F7D9446}" destId="{B541D26C-71C7-4AE1-B3BA-9D7CF3DA8044}" srcOrd="1" destOrd="0" presId="urn:microsoft.com/office/officeart/2005/8/layout/hList3"/>
    <dgm:cxn modelId="{53B16F4E-0920-4DC1-9110-0CC63CCDEAA3}" type="presParOf" srcId="{6469345E-E85C-4AC3-A599-B11A2F7D9446}" destId="{2B8CCC2E-506D-4F53-B85E-56D5E051F7D1}" srcOrd="2" destOrd="0" presId="urn:microsoft.com/office/officeart/2005/8/layout/hList3"/>
    <dgm:cxn modelId="{C9501A8E-E41C-47E4-ACAE-8064E645FEED}" type="presParOf" srcId="{9D909CA2-EE7A-4A9E-8915-9E683CBC07B6}" destId="{D302C257-34CE-4857-951A-45ABCFB620DE}"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1C3BC4E9-0727-499A-8030-795648F37D26}" type="doc">
      <dgm:prSet loTypeId="urn:microsoft.com/office/officeart/2005/8/layout/radial6" loCatId="cycle" qsTypeId="urn:microsoft.com/office/officeart/2005/8/quickstyle/simple2" qsCatId="simple" csTypeId="urn:microsoft.com/office/officeart/2005/8/colors/colorful1" csCatId="colorful" phldr="1"/>
      <dgm:spPr/>
      <dgm:t>
        <a:bodyPr/>
        <a:lstStyle/>
        <a:p>
          <a:endParaRPr lang="en-US"/>
        </a:p>
      </dgm:t>
    </dgm:pt>
    <dgm:pt modelId="{5356B76A-72A3-4070-9FC8-81DDB3079DC8}">
      <dgm:prSet phldrT="[Text]"/>
      <dgm:spPr/>
      <dgm:t>
        <a:bodyPr/>
        <a:lstStyle/>
        <a:p>
          <a:r>
            <a:rPr lang="en-US" dirty="0"/>
            <a:t>BMC </a:t>
          </a:r>
        </a:p>
        <a:p>
          <a:r>
            <a:rPr lang="en-US" dirty="0"/>
            <a:t>Birth Equity Team</a:t>
          </a:r>
        </a:p>
      </dgm:t>
    </dgm:pt>
    <dgm:pt modelId="{B9C26BB1-6393-4AD8-9F6D-C85EA6EAFC1A}" type="parTrans" cxnId="{16046B51-E1A5-4146-A0B4-5B161FBB71ED}">
      <dgm:prSet/>
      <dgm:spPr/>
      <dgm:t>
        <a:bodyPr/>
        <a:lstStyle/>
        <a:p>
          <a:endParaRPr lang="en-US"/>
        </a:p>
      </dgm:t>
    </dgm:pt>
    <dgm:pt modelId="{48DB3A15-B726-46DB-8BEE-78832F28F726}" type="sibTrans" cxnId="{16046B51-E1A5-4146-A0B4-5B161FBB71ED}">
      <dgm:prSet/>
      <dgm:spPr/>
      <dgm:t>
        <a:bodyPr/>
        <a:lstStyle/>
        <a:p>
          <a:endParaRPr lang="en-US"/>
        </a:p>
      </dgm:t>
    </dgm:pt>
    <dgm:pt modelId="{F4644245-3325-4686-A5B6-9B5E4C9F7337}">
      <dgm:prSet phldrT="[Text]"/>
      <dgm:spPr/>
      <dgm:t>
        <a:bodyPr/>
        <a:lstStyle/>
        <a:p>
          <a:r>
            <a:rPr lang="en-US" dirty="0"/>
            <a:t>Data &amp; EMR</a:t>
          </a:r>
        </a:p>
      </dgm:t>
    </dgm:pt>
    <dgm:pt modelId="{E361A5A7-9279-4B60-BCB7-EAD859461E4C}" type="parTrans" cxnId="{6D3E1FA2-C85E-4F8C-A370-10125F86386E}">
      <dgm:prSet/>
      <dgm:spPr/>
      <dgm:t>
        <a:bodyPr/>
        <a:lstStyle/>
        <a:p>
          <a:endParaRPr lang="en-US"/>
        </a:p>
      </dgm:t>
    </dgm:pt>
    <dgm:pt modelId="{AA135EB3-6AE7-4F2B-AA20-8F16D3D571B0}" type="sibTrans" cxnId="{6D3E1FA2-C85E-4F8C-A370-10125F86386E}">
      <dgm:prSet/>
      <dgm:spPr/>
      <dgm:t>
        <a:bodyPr/>
        <a:lstStyle/>
        <a:p>
          <a:endParaRPr lang="en-US"/>
        </a:p>
      </dgm:t>
    </dgm:pt>
    <dgm:pt modelId="{0A17764C-2421-4C85-8A1B-AC669E9D984E}">
      <dgm:prSet phldrT="[Text]"/>
      <dgm:spPr/>
      <dgm:t>
        <a:bodyPr/>
        <a:lstStyle/>
        <a:p>
          <a:r>
            <a:rPr lang="en-US" dirty="0"/>
            <a:t>Doula Friendly</a:t>
          </a:r>
        </a:p>
      </dgm:t>
    </dgm:pt>
    <dgm:pt modelId="{BC8584A8-1BB4-45C6-8C31-20325DE5C85C}" type="parTrans" cxnId="{619A63BA-B455-4248-ABFE-38C3D07DA40A}">
      <dgm:prSet/>
      <dgm:spPr/>
      <dgm:t>
        <a:bodyPr/>
        <a:lstStyle/>
        <a:p>
          <a:endParaRPr lang="en-US"/>
        </a:p>
      </dgm:t>
    </dgm:pt>
    <dgm:pt modelId="{6E5B5BF7-9541-49DD-A03A-1007CA3DAB60}" type="sibTrans" cxnId="{619A63BA-B455-4248-ABFE-38C3D07DA40A}">
      <dgm:prSet/>
      <dgm:spPr/>
      <dgm:t>
        <a:bodyPr/>
        <a:lstStyle/>
        <a:p>
          <a:endParaRPr lang="en-US"/>
        </a:p>
      </dgm:t>
    </dgm:pt>
    <dgm:pt modelId="{B0886F1C-632C-4D8C-91BF-EA6B84AE744E}">
      <dgm:prSet phldrT="[Text]"/>
      <dgm:spPr/>
      <dgm:t>
        <a:bodyPr/>
        <a:lstStyle/>
        <a:p>
          <a:r>
            <a:rPr lang="en-US" dirty="0"/>
            <a:t>Interdisciplinary Education</a:t>
          </a:r>
        </a:p>
      </dgm:t>
    </dgm:pt>
    <dgm:pt modelId="{00318A7B-85F7-4A4F-8F0C-B9503F27AA5A}" type="parTrans" cxnId="{D1F777C0-C78C-4D59-92A7-CD7B9D44BDA9}">
      <dgm:prSet/>
      <dgm:spPr/>
      <dgm:t>
        <a:bodyPr/>
        <a:lstStyle/>
        <a:p>
          <a:endParaRPr lang="en-US"/>
        </a:p>
      </dgm:t>
    </dgm:pt>
    <dgm:pt modelId="{6F65A0C1-6A18-44C7-8B8E-9C24EA2455A8}" type="sibTrans" cxnId="{D1F777C0-C78C-4D59-92A7-CD7B9D44BDA9}">
      <dgm:prSet/>
      <dgm:spPr/>
      <dgm:t>
        <a:bodyPr/>
        <a:lstStyle/>
        <a:p>
          <a:endParaRPr lang="en-US"/>
        </a:p>
      </dgm:t>
    </dgm:pt>
    <dgm:pt modelId="{A3E3868D-C744-4F61-95EC-D4FE859D0780}">
      <dgm:prSet phldrT="[Text]"/>
      <dgm:spPr/>
      <dgm:t>
        <a:bodyPr/>
        <a:lstStyle/>
        <a:p>
          <a:r>
            <a:rPr lang="en-US" dirty="0"/>
            <a:t>Patient Experience team</a:t>
          </a:r>
        </a:p>
      </dgm:t>
    </dgm:pt>
    <dgm:pt modelId="{01C6DD0C-F680-4BFF-9F7D-944CD65DA292}" type="parTrans" cxnId="{220C1515-7F80-4F49-96B4-53525D7A5314}">
      <dgm:prSet/>
      <dgm:spPr/>
      <dgm:t>
        <a:bodyPr/>
        <a:lstStyle/>
        <a:p>
          <a:endParaRPr lang="en-US"/>
        </a:p>
      </dgm:t>
    </dgm:pt>
    <dgm:pt modelId="{9B1379EC-E4B4-468C-B6BF-4154E089B089}" type="sibTrans" cxnId="{220C1515-7F80-4F49-96B4-53525D7A5314}">
      <dgm:prSet/>
      <dgm:spPr/>
      <dgm:t>
        <a:bodyPr/>
        <a:lstStyle/>
        <a:p>
          <a:endParaRPr lang="en-US"/>
        </a:p>
      </dgm:t>
    </dgm:pt>
    <dgm:pt modelId="{63FA01FB-37EB-4F79-90E2-9D7DFC260937}">
      <dgm:prSet phldrT="[Text]"/>
      <dgm:spPr/>
      <dgm:t>
        <a:bodyPr/>
        <a:lstStyle/>
        <a:p>
          <a:r>
            <a:rPr lang="en-US" dirty="0"/>
            <a:t>Community Collaboration</a:t>
          </a:r>
        </a:p>
      </dgm:t>
    </dgm:pt>
    <dgm:pt modelId="{65107D35-568C-4AF1-945B-8172AFAA73CE}" type="parTrans" cxnId="{97B28F46-1B15-4314-ACC7-311EB3D1E52D}">
      <dgm:prSet/>
      <dgm:spPr/>
      <dgm:t>
        <a:bodyPr/>
        <a:lstStyle/>
        <a:p>
          <a:endParaRPr lang="en-US"/>
        </a:p>
      </dgm:t>
    </dgm:pt>
    <dgm:pt modelId="{1C6304EC-834C-4D98-9CE9-5527A0C48759}" type="sibTrans" cxnId="{97B28F46-1B15-4314-ACC7-311EB3D1E52D}">
      <dgm:prSet/>
      <dgm:spPr/>
      <dgm:t>
        <a:bodyPr/>
        <a:lstStyle/>
        <a:p>
          <a:endParaRPr lang="en-US"/>
        </a:p>
      </dgm:t>
    </dgm:pt>
    <dgm:pt modelId="{46D3E622-2204-4645-9B2D-BF5280D45E0A}" type="pres">
      <dgm:prSet presAssocID="{1C3BC4E9-0727-499A-8030-795648F37D26}" presName="Name0" presStyleCnt="0">
        <dgm:presLayoutVars>
          <dgm:chMax val="1"/>
          <dgm:dir/>
          <dgm:animLvl val="ctr"/>
          <dgm:resizeHandles val="exact"/>
        </dgm:presLayoutVars>
      </dgm:prSet>
      <dgm:spPr/>
    </dgm:pt>
    <dgm:pt modelId="{BF88773B-3901-44BB-B18C-2A2E9952EA61}" type="pres">
      <dgm:prSet presAssocID="{5356B76A-72A3-4070-9FC8-81DDB3079DC8}" presName="centerShape" presStyleLbl="node0" presStyleIdx="0" presStyleCnt="1"/>
      <dgm:spPr/>
    </dgm:pt>
    <dgm:pt modelId="{85CF885A-B7C6-497C-961D-6294CEED305D}" type="pres">
      <dgm:prSet presAssocID="{F4644245-3325-4686-A5B6-9B5E4C9F7337}" presName="node" presStyleLbl="node1" presStyleIdx="0" presStyleCnt="5">
        <dgm:presLayoutVars>
          <dgm:bulletEnabled val="1"/>
        </dgm:presLayoutVars>
      </dgm:prSet>
      <dgm:spPr/>
    </dgm:pt>
    <dgm:pt modelId="{AF397ED9-B1C9-4E66-9BC6-C1642C907DE1}" type="pres">
      <dgm:prSet presAssocID="{F4644245-3325-4686-A5B6-9B5E4C9F7337}" presName="dummy" presStyleCnt="0"/>
      <dgm:spPr/>
    </dgm:pt>
    <dgm:pt modelId="{F60E1735-DEF1-464C-9EF8-7D99AA57E925}" type="pres">
      <dgm:prSet presAssocID="{AA135EB3-6AE7-4F2B-AA20-8F16D3D571B0}" presName="sibTrans" presStyleLbl="sibTrans2D1" presStyleIdx="0" presStyleCnt="5"/>
      <dgm:spPr/>
    </dgm:pt>
    <dgm:pt modelId="{042D3377-C67D-4A1F-9C2A-4CF7B69088C2}" type="pres">
      <dgm:prSet presAssocID="{0A17764C-2421-4C85-8A1B-AC669E9D984E}" presName="node" presStyleLbl="node1" presStyleIdx="1" presStyleCnt="5">
        <dgm:presLayoutVars>
          <dgm:bulletEnabled val="1"/>
        </dgm:presLayoutVars>
      </dgm:prSet>
      <dgm:spPr/>
    </dgm:pt>
    <dgm:pt modelId="{2BB10EFC-C146-4A80-B3D2-DCF8D02B591A}" type="pres">
      <dgm:prSet presAssocID="{0A17764C-2421-4C85-8A1B-AC669E9D984E}" presName="dummy" presStyleCnt="0"/>
      <dgm:spPr/>
    </dgm:pt>
    <dgm:pt modelId="{5D8C46F1-E13D-4DD9-8E89-FC376358FA10}" type="pres">
      <dgm:prSet presAssocID="{6E5B5BF7-9541-49DD-A03A-1007CA3DAB60}" presName="sibTrans" presStyleLbl="sibTrans2D1" presStyleIdx="1" presStyleCnt="5"/>
      <dgm:spPr/>
    </dgm:pt>
    <dgm:pt modelId="{A990D30D-ABC6-4003-87B4-72E5F4793AD5}" type="pres">
      <dgm:prSet presAssocID="{B0886F1C-632C-4D8C-91BF-EA6B84AE744E}" presName="node" presStyleLbl="node1" presStyleIdx="2" presStyleCnt="5">
        <dgm:presLayoutVars>
          <dgm:bulletEnabled val="1"/>
        </dgm:presLayoutVars>
      </dgm:prSet>
      <dgm:spPr/>
    </dgm:pt>
    <dgm:pt modelId="{4E3E1AC4-8556-4AE9-96EB-DEA241488E1D}" type="pres">
      <dgm:prSet presAssocID="{B0886F1C-632C-4D8C-91BF-EA6B84AE744E}" presName="dummy" presStyleCnt="0"/>
      <dgm:spPr/>
    </dgm:pt>
    <dgm:pt modelId="{782D5DB9-53C5-456C-905F-275EBE9B31A4}" type="pres">
      <dgm:prSet presAssocID="{6F65A0C1-6A18-44C7-8B8E-9C24EA2455A8}" presName="sibTrans" presStyleLbl="sibTrans2D1" presStyleIdx="2" presStyleCnt="5"/>
      <dgm:spPr/>
    </dgm:pt>
    <dgm:pt modelId="{82C732D8-2392-47FC-BBC0-1AD7F51B3C88}" type="pres">
      <dgm:prSet presAssocID="{A3E3868D-C744-4F61-95EC-D4FE859D0780}" presName="node" presStyleLbl="node1" presStyleIdx="3" presStyleCnt="5">
        <dgm:presLayoutVars>
          <dgm:bulletEnabled val="1"/>
        </dgm:presLayoutVars>
      </dgm:prSet>
      <dgm:spPr/>
    </dgm:pt>
    <dgm:pt modelId="{4EA999EC-F952-423E-ACE6-94F8F7336B3C}" type="pres">
      <dgm:prSet presAssocID="{A3E3868D-C744-4F61-95EC-D4FE859D0780}" presName="dummy" presStyleCnt="0"/>
      <dgm:spPr/>
    </dgm:pt>
    <dgm:pt modelId="{42499910-AE70-4BFF-904C-A2D7AB81AADA}" type="pres">
      <dgm:prSet presAssocID="{9B1379EC-E4B4-468C-B6BF-4154E089B089}" presName="sibTrans" presStyleLbl="sibTrans2D1" presStyleIdx="3" presStyleCnt="5"/>
      <dgm:spPr/>
    </dgm:pt>
    <dgm:pt modelId="{024D06B5-93FE-47B4-ABA2-18E741E42CF1}" type="pres">
      <dgm:prSet presAssocID="{63FA01FB-37EB-4F79-90E2-9D7DFC260937}" presName="node" presStyleLbl="node1" presStyleIdx="4" presStyleCnt="5">
        <dgm:presLayoutVars>
          <dgm:bulletEnabled val="1"/>
        </dgm:presLayoutVars>
      </dgm:prSet>
      <dgm:spPr/>
    </dgm:pt>
    <dgm:pt modelId="{CF384D95-3B1D-49EF-A8E6-EC80C93E4129}" type="pres">
      <dgm:prSet presAssocID="{63FA01FB-37EB-4F79-90E2-9D7DFC260937}" presName="dummy" presStyleCnt="0"/>
      <dgm:spPr/>
    </dgm:pt>
    <dgm:pt modelId="{3562C254-B237-43EB-A604-047371463561}" type="pres">
      <dgm:prSet presAssocID="{1C6304EC-834C-4D98-9CE9-5527A0C48759}" presName="sibTrans" presStyleLbl="sibTrans2D1" presStyleIdx="4" presStyleCnt="5"/>
      <dgm:spPr/>
    </dgm:pt>
  </dgm:ptLst>
  <dgm:cxnLst>
    <dgm:cxn modelId="{87C2120D-0F8C-4525-8CA5-30CF63F7AE38}" type="presOf" srcId="{0A17764C-2421-4C85-8A1B-AC669E9D984E}" destId="{042D3377-C67D-4A1F-9C2A-4CF7B69088C2}" srcOrd="0" destOrd="0" presId="urn:microsoft.com/office/officeart/2005/8/layout/radial6"/>
    <dgm:cxn modelId="{220C1515-7F80-4F49-96B4-53525D7A5314}" srcId="{5356B76A-72A3-4070-9FC8-81DDB3079DC8}" destId="{A3E3868D-C744-4F61-95EC-D4FE859D0780}" srcOrd="3" destOrd="0" parTransId="{01C6DD0C-F680-4BFF-9F7D-944CD65DA292}" sibTransId="{9B1379EC-E4B4-468C-B6BF-4154E089B089}"/>
    <dgm:cxn modelId="{EEB7F51B-FCE6-4FEE-9D45-6589D4D5B4D1}" type="presOf" srcId="{1C6304EC-834C-4D98-9CE9-5527A0C48759}" destId="{3562C254-B237-43EB-A604-047371463561}" srcOrd="0" destOrd="0" presId="urn:microsoft.com/office/officeart/2005/8/layout/radial6"/>
    <dgm:cxn modelId="{47C28F2C-E3D3-4275-8DD8-555E3F1DEC6F}" type="presOf" srcId="{B0886F1C-632C-4D8C-91BF-EA6B84AE744E}" destId="{A990D30D-ABC6-4003-87B4-72E5F4793AD5}" srcOrd="0" destOrd="0" presId="urn:microsoft.com/office/officeart/2005/8/layout/radial6"/>
    <dgm:cxn modelId="{9E588C36-008E-4E5E-A762-ED307F5437CE}" type="presOf" srcId="{AA135EB3-6AE7-4F2B-AA20-8F16D3D571B0}" destId="{F60E1735-DEF1-464C-9EF8-7D99AA57E925}" srcOrd="0" destOrd="0" presId="urn:microsoft.com/office/officeart/2005/8/layout/radial6"/>
    <dgm:cxn modelId="{F9E43438-E662-4B64-97A2-F3FD8E912E5F}" type="presOf" srcId="{6E5B5BF7-9541-49DD-A03A-1007CA3DAB60}" destId="{5D8C46F1-E13D-4DD9-8E89-FC376358FA10}" srcOrd="0" destOrd="0" presId="urn:microsoft.com/office/officeart/2005/8/layout/radial6"/>
    <dgm:cxn modelId="{561D5964-EF47-4E89-A5BD-2A735C905F1D}" type="presOf" srcId="{1C3BC4E9-0727-499A-8030-795648F37D26}" destId="{46D3E622-2204-4645-9B2D-BF5280D45E0A}" srcOrd="0" destOrd="0" presId="urn:microsoft.com/office/officeart/2005/8/layout/radial6"/>
    <dgm:cxn modelId="{52144266-B13D-4E26-8D3B-2A2E1697A544}" type="presOf" srcId="{A3E3868D-C744-4F61-95EC-D4FE859D0780}" destId="{82C732D8-2392-47FC-BBC0-1AD7F51B3C88}" srcOrd="0" destOrd="0" presId="urn:microsoft.com/office/officeart/2005/8/layout/radial6"/>
    <dgm:cxn modelId="{97B28F46-1B15-4314-ACC7-311EB3D1E52D}" srcId="{5356B76A-72A3-4070-9FC8-81DDB3079DC8}" destId="{63FA01FB-37EB-4F79-90E2-9D7DFC260937}" srcOrd="4" destOrd="0" parTransId="{65107D35-568C-4AF1-945B-8172AFAA73CE}" sibTransId="{1C6304EC-834C-4D98-9CE9-5527A0C48759}"/>
    <dgm:cxn modelId="{16046B51-E1A5-4146-A0B4-5B161FBB71ED}" srcId="{1C3BC4E9-0727-499A-8030-795648F37D26}" destId="{5356B76A-72A3-4070-9FC8-81DDB3079DC8}" srcOrd="0" destOrd="0" parTransId="{B9C26BB1-6393-4AD8-9F6D-C85EA6EAFC1A}" sibTransId="{48DB3A15-B726-46DB-8BEE-78832F28F726}"/>
    <dgm:cxn modelId="{76F7257C-1792-4D99-B759-0F05AE543A3A}" type="presOf" srcId="{63FA01FB-37EB-4F79-90E2-9D7DFC260937}" destId="{024D06B5-93FE-47B4-ABA2-18E741E42CF1}" srcOrd="0" destOrd="0" presId="urn:microsoft.com/office/officeart/2005/8/layout/radial6"/>
    <dgm:cxn modelId="{7F01659A-9936-4B49-A757-D33B15B278A1}" type="presOf" srcId="{F4644245-3325-4686-A5B6-9B5E4C9F7337}" destId="{85CF885A-B7C6-497C-961D-6294CEED305D}" srcOrd="0" destOrd="0" presId="urn:microsoft.com/office/officeart/2005/8/layout/radial6"/>
    <dgm:cxn modelId="{6D3E1FA2-C85E-4F8C-A370-10125F86386E}" srcId="{5356B76A-72A3-4070-9FC8-81DDB3079DC8}" destId="{F4644245-3325-4686-A5B6-9B5E4C9F7337}" srcOrd="0" destOrd="0" parTransId="{E361A5A7-9279-4B60-BCB7-EAD859461E4C}" sibTransId="{AA135EB3-6AE7-4F2B-AA20-8F16D3D571B0}"/>
    <dgm:cxn modelId="{5C4E4CA5-99C9-445F-9DD3-0FFE668E2274}" type="presOf" srcId="{5356B76A-72A3-4070-9FC8-81DDB3079DC8}" destId="{BF88773B-3901-44BB-B18C-2A2E9952EA61}" srcOrd="0" destOrd="0" presId="urn:microsoft.com/office/officeart/2005/8/layout/radial6"/>
    <dgm:cxn modelId="{2BAD32B8-F03D-4657-B8DA-4C99CE862154}" type="presOf" srcId="{9B1379EC-E4B4-468C-B6BF-4154E089B089}" destId="{42499910-AE70-4BFF-904C-A2D7AB81AADA}" srcOrd="0" destOrd="0" presId="urn:microsoft.com/office/officeart/2005/8/layout/radial6"/>
    <dgm:cxn modelId="{619A63BA-B455-4248-ABFE-38C3D07DA40A}" srcId="{5356B76A-72A3-4070-9FC8-81DDB3079DC8}" destId="{0A17764C-2421-4C85-8A1B-AC669E9D984E}" srcOrd="1" destOrd="0" parTransId="{BC8584A8-1BB4-45C6-8C31-20325DE5C85C}" sibTransId="{6E5B5BF7-9541-49DD-A03A-1007CA3DAB60}"/>
    <dgm:cxn modelId="{D1F777C0-C78C-4D59-92A7-CD7B9D44BDA9}" srcId="{5356B76A-72A3-4070-9FC8-81DDB3079DC8}" destId="{B0886F1C-632C-4D8C-91BF-EA6B84AE744E}" srcOrd="2" destOrd="0" parTransId="{00318A7B-85F7-4A4F-8F0C-B9503F27AA5A}" sibTransId="{6F65A0C1-6A18-44C7-8B8E-9C24EA2455A8}"/>
    <dgm:cxn modelId="{3965A3E9-CAD9-4BF2-99EA-5130ED05D883}" type="presOf" srcId="{6F65A0C1-6A18-44C7-8B8E-9C24EA2455A8}" destId="{782D5DB9-53C5-456C-905F-275EBE9B31A4}" srcOrd="0" destOrd="0" presId="urn:microsoft.com/office/officeart/2005/8/layout/radial6"/>
    <dgm:cxn modelId="{DA00AB61-A54F-4252-B72E-7058F84F46D4}" type="presParOf" srcId="{46D3E622-2204-4645-9B2D-BF5280D45E0A}" destId="{BF88773B-3901-44BB-B18C-2A2E9952EA61}" srcOrd="0" destOrd="0" presId="urn:microsoft.com/office/officeart/2005/8/layout/radial6"/>
    <dgm:cxn modelId="{87C58228-3E80-4589-8032-E61C1C5643E2}" type="presParOf" srcId="{46D3E622-2204-4645-9B2D-BF5280D45E0A}" destId="{85CF885A-B7C6-497C-961D-6294CEED305D}" srcOrd="1" destOrd="0" presId="urn:microsoft.com/office/officeart/2005/8/layout/radial6"/>
    <dgm:cxn modelId="{7F390D19-F7DC-4987-8EF5-6813A35FE610}" type="presParOf" srcId="{46D3E622-2204-4645-9B2D-BF5280D45E0A}" destId="{AF397ED9-B1C9-4E66-9BC6-C1642C907DE1}" srcOrd="2" destOrd="0" presId="urn:microsoft.com/office/officeart/2005/8/layout/radial6"/>
    <dgm:cxn modelId="{0DCEE386-F6A1-4658-BFA4-8C23352BDF7C}" type="presParOf" srcId="{46D3E622-2204-4645-9B2D-BF5280D45E0A}" destId="{F60E1735-DEF1-464C-9EF8-7D99AA57E925}" srcOrd="3" destOrd="0" presId="urn:microsoft.com/office/officeart/2005/8/layout/radial6"/>
    <dgm:cxn modelId="{3F4119BB-9CF5-46BD-842A-5DE979C69AD4}" type="presParOf" srcId="{46D3E622-2204-4645-9B2D-BF5280D45E0A}" destId="{042D3377-C67D-4A1F-9C2A-4CF7B69088C2}" srcOrd="4" destOrd="0" presId="urn:microsoft.com/office/officeart/2005/8/layout/radial6"/>
    <dgm:cxn modelId="{4A8F0CD4-7E32-4262-898F-ED98A95F3954}" type="presParOf" srcId="{46D3E622-2204-4645-9B2D-BF5280D45E0A}" destId="{2BB10EFC-C146-4A80-B3D2-DCF8D02B591A}" srcOrd="5" destOrd="0" presId="urn:microsoft.com/office/officeart/2005/8/layout/radial6"/>
    <dgm:cxn modelId="{0EB8CCED-5CAA-4206-A8B8-A2FF0036F418}" type="presParOf" srcId="{46D3E622-2204-4645-9B2D-BF5280D45E0A}" destId="{5D8C46F1-E13D-4DD9-8E89-FC376358FA10}" srcOrd="6" destOrd="0" presId="urn:microsoft.com/office/officeart/2005/8/layout/radial6"/>
    <dgm:cxn modelId="{F24C4A23-EB39-4531-B66D-01526C067647}" type="presParOf" srcId="{46D3E622-2204-4645-9B2D-BF5280D45E0A}" destId="{A990D30D-ABC6-4003-87B4-72E5F4793AD5}" srcOrd="7" destOrd="0" presId="urn:microsoft.com/office/officeart/2005/8/layout/radial6"/>
    <dgm:cxn modelId="{329F0C7E-3DE1-4D88-AE95-18C649BAA334}" type="presParOf" srcId="{46D3E622-2204-4645-9B2D-BF5280D45E0A}" destId="{4E3E1AC4-8556-4AE9-96EB-DEA241488E1D}" srcOrd="8" destOrd="0" presId="urn:microsoft.com/office/officeart/2005/8/layout/radial6"/>
    <dgm:cxn modelId="{CA2AF985-1888-468D-BFE2-6857B119EB51}" type="presParOf" srcId="{46D3E622-2204-4645-9B2D-BF5280D45E0A}" destId="{782D5DB9-53C5-456C-905F-275EBE9B31A4}" srcOrd="9" destOrd="0" presId="urn:microsoft.com/office/officeart/2005/8/layout/radial6"/>
    <dgm:cxn modelId="{D36F287E-38A4-4D53-98CB-FB986DEE1D06}" type="presParOf" srcId="{46D3E622-2204-4645-9B2D-BF5280D45E0A}" destId="{82C732D8-2392-47FC-BBC0-1AD7F51B3C88}" srcOrd="10" destOrd="0" presId="urn:microsoft.com/office/officeart/2005/8/layout/radial6"/>
    <dgm:cxn modelId="{CE51B882-8743-4A29-B917-C57AF23839E3}" type="presParOf" srcId="{46D3E622-2204-4645-9B2D-BF5280D45E0A}" destId="{4EA999EC-F952-423E-ACE6-94F8F7336B3C}" srcOrd="11" destOrd="0" presId="urn:microsoft.com/office/officeart/2005/8/layout/radial6"/>
    <dgm:cxn modelId="{7B965ABD-F2A5-463A-A99C-EFD66D8E94B1}" type="presParOf" srcId="{46D3E622-2204-4645-9B2D-BF5280D45E0A}" destId="{42499910-AE70-4BFF-904C-A2D7AB81AADA}" srcOrd="12" destOrd="0" presId="urn:microsoft.com/office/officeart/2005/8/layout/radial6"/>
    <dgm:cxn modelId="{1591176F-F36A-44D1-A4FF-DD6BB3788BBC}" type="presParOf" srcId="{46D3E622-2204-4645-9B2D-BF5280D45E0A}" destId="{024D06B5-93FE-47B4-ABA2-18E741E42CF1}" srcOrd="13" destOrd="0" presId="urn:microsoft.com/office/officeart/2005/8/layout/radial6"/>
    <dgm:cxn modelId="{6E6A143D-44E1-454E-A835-456AA9219596}" type="presParOf" srcId="{46D3E622-2204-4645-9B2D-BF5280D45E0A}" destId="{CF384D95-3B1D-49EF-A8E6-EC80C93E4129}" srcOrd="14" destOrd="0" presId="urn:microsoft.com/office/officeart/2005/8/layout/radial6"/>
    <dgm:cxn modelId="{372C8CEF-911A-498B-B8E3-FC8D210AC40B}" type="presParOf" srcId="{46D3E622-2204-4645-9B2D-BF5280D45E0A}" destId="{3562C254-B237-43EB-A604-047371463561}" srcOrd="15"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BEEC47F-E7EC-4326-AE7F-1515DA49140F}"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8D5FFBA-D916-483E-A444-21973D638FA6}">
      <dgm:prSet phldrT="[Text]" custT="1"/>
      <dgm:spPr/>
      <dgm:t>
        <a:bodyPr/>
        <a:lstStyle/>
        <a:p>
          <a:r>
            <a:rPr lang="en-US" sz="1600" b="1" dirty="0"/>
            <a:t>Data &amp; EMR</a:t>
          </a:r>
        </a:p>
      </dgm:t>
    </dgm:pt>
    <dgm:pt modelId="{B8D75CEF-5C8E-4951-9DE9-9F9BE0D19F33}" type="parTrans" cxnId="{45F0B591-6C41-475B-8E4F-644C13326B82}">
      <dgm:prSet/>
      <dgm:spPr/>
      <dgm:t>
        <a:bodyPr/>
        <a:lstStyle/>
        <a:p>
          <a:endParaRPr lang="en-US"/>
        </a:p>
      </dgm:t>
    </dgm:pt>
    <dgm:pt modelId="{8125D877-E0B6-4E30-A3D1-AACB78C70EB2}" type="sibTrans" cxnId="{45F0B591-6C41-475B-8E4F-644C13326B82}">
      <dgm:prSet/>
      <dgm:spPr/>
      <dgm:t>
        <a:bodyPr/>
        <a:lstStyle/>
        <a:p>
          <a:endParaRPr lang="en-US"/>
        </a:p>
      </dgm:t>
    </dgm:pt>
    <dgm:pt modelId="{82D8CB52-D6D0-4FBC-8627-4CDAA729CE54}">
      <dgm:prSet phldrT="[Text]" custT="1"/>
      <dgm:spPr/>
      <dgm:t>
        <a:bodyPr/>
        <a:lstStyle/>
        <a:p>
          <a:r>
            <a:rPr lang="en-US" sz="1600" b="1" dirty="0"/>
            <a:t>Samantha Kenning</a:t>
          </a:r>
        </a:p>
      </dgm:t>
    </dgm:pt>
    <dgm:pt modelId="{FF1F0DFA-304F-4CD8-97E4-607FDD81C53E}" type="parTrans" cxnId="{E9B81B98-9B60-4DFD-A3FC-3765DAB75D42}">
      <dgm:prSet/>
      <dgm:spPr/>
      <dgm:t>
        <a:bodyPr/>
        <a:lstStyle/>
        <a:p>
          <a:endParaRPr lang="en-US"/>
        </a:p>
      </dgm:t>
    </dgm:pt>
    <dgm:pt modelId="{41D25F18-E895-40E1-99B9-8E6989F6BC7B}" type="sibTrans" cxnId="{E9B81B98-9B60-4DFD-A3FC-3765DAB75D42}">
      <dgm:prSet/>
      <dgm:spPr/>
      <dgm:t>
        <a:bodyPr/>
        <a:lstStyle/>
        <a:p>
          <a:endParaRPr lang="en-US"/>
        </a:p>
      </dgm:t>
    </dgm:pt>
    <dgm:pt modelId="{671F5EFA-B6C0-43F6-A7E1-872D82E0FC54}">
      <dgm:prSet phldrT="[Text]" custT="1"/>
      <dgm:spPr/>
      <dgm:t>
        <a:bodyPr/>
        <a:lstStyle/>
        <a:p>
          <a:r>
            <a:rPr lang="en-US" sz="1600" b="1" dirty="0"/>
            <a:t>Doula</a:t>
          </a:r>
          <a:r>
            <a:rPr lang="en-US" sz="1600" dirty="0"/>
            <a:t> </a:t>
          </a:r>
          <a:r>
            <a:rPr lang="en-US" sz="1600" b="1" dirty="0"/>
            <a:t>Friendly</a:t>
          </a:r>
        </a:p>
      </dgm:t>
    </dgm:pt>
    <dgm:pt modelId="{A043DD93-17B1-46D1-8B80-0C75920E842B}" type="parTrans" cxnId="{07001C7F-14FB-4D71-BE45-F6DA86DB10F9}">
      <dgm:prSet/>
      <dgm:spPr/>
      <dgm:t>
        <a:bodyPr/>
        <a:lstStyle/>
        <a:p>
          <a:endParaRPr lang="en-US"/>
        </a:p>
      </dgm:t>
    </dgm:pt>
    <dgm:pt modelId="{77614E04-2D73-48AA-AFE3-B34C5003E2D6}" type="sibTrans" cxnId="{07001C7F-14FB-4D71-BE45-F6DA86DB10F9}">
      <dgm:prSet/>
      <dgm:spPr/>
      <dgm:t>
        <a:bodyPr/>
        <a:lstStyle/>
        <a:p>
          <a:endParaRPr lang="en-US"/>
        </a:p>
      </dgm:t>
    </dgm:pt>
    <dgm:pt modelId="{4AF85BC3-4328-48EE-B218-DD2AA3CA0956}">
      <dgm:prSet phldrT="[Text]" custT="1"/>
      <dgm:spPr/>
      <dgm:t>
        <a:bodyPr/>
        <a:lstStyle/>
        <a:p>
          <a:r>
            <a:rPr lang="en-US" sz="1600" b="1" dirty="0"/>
            <a:t>Marisa Schaffer</a:t>
          </a:r>
        </a:p>
      </dgm:t>
    </dgm:pt>
    <dgm:pt modelId="{E1E797D6-DEE1-4164-8989-E49CB4488D41}" type="parTrans" cxnId="{F0E76D34-C739-44C8-B0F7-3AEF193FAD01}">
      <dgm:prSet/>
      <dgm:spPr/>
      <dgm:t>
        <a:bodyPr/>
        <a:lstStyle/>
        <a:p>
          <a:endParaRPr lang="en-US"/>
        </a:p>
      </dgm:t>
    </dgm:pt>
    <dgm:pt modelId="{4FA6B4E5-201B-4E10-A357-2D09B635DCE7}" type="sibTrans" cxnId="{F0E76D34-C739-44C8-B0F7-3AEF193FAD01}">
      <dgm:prSet/>
      <dgm:spPr/>
      <dgm:t>
        <a:bodyPr/>
        <a:lstStyle/>
        <a:p>
          <a:endParaRPr lang="en-US"/>
        </a:p>
      </dgm:t>
    </dgm:pt>
    <dgm:pt modelId="{B9598627-E894-40A8-8C2D-D7A9045491D5}">
      <dgm:prSet phldrT="[Text]" custT="1"/>
      <dgm:spPr/>
      <dgm:t>
        <a:bodyPr/>
        <a:lstStyle/>
        <a:p>
          <a:r>
            <a:rPr lang="en-US" sz="1600" b="1" dirty="0"/>
            <a:t>Interdisciplinary</a:t>
          </a:r>
          <a:r>
            <a:rPr lang="en-US" sz="1600" dirty="0"/>
            <a:t> </a:t>
          </a:r>
          <a:r>
            <a:rPr lang="en-US" sz="1600" b="1" dirty="0"/>
            <a:t>Education</a:t>
          </a:r>
        </a:p>
      </dgm:t>
    </dgm:pt>
    <dgm:pt modelId="{9DB38113-4B2A-462B-BA69-DD31927F9766}" type="parTrans" cxnId="{A45C5135-9E3C-437E-B425-592164449894}">
      <dgm:prSet/>
      <dgm:spPr/>
      <dgm:t>
        <a:bodyPr/>
        <a:lstStyle/>
        <a:p>
          <a:endParaRPr lang="en-US"/>
        </a:p>
      </dgm:t>
    </dgm:pt>
    <dgm:pt modelId="{617C62F1-8E02-4D89-8A00-33619704D458}" type="sibTrans" cxnId="{A45C5135-9E3C-437E-B425-592164449894}">
      <dgm:prSet/>
      <dgm:spPr/>
      <dgm:t>
        <a:bodyPr/>
        <a:lstStyle/>
        <a:p>
          <a:endParaRPr lang="en-US"/>
        </a:p>
      </dgm:t>
    </dgm:pt>
    <dgm:pt modelId="{F8CB2E28-0467-4ACD-814A-2541FDE53291}">
      <dgm:prSet phldrT="[Text]" custT="1"/>
      <dgm:spPr/>
      <dgm:t>
        <a:bodyPr/>
        <a:lstStyle/>
        <a:p>
          <a:r>
            <a:rPr lang="en-US" sz="1600" b="1" dirty="0"/>
            <a:t>Patient Experience</a:t>
          </a:r>
        </a:p>
      </dgm:t>
    </dgm:pt>
    <dgm:pt modelId="{701E3DFB-A2C5-4201-B8F4-287958BEA278}" type="parTrans" cxnId="{B7B437C3-62DC-4317-86C1-76A60E1D182D}">
      <dgm:prSet/>
      <dgm:spPr/>
      <dgm:t>
        <a:bodyPr/>
        <a:lstStyle/>
        <a:p>
          <a:endParaRPr lang="en-US"/>
        </a:p>
      </dgm:t>
    </dgm:pt>
    <dgm:pt modelId="{F8AAF78F-EF4B-4595-B03D-77F973F2CAB6}" type="sibTrans" cxnId="{B7B437C3-62DC-4317-86C1-76A60E1D182D}">
      <dgm:prSet/>
      <dgm:spPr/>
      <dgm:t>
        <a:bodyPr/>
        <a:lstStyle/>
        <a:p>
          <a:endParaRPr lang="en-US"/>
        </a:p>
      </dgm:t>
    </dgm:pt>
    <dgm:pt modelId="{5BF09D98-9349-467F-99E1-57144905A29F}">
      <dgm:prSet phldrT="[Text]" custT="1"/>
      <dgm:spPr/>
      <dgm:t>
        <a:bodyPr/>
        <a:lstStyle/>
        <a:p>
          <a:r>
            <a:rPr lang="en-US" sz="1600" b="1" dirty="0"/>
            <a:t>Samantha Kenning</a:t>
          </a:r>
        </a:p>
      </dgm:t>
    </dgm:pt>
    <dgm:pt modelId="{729CFF30-C979-4CBC-B999-1F6C88F75C1B}" type="parTrans" cxnId="{83EBD101-C476-4902-8B99-3654242BE25C}">
      <dgm:prSet/>
      <dgm:spPr/>
      <dgm:t>
        <a:bodyPr/>
        <a:lstStyle/>
        <a:p>
          <a:endParaRPr lang="en-US"/>
        </a:p>
      </dgm:t>
    </dgm:pt>
    <dgm:pt modelId="{1560A673-D262-409E-BEAD-48FAC932F001}" type="sibTrans" cxnId="{83EBD101-C476-4902-8B99-3654242BE25C}">
      <dgm:prSet/>
      <dgm:spPr/>
      <dgm:t>
        <a:bodyPr/>
        <a:lstStyle/>
        <a:p>
          <a:endParaRPr lang="en-US"/>
        </a:p>
      </dgm:t>
    </dgm:pt>
    <dgm:pt modelId="{EDF2394F-16D1-4D71-A8A5-82A2B9446614}">
      <dgm:prSet phldrT="[Text]" custT="1"/>
      <dgm:spPr/>
      <dgm:t>
        <a:bodyPr/>
        <a:lstStyle/>
        <a:p>
          <a:pPr marL="171450" lvl="1" indent="-171450" defTabSz="711200">
            <a:lnSpc>
              <a:spcPct val="90000"/>
            </a:lnSpc>
            <a:spcBef>
              <a:spcPct val="0"/>
            </a:spcBef>
            <a:spcAft>
              <a:spcPct val="15000"/>
            </a:spcAft>
            <a:buNone/>
          </a:pPr>
          <a:r>
            <a:rPr lang="en-US" sz="1600" b="1" dirty="0"/>
            <a:t>Marisa Schaffer </a:t>
          </a:r>
        </a:p>
      </dgm:t>
    </dgm:pt>
    <dgm:pt modelId="{31646D62-839C-4FEC-9D22-D9441D20E748}" type="parTrans" cxnId="{C449A2A0-71CA-46C8-8AD2-C1839CB5A567}">
      <dgm:prSet/>
      <dgm:spPr/>
      <dgm:t>
        <a:bodyPr/>
        <a:lstStyle/>
        <a:p>
          <a:endParaRPr lang="en-US"/>
        </a:p>
      </dgm:t>
    </dgm:pt>
    <dgm:pt modelId="{9502CDE7-26D6-401E-BE14-AE311698EEB7}" type="sibTrans" cxnId="{C449A2A0-71CA-46C8-8AD2-C1839CB5A567}">
      <dgm:prSet/>
      <dgm:spPr/>
      <dgm:t>
        <a:bodyPr/>
        <a:lstStyle/>
        <a:p>
          <a:endParaRPr lang="en-US"/>
        </a:p>
      </dgm:t>
    </dgm:pt>
    <dgm:pt modelId="{F0F66644-877F-4C64-9A68-671FB86A888D}">
      <dgm:prSet phldrT="[Text]" custT="1"/>
      <dgm:spPr/>
      <dgm:t>
        <a:bodyPr/>
        <a:lstStyle/>
        <a:p>
          <a:r>
            <a:rPr lang="en-US" sz="1600" b="1" dirty="0"/>
            <a:t>Community Collaboration</a:t>
          </a:r>
        </a:p>
      </dgm:t>
    </dgm:pt>
    <dgm:pt modelId="{77F72D37-98D1-463A-B084-5065D91768FC}" type="parTrans" cxnId="{6B3E2AD8-68E8-42B9-AD4E-61BFD0DABC9F}">
      <dgm:prSet/>
      <dgm:spPr/>
      <dgm:t>
        <a:bodyPr/>
        <a:lstStyle/>
        <a:p>
          <a:endParaRPr lang="en-US"/>
        </a:p>
      </dgm:t>
    </dgm:pt>
    <dgm:pt modelId="{6426FB96-F66D-4BA2-9117-43A39E647DB8}" type="sibTrans" cxnId="{6B3E2AD8-68E8-42B9-AD4E-61BFD0DABC9F}">
      <dgm:prSet/>
      <dgm:spPr/>
      <dgm:t>
        <a:bodyPr/>
        <a:lstStyle/>
        <a:p>
          <a:endParaRPr lang="en-US"/>
        </a:p>
      </dgm:t>
    </dgm:pt>
    <dgm:pt modelId="{ECDAFAB1-F178-4E07-8750-1BA1D8C36F13}">
      <dgm:prSet phldrT="[Text]" custT="1"/>
      <dgm:spPr/>
      <dgm:t>
        <a:bodyPr/>
        <a:lstStyle/>
        <a:p>
          <a:r>
            <a:rPr lang="en-US" sz="1600" b="1" dirty="0"/>
            <a:t>Rachel Romshek</a:t>
          </a:r>
        </a:p>
      </dgm:t>
    </dgm:pt>
    <dgm:pt modelId="{E49CE3B9-2A65-49B1-8FD0-3656595FD6B8}" type="parTrans" cxnId="{EE6EB11F-90D0-4482-BC56-3C4E6E00CEC9}">
      <dgm:prSet/>
      <dgm:spPr/>
      <dgm:t>
        <a:bodyPr/>
        <a:lstStyle/>
        <a:p>
          <a:endParaRPr lang="en-US"/>
        </a:p>
      </dgm:t>
    </dgm:pt>
    <dgm:pt modelId="{BDB4439D-ED6D-438E-A302-CBCEACE8BD0D}" type="sibTrans" cxnId="{EE6EB11F-90D0-4482-BC56-3C4E6E00CEC9}">
      <dgm:prSet/>
      <dgm:spPr/>
      <dgm:t>
        <a:bodyPr/>
        <a:lstStyle/>
        <a:p>
          <a:endParaRPr lang="en-US"/>
        </a:p>
      </dgm:t>
    </dgm:pt>
    <dgm:pt modelId="{33DCF6F5-6E52-4B5E-9C1E-C73E8FA98B1E}">
      <dgm:prSet phldrT="[Text]" custT="1"/>
      <dgm:spPr/>
      <dgm:t>
        <a:bodyPr/>
        <a:lstStyle/>
        <a:p>
          <a:endParaRPr lang="en-US" sz="1600" dirty="0"/>
        </a:p>
      </dgm:t>
    </dgm:pt>
    <dgm:pt modelId="{D593C310-E8D8-4BC6-9F63-79F66F63AA1B}" type="parTrans" cxnId="{82A26FEF-2BF7-49F7-88D2-32FE5814743D}">
      <dgm:prSet/>
      <dgm:spPr/>
      <dgm:t>
        <a:bodyPr/>
        <a:lstStyle/>
        <a:p>
          <a:endParaRPr lang="en-US"/>
        </a:p>
      </dgm:t>
    </dgm:pt>
    <dgm:pt modelId="{7E712A54-FFC7-4725-9238-7078BC499F2A}" type="sibTrans" cxnId="{82A26FEF-2BF7-49F7-88D2-32FE5814743D}">
      <dgm:prSet/>
      <dgm:spPr/>
      <dgm:t>
        <a:bodyPr/>
        <a:lstStyle/>
        <a:p>
          <a:endParaRPr lang="en-US"/>
        </a:p>
      </dgm:t>
    </dgm:pt>
    <dgm:pt modelId="{9E52FA92-2148-4DAD-A6A9-E7CE771F0D62}">
      <dgm:prSet phldrT="[Text]" custT="1"/>
      <dgm:spPr/>
      <dgm:t>
        <a:bodyPr/>
        <a:lstStyle/>
        <a:p>
          <a:r>
            <a:rPr lang="en-US" sz="1600" dirty="0"/>
            <a:t>Wendy Tran or Dylan Bryant</a:t>
          </a:r>
        </a:p>
      </dgm:t>
    </dgm:pt>
    <dgm:pt modelId="{A479C231-1A45-49C9-9A86-C38A237F41B0}" type="parTrans" cxnId="{AE4AA399-8137-45C8-B56B-8D57DFDEACA0}">
      <dgm:prSet/>
      <dgm:spPr/>
      <dgm:t>
        <a:bodyPr/>
        <a:lstStyle/>
        <a:p>
          <a:endParaRPr lang="en-US"/>
        </a:p>
      </dgm:t>
    </dgm:pt>
    <dgm:pt modelId="{55218C5A-56C7-42D2-8556-4A5D85BB49E3}" type="sibTrans" cxnId="{AE4AA399-8137-45C8-B56B-8D57DFDEACA0}">
      <dgm:prSet/>
      <dgm:spPr/>
      <dgm:t>
        <a:bodyPr/>
        <a:lstStyle/>
        <a:p>
          <a:endParaRPr lang="en-US"/>
        </a:p>
      </dgm:t>
    </dgm:pt>
    <dgm:pt modelId="{30BE9E33-7DBA-4647-A791-9F98537AD98A}">
      <dgm:prSet phldrT="[Text]" custT="1"/>
      <dgm:spPr/>
      <dgm:t>
        <a:bodyPr/>
        <a:lstStyle/>
        <a:p>
          <a:r>
            <a:rPr lang="en-US" sz="1600" dirty="0"/>
            <a:t>Doulas of Lincoln + Malone Center Doula collaboration</a:t>
          </a:r>
        </a:p>
      </dgm:t>
    </dgm:pt>
    <dgm:pt modelId="{F9291AF5-03F4-4224-89CC-AADD8BC2AA22}" type="parTrans" cxnId="{4ADD10C9-5A5C-4A08-B5DA-7DC0015E1A4A}">
      <dgm:prSet/>
      <dgm:spPr/>
      <dgm:t>
        <a:bodyPr/>
        <a:lstStyle/>
        <a:p>
          <a:endParaRPr lang="en-US"/>
        </a:p>
      </dgm:t>
    </dgm:pt>
    <dgm:pt modelId="{FA56EEA2-BAD5-44CA-BAAE-7AC7C3633700}" type="sibTrans" cxnId="{4ADD10C9-5A5C-4A08-B5DA-7DC0015E1A4A}">
      <dgm:prSet/>
      <dgm:spPr/>
      <dgm:t>
        <a:bodyPr/>
        <a:lstStyle/>
        <a:p>
          <a:endParaRPr lang="en-US"/>
        </a:p>
      </dgm:t>
    </dgm:pt>
    <dgm:pt modelId="{3AEBBE94-2997-4FD1-BC2F-7CA5A5059393}">
      <dgm:prSet phldrT="[Text]" custT="1"/>
      <dgm:spPr/>
      <dgm:t>
        <a:bodyPr/>
        <a:lstStyle/>
        <a:p>
          <a:r>
            <a:rPr lang="en-US" sz="1600" dirty="0"/>
            <a:t>LD: Rachel Romshek</a:t>
          </a:r>
        </a:p>
      </dgm:t>
    </dgm:pt>
    <dgm:pt modelId="{3FDDF0A1-0472-4856-8BAB-7F5DC5406481}" type="parTrans" cxnId="{E6B924F4-8B91-4793-B9C8-52D3345C37BE}">
      <dgm:prSet/>
      <dgm:spPr/>
      <dgm:t>
        <a:bodyPr/>
        <a:lstStyle/>
        <a:p>
          <a:endParaRPr lang="en-US"/>
        </a:p>
      </dgm:t>
    </dgm:pt>
    <dgm:pt modelId="{1BCBA747-F71E-48BC-9DC0-250E3F23C223}" type="sibTrans" cxnId="{E6B924F4-8B91-4793-B9C8-52D3345C37BE}">
      <dgm:prSet/>
      <dgm:spPr/>
      <dgm:t>
        <a:bodyPr/>
        <a:lstStyle/>
        <a:p>
          <a:endParaRPr lang="en-US"/>
        </a:p>
      </dgm:t>
    </dgm:pt>
    <dgm:pt modelId="{CF026227-104D-4C99-8A00-6FE09046D3D4}">
      <dgm:prSet phldrT="[Text]" custT="1"/>
      <dgm:spPr/>
      <dgm:t>
        <a:bodyPr/>
        <a:lstStyle/>
        <a:p>
          <a:r>
            <a:rPr lang="en-US" sz="1600" dirty="0"/>
            <a:t>MB: Morgan Ebke</a:t>
          </a:r>
        </a:p>
      </dgm:t>
    </dgm:pt>
    <dgm:pt modelId="{1415D808-94AD-4CAF-8AEF-6CB4E6F8567C}" type="parTrans" cxnId="{3AB39D16-0CFC-49B1-9928-B6192589EC36}">
      <dgm:prSet/>
      <dgm:spPr/>
      <dgm:t>
        <a:bodyPr/>
        <a:lstStyle/>
        <a:p>
          <a:endParaRPr lang="en-US"/>
        </a:p>
      </dgm:t>
    </dgm:pt>
    <dgm:pt modelId="{98145D78-2154-4C67-808F-B3A5961EB108}" type="sibTrans" cxnId="{3AB39D16-0CFC-49B1-9928-B6192589EC36}">
      <dgm:prSet/>
      <dgm:spPr/>
      <dgm:t>
        <a:bodyPr/>
        <a:lstStyle/>
        <a:p>
          <a:endParaRPr lang="en-US"/>
        </a:p>
      </dgm:t>
    </dgm:pt>
    <dgm:pt modelId="{810C95AE-7270-4563-90C8-1033A61201BC}">
      <dgm:prSet phldrT="[Text]" custT="1"/>
      <dgm:spPr/>
      <dgm:t>
        <a:bodyPr/>
        <a:lstStyle/>
        <a:p>
          <a:r>
            <a:rPr lang="en-US" sz="1600" dirty="0"/>
            <a:t>Dr. </a:t>
          </a:r>
          <a:r>
            <a:rPr lang="en-US" sz="1600" dirty="0" err="1"/>
            <a:t>Neri</a:t>
          </a:r>
          <a:endParaRPr lang="en-US" sz="1600" dirty="0"/>
        </a:p>
      </dgm:t>
    </dgm:pt>
    <dgm:pt modelId="{30175CA7-6121-4397-B1AE-A67F59ED1A47}" type="parTrans" cxnId="{5ED063C3-BD46-44A2-A2A5-911A14C615BB}">
      <dgm:prSet/>
      <dgm:spPr/>
      <dgm:t>
        <a:bodyPr/>
        <a:lstStyle/>
        <a:p>
          <a:endParaRPr lang="en-US"/>
        </a:p>
      </dgm:t>
    </dgm:pt>
    <dgm:pt modelId="{7847F29C-E88C-4BE5-8B0B-20025F72501D}" type="sibTrans" cxnId="{5ED063C3-BD46-44A2-A2A5-911A14C615BB}">
      <dgm:prSet/>
      <dgm:spPr/>
      <dgm:t>
        <a:bodyPr/>
        <a:lstStyle/>
        <a:p>
          <a:endParaRPr lang="en-US"/>
        </a:p>
      </dgm:t>
    </dgm:pt>
    <dgm:pt modelId="{F1FF2D40-BF3E-4DA2-88EF-8CA8A96F4346}">
      <dgm:prSet phldrT="[Text]" custT="1"/>
      <dgm:spPr/>
      <dgm:t>
        <a:bodyPr/>
        <a:lstStyle/>
        <a:p>
          <a:r>
            <a:rPr lang="en-US" sz="1600" b="0" dirty="0"/>
            <a:t>Marisa Schaffer</a:t>
          </a:r>
        </a:p>
      </dgm:t>
    </dgm:pt>
    <dgm:pt modelId="{4291B1D4-47E5-4652-BAA9-C1B4FA130AB7}" type="parTrans" cxnId="{0355B620-D4BA-487C-8A40-131694D65FEB}">
      <dgm:prSet/>
      <dgm:spPr/>
      <dgm:t>
        <a:bodyPr/>
        <a:lstStyle/>
        <a:p>
          <a:endParaRPr lang="en-US"/>
        </a:p>
      </dgm:t>
    </dgm:pt>
    <dgm:pt modelId="{80F4B79F-13FB-4DA7-98DF-2426491653AF}" type="sibTrans" cxnId="{0355B620-D4BA-487C-8A40-131694D65FEB}">
      <dgm:prSet/>
      <dgm:spPr/>
      <dgm:t>
        <a:bodyPr/>
        <a:lstStyle/>
        <a:p>
          <a:endParaRPr lang="en-US"/>
        </a:p>
      </dgm:t>
    </dgm:pt>
    <dgm:pt modelId="{E927AF35-0B79-4463-BD96-4D1CC61E2CCB}">
      <dgm:prSet phldrT="[Text]" custT="1"/>
      <dgm:spPr/>
      <dgm:t>
        <a:bodyPr/>
        <a:lstStyle/>
        <a:p>
          <a:r>
            <a:rPr lang="en-US" sz="1600" dirty="0"/>
            <a:t>Karina Adame</a:t>
          </a:r>
        </a:p>
      </dgm:t>
    </dgm:pt>
    <dgm:pt modelId="{D05F27DA-7D60-4D63-A108-C7FC36FC9707}" type="parTrans" cxnId="{05BB16BD-E7BF-4EBD-A8E5-3C01F1B06F01}">
      <dgm:prSet/>
      <dgm:spPr/>
      <dgm:t>
        <a:bodyPr/>
        <a:lstStyle/>
        <a:p>
          <a:endParaRPr lang="en-US"/>
        </a:p>
      </dgm:t>
    </dgm:pt>
    <dgm:pt modelId="{BA935004-1EFF-4A1D-9BA4-1C07FF9920A2}" type="sibTrans" cxnId="{05BB16BD-E7BF-4EBD-A8E5-3C01F1B06F01}">
      <dgm:prSet/>
      <dgm:spPr/>
      <dgm:t>
        <a:bodyPr/>
        <a:lstStyle/>
        <a:p>
          <a:endParaRPr lang="en-US"/>
        </a:p>
      </dgm:t>
    </dgm:pt>
    <dgm:pt modelId="{D890A68C-4AFF-477E-8F56-388021A45293}">
      <dgm:prSet phldrT="[Text]" custT="1"/>
      <dgm:spPr/>
      <dgm:t>
        <a:bodyPr/>
        <a:lstStyle/>
        <a:p>
          <a:r>
            <a:rPr lang="en-US" sz="1600" dirty="0"/>
            <a:t>Jillian Boldt</a:t>
          </a:r>
        </a:p>
      </dgm:t>
    </dgm:pt>
    <dgm:pt modelId="{0B21D294-FB2F-4026-8480-43E9ADAFC89C}" type="parTrans" cxnId="{B9D6CB0A-D4BD-424A-8D01-DCCAF07399A1}">
      <dgm:prSet/>
      <dgm:spPr/>
      <dgm:t>
        <a:bodyPr/>
        <a:lstStyle/>
        <a:p>
          <a:endParaRPr lang="en-US"/>
        </a:p>
      </dgm:t>
    </dgm:pt>
    <dgm:pt modelId="{986D3F07-7C60-4976-A0F0-4568CB51C67A}" type="sibTrans" cxnId="{B9D6CB0A-D4BD-424A-8D01-DCCAF07399A1}">
      <dgm:prSet/>
      <dgm:spPr/>
      <dgm:t>
        <a:bodyPr/>
        <a:lstStyle/>
        <a:p>
          <a:endParaRPr lang="en-US"/>
        </a:p>
      </dgm:t>
    </dgm:pt>
    <dgm:pt modelId="{07E3240E-8D8A-4628-AB53-DFD6B5CF9F95}">
      <dgm:prSet phldrT="[Text]" custT="1"/>
      <dgm:spPr/>
      <dgm:t>
        <a:bodyPr/>
        <a:lstStyle/>
        <a:p>
          <a:r>
            <a:rPr lang="en-US" sz="1600" dirty="0"/>
            <a:t>Collaboration with Malone, El Centro, Asian community center, </a:t>
          </a:r>
          <a:r>
            <a:rPr lang="en-US" sz="1600" dirty="0" err="1"/>
            <a:t>Educare</a:t>
          </a:r>
          <a:r>
            <a:rPr lang="en-US" sz="1600" dirty="0"/>
            <a:t>, LCBI,  WC LC, corrections, </a:t>
          </a:r>
          <a:r>
            <a:rPr lang="en-US" sz="1600" dirty="0" err="1"/>
            <a:t>etc</a:t>
          </a:r>
          <a:endParaRPr lang="en-US" sz="1600" dirty="0"/>
        </a:p>
      </dgm:t>
    </dgm:pt>
    <dgm:pt modelId="{C0A92819-6818-4F47-909F-8FB63880C628}" type="parTrans" cxnId="{4CF19BDF-4211-4C70-BAB2-58759AC45A2B}">
      <dgm:prSet/>
      <dgm:spPr/>
      <dgm:t>
        <a:bodyPr/>
        <a:lstStyle/>
        <a:p>
          <a:endParaRPr lang="en-US"/>
        </a:p>
      </dgm:t>
    </dgm:pt>
    <dgm:pt modelId="{C2391566-70C1-47AB-8EF2-278BA2B3C2CF}" type="sibTrans" cxnId="{4CF19BDF-4211-4C70-BAB2-58759AC45A2B}">
      <dgm:prSet/>
      <dgm:spPr/>
      <dgm:t>
        <a:bodyPr/>
        <a:lstStyle/>
        <a:p>
          <a:endParaRPr lang="en-US"/>
        </a:p>
      </dgm:t>
    </dgm:pt>
    <dgm:pt modelId="{A62CF6A8-9BA3-4CF4-AEB1-B96BBAF05057}">
      <dgm:prSet phldrT="[Text]" custT="1"/>
      <dgm:spPr/>
      <dgm:t>
        <a:bodyPr/>
        <a:lstStyle/>
        <a:p>
          <a:r>
            <a:rPr lang="en-US" sz="1600" dirty="0"/>
            <a:t>Marissa</a:t>
          </a:r>
          <a:r>
            <a:rPr lang="en-US" sz="1600" baseline="0" dirty="0"/>
            <a:t> Damanhoury</a:t>
          </a:r>
          <a:endParaRPr lang="en-US" sz="1600" dirty="0"/>
        </a:p>
      </dgm:t>
    </dgm:pt>
    <dgm:pt modelId="{528F608C-A8D9-48AC-AE53-472DC37D2FBB}" type="parTrans" cxnId="{8728A1AB-F997-4DB6-82A8-BE00C1E6C7C8}">
      <dgm:prSet/>
      <dgm:spPr/>
      <dgm:t>
        <a:bodyPr/>
        <a:lstStyle/>
        <a:p>
          <a:endParaRPr lang="en-US"/>
        </a:p>
      </dgm:t>
    </dgm:pt>
    <dgm:pt modelId="{27D3D353-B4C0-423C-B475-6B9272E86201}" type="sibTrans" cxnId="{8728A1AB-F997-4DB6-82A8-BE00C1E6C7C8}">
      <dgm:prSet/>
      <dgm:spPr/>
      <dgm:t>
        <a:bodyPr/>
        <a:lstStyle/>
        <a:p>
          <a:endParaRPr lang="en-US"/>
        </a:p>
      </dgm:t>
    </dgm:pt>
    <dgm:pt modelId="{2C37E2D3-9650-44B8-A547-AC8D0F8EB43F}">
      <dgm:prSet phldrT="[Text]" custT="1"/>
      <dgm:spPr/>
      <dgm:t>
        <a:bodyPr/>
        <a:lstStyle/>
        <a:p>
          <a:r>
            <a:rPr lang="en-US" sz="1600" dirty="0"/>
            <a:t>Marissa</a:t>
          </a:r>
          <a:r>
            <a:rPr lang="en-US" sz="1600" baseline="0" dirty="0"/>
            <a:t> Damanhoury</a:t>
          </a:r>
          <a:endParaRPr lang="en-US" sz="1600" b="0" dirty="0"/>
        </a:p>
      </dgm:t>
    </dgm:pt>
    <dgm:pt modelId="{A25E1EAB-A611-4BE6-B02B-D340AC872816}" type="parTrans" cxnId="{176DF11E-E6CB-40BD-B633-10C663EB11CE}">
      <dgm:prSet/>
      <dgm:spPr/>
      <dgm:t>
        <a:bodyPr/>
        <a:lstStyle/>
        <a:p>
          <a:endParaRPr lang="en-US"/>
        </a:p>
      </dgm:t>
    </dgm:pt>
    <dgm:pt modelId="{F9B959B6-8F38-43EF-A9E4-5CD270E08004}" type="sibTrans" cxnId="{176DF11E-E6CB-40BD-B633-10C663EB11CE}">
      <dgm:prSet/>
      <dgm:spPr/>
      <dgm:t>
        <a:bodyPr/>
        <a:lstStyle/>
        <a:p>
          <a:endParaRPr lang="en-US"/>
        </a:p>
      </dgm:t>
    </dgm:pt>
    <dgm:pt modelId="{8BC6E2AD-3440-468B-B4C7-881F0E79FEB2}">
      <dgm:prSet phldrT="[Text]" custT="1"/>
      <dgm:spPr/>
      <dgm:t>
        <a:bodyPr/>
        <a:lstStyle/>
        <a:p>
          <a:pPr marL="171450" lvl="1" indent="-171450" defTabSz="711200">
            <a:lnSpc>
              <a:spcPct val="90000"/>
            </a:lnSpc>
            <a:spcBef>
              <a:spcPct val="0"/>
            </a:spcBef>
            <a:spcAft>
              <a:spcPct val="15000"/>
            </a:spcAft>
            <a:buNone/>
          </a:pPr>
          <a:r>
            <a:rPr lang="en-US" sz="1600" dirty="0"/>
            <a:t>LD: </a:t>
          </a:r>
          <a:r>
            <a:rPr lang="en-US" sz="1600" dirty="0" err="1"/>
            <a:t>Tisha</a:t>
          </a:r>
          <a:r>
            <a:rPr lang="en-US" sz="1600" dirty="0"/>
            <a:t> Bergmeier</a:t>
          </a:r>
        </a:p>
      </dgm:t>
    </dgm:pt>
    <dgm:pt modelId="{411E697D-DC26-4135-AF5B-BD4E700C9589}" type="parTrans" cxnId="{5C0A73C6-3812-4AD5-A102-5B9CD49DBF61}">
      <dgm:prSet/>
      <dgm:spPr/>
      <dgm:t>
        <a:bodyPr/>
        <a:lstStyle/>
        <a:p>
          <a:endParaRPr lang="en-US"/>
        </a:p>
      </dgm:t>
    </dgm:pt>
    <dgm:pt modelId="{C6C31970-A3DD-47E8-96A8-8123B4D27434}" type="sibTrans" cxnId="{5C0A73C6-3812-4AD5-A102-5B9CD49DBF61}">
      <dgm:prSet/>
      <dgm:spPr/>
      <dgm:t>
        <a:bodyPr/>
        <a:lstStyle/>
        <a:p>
          <a:endParaRPr lang="en-US"/>
        </a:p>
      </dgm:t>
    </dgm:pt>
    <dgm:pt modelId="{82E2C13A-AEC5-423C-9606-AC0B94E14A41}">
      <dgm:prSet phldrT="[Text]" custT="1"/>
      <dgm:spPr/>
      <dgm:t>
        <a:bodyPr/>
        <a:lstStyle/>
        <a:p>
          <a:r>
            <a:rPr lang="en-US" sz="1600" b="1" dirty="0"/>
            <a:t>Danielle Wilkinson</a:t>
          </a:r>
        </a:p>
      </dgm:t>
    </dgm:pt>
    <dgm:pt modelId="{85DE5114-5574-417A-A5FF-CAEF4D606B83}" type="parTrans" cxnId="{ECEB0155-B015-4979-8249-B2A30BE718C8}">
      <dgm:prSet/>
      <dgm:spPr/>
      <dgm:t>
        <a:bodyPr/>
        <a:lstStyle/>
        <a:p>
          <a:endParaRPr lang="en-US"/>
        </a:p>
      </dgm:t>
    </dgm:pt>
    <dgm:pt modelId="{DDB0A2AD-C2B8-4118-BAAA-7C053731DA13}" type="sibTrans" cxnId="{ECEB0155-B015-4979-8249-B2A30BE718C8}">
      <dgm:prSet/>
      <dgm:spPr/>
      <dgm:t>
        <a:bodyPr/>
        <a:lstStyle/>
        <a:p>
          <a:endParaRPr lang="en-US"/>
        </a:p>
      </dgm:t>
    </dgm:pt>
    <dgm:pt modelId="{87908EA8-300C-4F7C-9B99-E4A3F8AD3536}">
      <dgm:prSet phldrT="[Text]" custT="1"/>
      <dgm:spPr/>
      <dgm:t>
        <a:bodyPr/>
        <a:lstStyle/>
        <a:p>
          <a:r>
            <a:rPr lang="en-US" sz="1600" dirty="0"/>
            <a:t>Patient </a:t>
          </a:r>
        </a:p>
      </dgm:t>
    </dgm:pt>
    <dgm:pt modelId="{914992A2-E39F-4FE4-B71E-E61AB2F8AA98}" type="parTrans" cxnId="{18A6893B-8C55-43B7-8ADB-7D55345FD483}">
      <dgm:prSet/>
      <dgm:spPr/>
      <dgm:t>
        <a:bodyPr/>
        <a:lstStyle/>
        <a:p>
          <a:endParaRPr lang="en-US"/>
        </a:p>
      </dgm:t>
    </dgm:pt>
    <dgm:pt modelId="{85A1002B-BBAA-40F8-8345-932684A9E4BC}" type="sibTrans" cxnId="{18A6893B-8C55-43B7-8ADB-7D55345FD483}">
      <dgm:prSet/>
      <dgm:spPr/>
      <dgm:t>
        <a:bodyPr/>
        <a:lstStyle/>
        <a:p>
          <a:endParaRPr lang="en-US"/>
        </a:p>
      </dgm:t>
    </dgm:pt>
    <dgm:pt modelId="{647CD1F0-913C-42DD-8D80-DB4772637A57}">
      <dgm:prSet phldrT="[Text]" custT="1"/>
      <dgm:spPr/>
      <dgm:t>
        <a:bodyPr/>
        <a:lstStyle/>
        <a:p>
          <a:r>
            <a:rPr lang="en-US" sz="1600" b="0" dirty="0"/>
            <a:t>Samantha Kenning</a:t>
          </a:r>
        </a:p>
      </dgm:t>
    </dgm:pt>
    <dgm:pt modelId="{FA5E4817-2537-482E-BFA8-0237C87587C7}" type="parTrans" cxnId="{3513972E-B589-4CA4-8309-83B2D6DC5EE8}">
      <dgm:prSet/>
      <dgm:spPr/>
      <dgm:t>
        <a:bodyPr/>
        <a:lstStyle/>
        <a:p>
          <a:endParaRPr lang="en-US"/>
        </a:p>
      </dgm:t>
    </dgm:pt>
    <dgm:pt modelId="{DD706ED7-A813-480D-9C3A-C761DB87B4C3}" type="sibTrans" cxnId="{3513972E-B589-4CA4-8309-83B2D6DC5EE8}">
      <dgm:prSet/>
      <dgm:spPr/>
      <dgm:t>
        <a:bodyPr/>
        <a:lstStyle/>
        <a:p>
          <a:endParaRPr lang="en-US"/>
        </a:p>
      </dgm:t>
    </dgm:pt>
    <dgm:pt modelId="{44D8141B-4768-44DD-B7A0-B98C3EA4E0EB}">
      <dgm:prSet phldrT="[Text]" custT="1"/>
      <dgm:spPr/>
      <dgm:t>
        <a:bodyPr/>
        <a:lstStyle/>
        <a:p>
          <a:r>
            <a:rPr lang="en-US" sz="1600" dirty="0"/>
            <a:t>Genna Lehr</a:t>
          </a:r>
          <a:endParaRPr lang="en-US" sz="1600" b="0" dirty="0"/>
        </a:p>
      </dgm:t>
    </dgm:pt>
    <dgm:pt modelId="{E8585601-037A-4BFE-A526-1FD65D37F06C}" type="parTrans" cxnId="{1D7B29B0-A9C6-4748-92BC-43DAC97B9F32}">
      <dgm:prSet/>
      <dgm:spPr/>
      <dgm:t>
        <a:bodyPr/>
        <a:lstStyle/>
        <a:p>
          <a:endParaRPr lang="en-US"/>
        </a:p>
      </dgm:t>
    </dgm:pt>
    <dgm:pt modelId="{B26E06B0-828C-4084-92B0-7E5C984913EE}" type="sibTrans" cxnId="{1D7B29B0-A9C6-4748-92BC-43DAC97B9F32}">
      <dgm:prSet/>
      <dgm:spPr/>
      <dgm:t>
        <a:bodyPr/>
        <a:lstStyle/>
        <a:p>
          <a:endParaRPr lang="en-US"/>
        </a:p>
      </dgm:t>
    </dgm:pt>
    <dgm:pt modelId="{FC075BD5-3E99-4CE1-8716-4DB9F4F0CEA5}">
      <dgm:prSet phldrT="[Text]" custT="1"/>
      <dgm:spPr/>
      <dgm:t>
        <a:bodyPr/>
        <a:lstStyle/>
        <a:p>
          <a:pPr marL="171450" lvl="1" indent="-171450" defTabSz="711200">
            <a:lnSpc>
              <a:spcPct val="90000"/>
            </a:lnSpc>
            <a:spcBef>
              <a:spcPct val="0"/>
            </a:spcBef>
            <a:spcAft>
              <a:spcPct val="15000"/>
            </a:spcAft>
            <a:buNone/>
          </a:pPr>
          <a:r>
            <a:rPr lang="en-US" sz="1600" dirty="0"/>
            <a:t>Provider ad hoc Perinatal quality</a:t>
          </a:r>
        </a:p>
      </dgm:t>
    </dgm:pt>
    <dgm:pt modelId="{C23E6436-5BAD-4B2B-BB71-B794373754ED}" type="parTrans" cxnId="{BCBC8D5D-8391-4821-BDE8-65DF004D40CE}">
      <dgm:prSet/>
      <dgm:spPr/>
      <dgm:t>
        <a:bodyPr/>
        <a:lstStyle/>
        <a:p>
          <a:endParaRPr lang="en-US"/>
        </a:p>
      </dgm:t>
    </dgm:pt>
    <dgm:pt modelId="{44F8611E-AFDF-4BA7-9F7C-F6793D5D1B94}" type="sibTrans" cxnId="{BCBC8D5D-8391-4821-BDE8-65DF004D40CE}">
      <dgm:prSet/>
      <dgm:spPr/>
      <dgm:t>
        <a:bodyPr/>
        <a:lstStyle/>
        <a:p>
          <a:endParaRPr lang="en-US"/>
        </a:p>
      </dgm:t>
    </dgm:pt>
    <dgm:pt modelId="{779CACE1-30FF-481B-83BF-113A1D78A2FB}">
      <dgm:prSet phldrT="[Text]" custT="1"/>
      <dgm:spPr/>
      <dgm: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lang="en-US" sz="1400" dirty="0"/>
            <a:t>Samantha Kenning</a:t>
          </a:r>
        </a:p>
      </dgm:t>
    </dgm:pt>
    <dgm:pt modelId="{8AD04BDD-D929-4438-878E-9CD1062BB9B7}" type="parTrans" cxnId="{F3ADBF3B-7256-4EFC-89E4-FAAF43A4567C}">
      <dgm:prSet/>
      <dgm:spPr/>
      <dgm:t>
        <a:bodyPr/>
        <a:lstStyle/>
        <a:p>
          <a:endParaRPr lang="en-US"/>
        </a:p>
      </dgm:t>
    </dgm:pt>
    <dgm:pt modelId="{6BDC0D21-949D-4E0D-BF2B-7E2D4A5855BF}" type="sibTrans" cxnId="{F3ADBF3B-7256-4EFC-89E4-FAAF43A4567C}">
      <dgm:prSet/>
      <dgm:spPr/>
      <dgm:t>
        <a:bodyPr/>
        <a:lstStyle/>
        <a:p>
          <a:endParaRPr lang="en-US"/>
        </a:p>
      </dgm:t>
    </dgm:pt>
    <dgm:pt modelId="{751E68B6-70ED-4A77-95FF-910493B319B2}">
      <dgm:prSet phldrT="[Text]" custT="1"/>
      <dgm:spPr/>
      <dgm:t>
        <a:bodyPr/>
        <a:lstStyle/>
        <a:p>
          <a:r>
            <a:rPr lang="en-US" sz="1600" b="0" dirty="0"/>
            <a:t>Adrienne Clark</a:t>
          </a:r>
          <a:endParaRPr lang="en-US" sz="1600" dirty="0"/>
        </a:p>
      </dgm:t>
    </dgm:pt>
    <dgm:pt modelId="{3F35D2E7-A54A-44D6-938D-906AF344580E}" type="parTrans" cxnId="{142A464D-3DE2-48DB-ADDE-8F4CC8A6061A}">
      <dgm:prSet/>
      <dgm:spPr/>
      <dgm:t>
        <a:bodyPr/>
        <a:lstStyle/>
        <a:p>
          <a:endParaRPr lang="en-US"/>
        </a:p>
      </dgm:t>
    </dgm:pt>
    <dgm:pt modelId="{57B32B13-19F8-4955-A8F8-A8789208F644}" type="sibTrans" cxnId="{142A464D-3DE2-48DB-ADDE-8F4CC8A6061A}">
      <dgm:prSet/>
      <dgm:spPr/>
      <dgm:t>
        <a:bodyPr/>
        <a:lstStyle/>
        <a:p>
          <a:endParaRPr lang="en-US"/>
        </a:p>
      </dgm:t>
    </dgm:pt>
    <dgm:pt modelId="{C91E84F3-385C-40E5-B11F-7993BAB8E6AD}">
      <dgm:prSet phldrT="[Text]" custT="1"/>
      <dgm:spPr/>
      <dgm:t>
        <a:bodyPr/>
        <a:lstStyle/>
        <a:p>
          <a:r>
            <a:rPr lang="en-US" sz="1600" dirty="0"/>
            <a:t>Staci Hattan</a:t>
          </a:r>
        </a:p>
      </dgm:t>
    </dgm:pt>
    <dgm:pt modelId="{CCE5EE74-B80B-41B9-BE28-38323963B2D5}" type="parTrans" cxnId="{D6FEE29C-5549-4477-B967-96B1C4058025}">
      <dgm:prSet/>
      <dgm:spPr/>
      <dgm:t>
        <a:bodyPr/>
        <a:lstStyle/>
        <a:p>
          <a:endParaRPr lang="en-US"/>
        </a:p>
      </dgm:t>
    </dgm:pt>
    <dgm:pt modelId="{0C11CEA3-E15E-4266-BB4A-1F6F2BC75B20}" type="sibTrans" cxnId="{D6FEE29C-5549-4477-B967-96B1C4058025}">
      <dgm:prSet/>
      <dgm:spPr/>
      <dgm:t>
        <a:bodyPr/>
        <a:lstStyle/>
        <a:p>
          <a:endParaRPr lang="en-US"/>
        </a:p>
      </dgm:t>
    </dgm:pt>
    <dgm:pt modelId="{7F222255-6EE7-4DEF-8675-9245C27058D9}">
      <dgm:prSet phldrT="[Text]" custT="1"/>
      <dgm:spPr/>
      <dgm:t>
        <a:bodyPr/>
        <a:lstStyle/>
        <a:p>
          <a:pPr marL="171450" lvl="1" indent="-171450" defTabSz="711200">
            <a:lnSpc>
              <a:spcPct val="90000"/>
            </a:lnSpc>
            <a:spcBef>
              <a:spcPct val="0"/>
            </a:spcBef>
            <a:spcAft>
              <a:spcPct val="15000"/>
            </a:spcAft>
            <a:buNone/>
          </a:pPr>
          <a:r>
            <a:rPr lang="en-US" sz="1600" dirty="0"/>
            <a:t>MB: Staci Hattan</a:t>
          </a:r>
        </a:p>
      </dgm:t>
    </dgm:pt>
    <dgm:pt modelId="{F590F4AE-738A-4F70-9773-359A703D95F0}" type="parTrans" cxnId="{3CC6CC16-4495-48CC-831E-FFB535EB4671}">
      <dgm:prSet/>
      <dgm:spPr/>
      <dgm:t>
        <a:bodyPr/>
        <a:lstStyle/>
        <a:p>
          <a:endParaRPr lang="en-US"/>
        </a:p>
      </dgm:t>
    </dgm:pt>
    <dgm:pt modelId="{B38E1D65-1338-4C94-9E60-71E167881205}" type="sibTrans" cxnId="{3CC6CC16-4495-48CC-831E-FFB535EB4671}">
      <dgm:prSet/>
      <dgm:spPr/>
      <dgm:t>
        <a:bodyPr/>
        <a:lstStyle/>
        <a:p>
          <a:endParaRPr lang="en-US"/>
        </a:p>
      </dgm:t>
    </dgm:pt>
    <dgm:pt modelId="{6AE32E54-6812-4B95-AEC8-443AA31A8029}">
      <dgm:prSet phldrT="[Text]" custT="1"/>
      <dgm:spPr/>
      <dgm:t>
        <a:bodyPr/>
        <a:lstStyle/>
        <a:p>
          <a:pPr marL="171450" lvl="1" indent="-171450" defTabSz="711200">
            <a:lnSpc>
              <a:spcPct val="90000"/>
            </a:lnSpc>
            <a:spcBef>
              <a:spcPct val="0"/>
            </a:spcBef>
            <a:spcAft>
              <a:spcPct val="15000"/>
            </a:spcAft>
            <a:buNone/>
          </a:pPr>
          <a:r>
            <a:rPr lang="en-US" sz="1600" dirty="0"/>
            <a:t>NICU: Carly Miller</a:t>
          </a:r>
        </a:p>
      </dgm:t>
    </dgm:pt>
    <dgm:pt modelId="{11DA3ED5-2A3B-4C5C-B1FB-4D2F6C30C9E9}" type="parTrans" cxnId="{2361E6D2-6F67-4F9D-9044-E9730117D105}">
      <dgm:prSet/>
      <dgm:spPr/>
      <dgm:t>
        <a:bodyPr/>
        <a:lstStyle/>
        <a:p>
          <a:endParaRPr lang="en-US"/>
        </a:p>
      </dgm:t>
    </dgm:pt>
    <dgm:pt modelId="{28574CBE-32BA-4BB5-83FC-120AF7CECE56}" type="sibTrans" cxnId="{2361E6D2-6F67-4F9D-9044-E9730117D105}">
      <dgm:prSet/>
      <dgm:spPr/>
      <dgm:t>
        <a:bodyPr/>
        <a:lstStyle/>
        <a:p>
          <a:endParaRPr lang="en-US"/>
        </a:p>
      </dgm:t>
    </dgm:pt>
    <dgm:pt modelId="{CA8754D0-6D2A-4DE5-9485-91962EFA6C19}">
      <dgm:prSet phldrT="[Text]" custT="1"/>
      <dgm:spPr/>
      <dgm:t>
        <a:bodyPr/>
        <a:lstStyle/>
        <a:p>
          <a:r>
            <a:rPr lang="en-US" sz="1600" b="0" dirty="0"/>
            <a:t>LD PC/ RN to trial</a:t>
          </a:r>
        </a:p>
      </dgm:t>
    </dgm:pt>
    <dgm:pt modelId="{5E510670-22F9-48B1-8ECF-3C50A522D127}" type="parTrans" cxnId="{D1968255-AEC2-4032-8782-7F95471899BA}">
      <dgm:prSet/>
      <dgm:spPr/>
      <dgm:t>
        <a:bodyPr/>
        <a:lstStyle/>
        <a:p>
          <a:endParaRPr lang="en-US"/>
        </a:p>
      </dgm:t>
    </dgm:pt>
    <dgm:pt modelId="{F6000960-8C6C-4E84-8C75-0A1A17257880}" type="sibTrans" cxnId="{D1968255-AEC2-4032-8782-7F95471899BA}">
      <dgm:prSet/>
      <dgm:spPr/>
      <dgm:t>
        <a:bodyPr/>
        <a:lstStyle/>
        <a:p>
          <a:endParaRPr lang="en-US"/>
        </a:p>
      </dgm:t>
    </dgm:pt>
    <dgm:pt modelId="{C39DB4EC-CB08-423F-81EA-2A24C2664350}">
      <dgm:prSet phldrT="[Text]" custT="1"/>
      <dgm:spPr/>
      <dgm:t>
        <a:bodyPr/>
        <a:lstStyle/>
        <a:p>
          <a:r>
            <a:rPr lang="en-US" sz="1600" dirty="0"/>
            <a:t>Ad Hoc Blanca</a:t>
          </a:r>
        </a:p>
      </dgm:t>
    </dgm:pt>
    <dgm:pt modelId="{BDF632F0-273B-46A0-AE59-15DBF10C2B85}" type="parTrans" cxnId="{D798F010-87D3-478B-A757-9143A476F014}">
      <dgm:prSet/>
      <dgm:spPr/>
      <dgm:t>
        <a:bodyPr/>
        <a:lstStyle/>
        <a:p>
          <a:endParaRPr lang="en-US"/>
        </a:p>
      </dgm:t>
    </dgm:pt>
    <dgm:pt modelId="{D2956DB6-A1F4-4D4A-8B02-B7CD7284C8EC}" type="sibTrans" cxnId="{D798F010-87D3-478B-A757-9143A476F014}">
      <dgm:prSet/>
      <dgm:spPr/>
      <dgm:t>
        <a:bodyPr/>
        <a:lstStyle/>
        <a:p>
          <a:endParaRPr lang="en-US"/>
        </a:p>
      </dgm:t>
    </dgm:pt>
    <dgm:pt modelId="{481A25AA-126B-4213-870B-E2ED1996B8EA}">
      <dgm:prSet phldrT="[Text]" custT="1"/>
      <dgm:spPr/>
      <dgm:t>
        <a:bodyPr/>
        <a:lstStyle/>
        <a:p>
          <a:r>
            <a:rPr lang="en-US" sz="1600" dirty="0"/>
            <a:t>Kaitlyn Lawless</a:t>
          </a:r>
        </a:p>
      </dgm:t>
    </dgm:pt>
    <dgm:pt modelId="{4C80B93F-06D3-48EF-9557-5602669232DB}" type="parTrans" cxnId="{14B09FBD-5A80-4BBE-9693-E4AEDF51817A}">
      <dgm:prSet/>
      <dgm:spPr/>
      <dgm:t>
        <a:bodyPr/>
        <a:lstStyle/>
        <a:p>
          <a:endParaRPr lang="en-US"/>
        </a:p>
      </dgm:t>
    </dgm:pt>
    <dgm:pt modelId="{96239F60-35AE-4481-A83D-EE068B959EF4}" type="sibTrans" cxnId="{14B09FBD-5A80-4BBE-9693-E4AEDF51817A}">
      <dgm:prSet/>
      <dgm:spPr/>
      <dgm:t>
        <a:bodyPr/>
        <a:lstStyle/>
        <a:p>
          <a:endParaRPr lang="en-US"/>
        </a:p>
      </dgm:t>
    </dgm:pt>
    <dgm:pt modelId="{CFA31F60-D371-46D9-AA7D-CE77CE58D9A6}">
      <dgm:prSet phldrT="[Text]" custT="1"/>
      <dgm:spPr/>
      <dgm:t>
        <a:bodyPr/>
        <a:lstStyle/>
        <a:p>
          <a:r>
            <a:rPr lang="en-US" sz="1600" dirty="0"/>
            <a:t>Collaborate with birth clerks</a:t>
          </a:r>
        </a:p>
      </dgm:t>
    </dgm:pt>
    <dgm:pt modelId="{DFDC14E5-207E-4ACE-9396-88D666B9F858}" type="parTrans" cxnId="{ADD3F961-12B7-495D-AA3A-7D32FDDAA96E}">
      <dgm:prSet/>
      <dgm:spPr/>
      <dgm:t>
        <a:bodyPr/>
        <a:lstStyle/>
        <a:p>
          <a:endParaRPr lang="en-US"/>
        </a:p>
      </dgm:t>
    </dgm:pt>
    <dgm:pt modelId="{CC26C3B9-7465-4E91-B02A-B1120C93C820}" type="sibTrans" cxnId="{ADD3F961-12B7-495D-AA3A-7D32FDDAA96E}">
      <dgm:prSet/>
      <dgm:spPr/>
      <dgm:t>
        <a:bodyPr/>
        <a:lstStyle/>
        <a:p>
          <a:endParaRPr lang="en-US"/>
        </a:p>
      </dgm:t>
    </dgm:pt>
    <dgm:pt modelId="{E73DFB0A-5208-4F98-8DF6-E9A42A69B81B}">
      <dgm:prSet phldrT="[Text]" custT="1"/>
      <dgm:spPr/>
      <dgm:t>
        <a:bodyPr/>
        <a:lstStyle/>
        <a:p>
          <a:r>
            <a:rPr lang="en-US" sz="1600" b="0" dirty="0"/>
            <a:t>MB PC/ RN to trial</a:t>
          </a:r>
        </a:p>
      </dgm:t>
    </dgm:pt>
    <dgm:pt modelId="{DE43942D-C522-4F0A-8F79-153F94594DF9}" type="parTrans" cxnId="{74674882-E812-4207-8AC6-BFECD81F778B}">
      <dgm:prSet/>
      <dgm:spPr/>
      <dgm:t>
        <a:bodyPr/>
        <a:lstStyle/>
        <a:p>
          <a:endParaRPr lang="en-US"/>
        </a:p>
      </dgm:t>
    </dgm:pt>
    <dgm:pt modelId="{EC9050DD-4CC5-4F46-B833-E213367C74BE}" type="sibTrans" cxnId="{74674882-E812-4207-8AC6-BFECD81F778B}">
      <dgm:prSet/>
      <dgm:spPr/>
      <dgm:t>
        <a:bodyPr/>
        <a:lstStyle/>
        <a:p>
          <a:endParaRPr lang="en-US"/>
        </a:p>
      </dgm:t>
    </dgm:pt>
    <dgm:pt modelId="{F8120BD5-C50C-4814-B0DE-92427467DDAB}">
      <dgm:prSet phldrT="[Text]" custT="1"/>
      <dgm:spPr/>
      <dgm:t>
        <a:bodyPr/>
        <a:lstStyle/>
        <a:p>
          <a:r>
            <a:rPr lang="en-US" sz="1600" dirty="0"/>
            <a:t>Dr. Edwards</a:t>
          </a:r>
        </a:p>
      </dgm:t>
    </dgm:pt>
    <dgm:pt modelId="{0D3C4DA8-E64C-4E5C-B179-15591360FEE9}" type="parTrans" cxnId="{2F93D8AA-8467-43E5-8DFD-25CF3CF5889A}">
      <dgm:prSet/>
      <dgm:spPr/>
      <dgm:t>
        <a:bodyPr/>
        <a:lstStyle/>
        <a:p>
          <a:endParaRPr lang="en-US"/>
        </a:p>
      </dgm:t>
    </dgm:pt>
    <dgm:pt modelId="{E35E239C-595A-47C2-9D0D-F4C8883E1961}" type="sibTrans" cxnId="{2F93D8AA-8467-43E5-8DFD-25CF3CF5889A}">
      <dgm:prSet/>
      <dgm:spPr/>
      <dgm:t>
        <a:bodyPr/>
        <a:lstStyle/>
        <a:p>
          <a:endParaRPr lang="en-US"/>
        </a:p>
      </dgm:t>
    </dgm:pt>
    <dgm:pt modelId="{E638F480-2316-4BB9-8735-EB65AF56A09D}">
      <dgm:prSet phldrT="[Text]" custT="1"/>
      <dgm:spPr/>
      <dgm: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lang="en-US" sz="1400" dirty="0"/>
            <a:t>Collaborate with BH strategies Wyrick and Erickson</a:t>
          </a:r>
        </a:p>
      </dgm:t>
    </dgm:pt>
    <dgm:pt modelId="{16DB5AFD-EC14-4D8F-B57B-5DCD37905B82}" type="parTrans" cxnId="{03ECC571-4F05-4C7E-BE1D-C35E17D1CD37}">
      <dgm:prSet/>
      <dgm:spPr/>
      <dgm:t>
        <a:bodyPr/>
        <a:lstStyle/>
        <a:p>
          <a:endParaRPr lang="en-US"/>
        </a:p>
      </dgm:t>
    </dgm:pt>
    <dgm:pt modelId="{3EA6E2C7-0C2F-4ACF-8487-67E8E0ED23EF}" type="sibTrans" cxnId="{03ECC571-4F05-4C7E-BE1D-C35E17D1CD37}">
      <dgm:prSet/>
      <dgm:spPr/>
      <dgm:t>
        <a:bodyPr/>
        <a:lstStyle/>
        <a:p>
          <a:endParaRPr lang="en-US"/>
        </a:p>
      </dgm:t>
    </dgm:pt>
    <dgm:pt modelId="{DF1A3096-334B-41D2-91A8-9FDAD2708641}">
      <dgm:prSet phldrT="[Text]" custT="1"/>
      <dgm:spPr/>
      <dgm:t>
        <a:bodyPr/>
        <a:lstStyle/>
        <a:p>
          <a:pPr marL="171450" marR="0" lvl="0" indent="-171450" defTabSz="914400" eaLnBrk="1" fontAlgn="auto" latinLnBrk="0" hangingPunct="1">
            <a:lnSpc>
              <a:spcPct val="100000"/>
            </a:lnSpc>
            <a:spcBef>
              <a:spcPts val="0"/>
            </a:spcBef>
            <a:spcAft>
              <a:spcPts val="0"/>
            </a:spcAft>
            <a:buClrTx/>
            <a:buSzTx/>
            <a:buFontTx/>
            <a:buNone/>
            <a:tabLst/>
            <a:defRPr/>
          </a:pPr>
          <a:r>
            <a:rPr lang="en-US" sz="1400" dirty="0"/>
            <a:t>Education department designee</a:t>
          </a:r>
        </a:p>
      </dgm:t>
    </dgm:pt>
    <dgm:pt modelId="{6DDED6AA-EB01-41AE-AA72-6CAF64D35576}" type="parTrans" cxnId="{6FF75940-95BA-4098-99FF-DCF143553254}">
      <dgm:prSet/>
      <dgm:spPr/>
    </dgm:pt>
    <dgm:pt modelId="{698FFF53-76B0-42AF-8430-9D8BF17E55ED}" type="sibTrans" cxnId="{6FF75940-95BA-4098-99FF-DCF143553254}">
      <dgm:prSet/>
      <dgm:spPr/>
    </dgm:pt>
    <dgm:pt modelId="{B3054BD8-8A0A-4FAF-B095-1930894266BA}" type="pres">
      <dgm:prSet presAssocID="{ABEEC47F-E7EC-4326-AE7F-1515DA49140F}" presName="Name0" presStyleCnt="0">
        <dgm:presLayoutVars>
          <dgm:dir/>
          <dgm:animLvl val="lvl"/>
          <dgm:resizeHandles val="exact"/>
        </dgm:presLayoutVars>
      </dgm:prSet>
      <dgm:spPr/>
    </dgm:pt>
    <dgm:pt modelId="{19B448BB-AF11-4CCD-854C-50648946C71D}" type="pres">
      <dgm:prSet presAssocID="{B8D5FFBA-D916-483E-A444-21973D638FA6}" presName="composite" presStyleCnt="0"/>
      <dgm:spPr/>
    </dgm:pt>
    <dgm:pt modelId="{098E1BAD-1183-4D07-8C49-BA40092DAF30}" type="pres">
      <dgm:prSet presAssocID="{B8D5FFBA-D916-483E-A444-21973D638FA6}" presName="parTx" presStyleLbl="alignNode1" presStyleIdx="0" presStyleCnt="5">
        <dgm:presLayoutVars>
          <dgm:chMax val="0"/>
          <dgm:chPref val="0"/>
          <dgm:bulletEnabled val="1"/>
        </dgm:presLayoutVars>
      </dgm:prSet>
      <dgm:spPr/>
    </dgm:pt>
    <dgm:pt modelId="{8747F662-EC7B-4E2D-9A62-A03DECF87ABE}" type="pres">
      <dgm:prSet presAssocID="{B8D5FFBA-D916-483E-A444-21973D638FA6}" presName="desTx" presStyleLbl="alignAccFollowNode1" presStyleIdx="0" presStyleCnt="5">
        <dgm:presLayoutVars>
          <dgm:bulletEnabled val="1"/>
        </dgm:presLayoutVars>
      </dgm:prSet>
      <dgm:spPr/>
    </dgm:pt>
    <dgm:pt modelId="{D3DCB302-0585-4661-8D57-C6E669355DB1}" type="pres">
      <dgm:prSet presAssocID="{8125D877-E0B6-4E30-A3D1-AACB78C70EB2}" presName="space" presStyleCnt="0"/>
      <dgm:spPr/>
    </dgm:pt>
    <dgm:pt modelId="{3867B46E-721D-45A2-97DA-5CD0F93DBA1C}" type="pres">
      <dgm:prSet presAssocID="{671F5EFA-B6C0-43F6-A7E1-872D82E0FC54}" presName="composite" presStyleCnt="0"/>
      <dgm:spPr/>
    </dgm:pt>
    <dgm:pt modelId="{1846319E-0D09-4D88-B1CF-3F1B9362FF70}" type="pres">
      <dgm:prSet presAssocID="{671F5EFA-B6C0-43F6-A7E1-872D82E0FC54}" presName="parTx" presStyleLbl="alignNode1" presStyleIdx="1" presStyleCnt="5">
        <dgm:presLayoutVars>
          <dgm:chMax val="0"/>
          <dgm:chPref val="0"/>
          <dgm:bulletEnabled val="1"/>
        </dgm:presLayoutVars>
      </dgm:prSet>
      <dgm:spPr/>
    </dgm:pt>
    <dgm:pt modelId="{7C07C013-D4BE-4A4C-992A-A81AA68C9BCD}" type="pres">
      <dgm:prSet presAssocID="{671F5EFA-B6C0-43F6-A7E1-872D82E0FC54}" presName="desTx" presStyleLbl="alignAccFollowNode1" presStyleIdx="1" presStyleCnt="5">
        <dgm:presLayoutVars>
          <dgm:bulletEnabled val="1"/>
        </dgm:presLayoutVars>
      </dgm:prSet>
      <dgm:spPr/>
    </dgm:pt>
    <dgm:pt modelId="{3072E9C0-6A98-43CD-8BC3-9D1C8B304707}" type="pres">
      <dgm:prSet presAssocID="{77614E04-2D73-48AA-AFE3-B34C5003E2D6}" presName="space" presStyleCnt="0"/>
      <dgm:spPr/>
    </dgm:pt>
    <dgm:pt modelId="{3C96F813-94C4-4075-8DB0-8A4FD9BF153B}" type="pres">
      <dgm:prSet presAssocID="{B9598627-E894-40A8-8C2D-D7A9045491D5}" presName="composite" presStyleCnt="0"/>
      <dgm:spPr/>
    </dgm:pt>
    <dgm:pt modelId="{B08A751A-9958-474F-A6F9-EEDFF2780017}" type="pres">
      <dgm:prSet presAssocID="{B9598627-E894-40A8-8C2D-D7A9045491D5}" presName="parTx" presStyleLbl="alignNode1" presStyleIdx="2" presStyleCnt="5">
        <dgm:presLayoutVars>
          <dgm:chMax val="0"/>
          <dgm:chPref val="0"/>
          <dgm:bulletEnabled val="1"/>
        </dgm:presLayoutVars>
      </dgm:prSet>
      <dgm:spPr/>
    </dgm:pt>
    <dgm:pt modelId="{0F7BB00F-7DC6-4BE8-8585-6C4E2A456A26}" type="pres">
      <dgm:prSet presAssocID="{B9598627-E894-40A8-8C2D-D7A9045491D5}" presName="desTx" presStyleLbl="alignAccFollowNode1" presStyleIdx="2" presStyleCnt="5">
        <dgm:presLayoutVars>
          <dgm:bulletEnabled val="1"/>
        </dgm:presLayoutVars>
      </dgm:prSet>
      <dgm:spPr/>
    </dgm:pt>
    <dgm:pt modelId="{F39E2A0B-5FEC-4FE6-B6B6-BB7F5D9CF100}" type="pres">
      <dgm:prSet presAssocID="{617C62F1-8E02-4D89-8A00-33619704D458}" presName="space" presStyleCnt="0"/>
      <dgm:spPr/>
    </dgm:pt>
    <dgm:pt modelId="{02D751DF-2104-45A2-B690-B6157775D0CD}" type="pres">
      <dgm:prSet presAssocID="{F8CB2E28-0467-4ACD-814A-2541FDE53291}" presName="composite" presStyleCnt="0"/>
      <dgm:spPr/>
    </dgm:pt>
    <dgm:pt modelId="{542B4789-320D-43B3-91C7-99C534D852F3}" type="pres">
      <dgm:prSet presAssocID="{F8CB2E28-0467-4ACD-814A-2541FDE53291}" presName="parTx" presStyleLbl="alignNode1" presStyleIdx="3" presStyleCnt="5">
        <dgm:presLayoutVars>
          <dgm:chMax val="0"/>
          <dgm:chPref val="0"/>
          <dgm:bulletEnabled val="1"/>
        </dgm:presLayoutVars>
      </dgm:prSet>
      <dgm:spPr/>
    </dgm:pt>
    <dgm:pt modelId="{3926E28E-2DC8-4DFE-90C2-0458B223C4B1}" type="pres">
      <dgm:prSet presAssocID="{F8CB2E28-0467-4ACD-814A-2541FDE53291}" presName="desTx" presStyleLbl="alignAccFollowNode1" presStyleIdx="3" presStyleCnt="5">
        <dgm:presLayoutVars>
          <dgm:bulletEnabled val="1"/>
        </dgm:presLayoutVars>
      </dgm:prSet>
      <dgm:spPr/>
    </dgm:pt>
    <dgm:pt modelId="{C93D25C0-7563-45B8-9BF7-C3C8AA15B792}" type="pres">
      <dgm:prSet presAssocID="{F8AAF78F-EF4B-4595-B03D-77F973F2CAB6}" presName="space" presStyleCnt="0"/>
      <dgm:spPr/>
    </dgm:pt>
    <dgm:pt modelId="{588C2C7C-ADBF-432C-8D0A-2A13862EDABD}" type="pres">
      <dgm:prSet presAssocID="{F0F66644-877F-4C64-9A68-671FB86A888D}" presName="composite" presStyleCnt="0"/>
      <dgm:spPr/>
    </dgm:pt>
    <dgm:pt modelId="{335AE4F6-F178-48DD-9B67-F99A096DE34D}" type="pres">
      <dgm:prSet presAssocID="{F0F66644-877F-4C64-9A68-671FB86A888D}" presName="parTx" presStyleLbl="alignNode1" presStyleIdx="4" presStyleCnt="5">
        <dgm:presLayoutVars>
          <dgm:chMax val="0"/>
          <dgm:chPref val="0"/>
          <dgm:bulletEnabled val="1"/>
        </dgm:presLayoutVars>
      </dgm:prSet>
      <dgm:spPr/>
    </dgm:pt>
    <dgm:pt modelId="{42F6A9F7-DD6D-4268-854B-7A0F722B4B08}" type="pres">
      <dgm:prSet presAssocID="{F0F66644-877F-4C64-9A68-671FB86A888D}" presName="desTx" presStyleLbl="alignAccFollowNode1" presStyleIdx="4" presStyleCnt="5">
        <dgm:presLayoutVars>
          <dgm:bulletEnabled val="1"/>
        </dgm:presLayoutVars>
      </dgm:prSet>
      <dgm:spPr/>
    </dgm:pt>
  </dgm:ptLst>
  <dgm:cxnLst>
    <dgm:cxn modelId="{83EBD101-C476-4902-8B99-3654242BE25C}" srcId="{F0F66644-877F-4C64-9A68-671FB86A888D}" destId="{5BF09D98-9349-467F-99E1-57144905A29F}" srcOrd="0" destOrd="0" parTransId="{729CFF30-C979-4CBC-B999-1F6C88F75C1B}" sibTransId="{1560A673-D262-409E-BEAD-48FAC932F001}"/>
    <dgm:cxn modelId="{54A68609-1AE3-4378-991F-C4C7E29BD1D5}" type="presOf" srcId="{ECDAFAB1-F178-4E07-8750-1BA1D8C36F13}" destId="{3926E28E-2DC8-4DFE-90C2-0458B223C4B1}" srcOrd="0" destOrd="0" presId="urn:microsoft.com/office/officeart/2005/8/layout/hList1"/>
    <dgm:cxn modelId="{C9011F0A-7198-4F52-8434-E8DFA640FA96}" type="presOf" srcId="{779CACE1-30FF-481B-83BF-113A1D78A2FB}" destId="{0F7BB00F-7DC6-4BE8-8585-6C4E2A456A26}" srcOrd="0" destOrd="5" presId="urn:microsoft.com/office/officeart/2005/8/layout/hList1"/>
    <dgm:cxn modelId="{B9D6CB0A-D4BD-424A-8D01-DCCAF07399A1}" srcId="{F0F66644-877F-4C64-9A68-671FB86A888D}" destId="{D890A68C-4AFF-477E-8F56-388021A45293}" srcOrd="1" destOrd="0" parTransId="{0B21D294-FB2F-4026-8480-43E9ADAFC89C}" sibTransId="{986D3F07-7C60-4976-A0F0-4568CB51C67A}"/>
    <dgm:cxn modelId="{731CEC0C-3B7C-4054-BD62-42AFC9A1D68F}" type="presOf" srcId="{82D8CB52-D6D0-4FBC-8627-4CDAA729CE54}" destId="{8747F662-EC7B-4E2D-9A62-A03DECF87ABE}" srcOrd="0" destOrd="0" presId="urn:microsoft.com/office/officeart/2005/8/layout/hList1"/>
    <dgm:cxn modelId="{D798F010-87D3-478B-A757-9143A476F014}" srcId="{F0F66644-877F-4C64-9A68-671FB86A888D}" destId="{C39DB4EC-CB08-423F-81EA-2A24C2664350}" srcOrd="7" destOrd="0" parTransId="{BDF632F0-273B-46A0-AE59-15DBF10C2B85}" sibTransId="{D2956DB6-A1F4-4D4A-8B02-B7CD7284C8EC}"/>
    <dgm:cxn modelId="{3AB39D16-0CFC-49B1-9928-B6192589EC36}" srcId="{671F5EFA-B6C0-43F6-A7E1-872D82E0FC54}" destId="{CF026227-104D-4C99-8A00-6FE09046D3D4}" srcOrd="4" destOrd="0" parTransId="{1415D808-94AD-4CAF-8AEF-6CB4E6F8567C}" sibTransId="{98145D78-2154-4C67-808F-B3A5961EB108}"/>
    <dgm:cxn modelId="{3CC6CC16-4495-48CC-831E-FFB535EB4671}" srcId="{B9598627-E894-40A8-8C2D-D7A9045491D5}" destId="{7F222255-6EE7-4DEF-8675-9245C27058D9}" srcOrd="2" destOrd="0" parTransId="{F590F4AE-738A-4F70-9773-359A703D95F0}" sibTransId="{B38E1D65-1338-4C94-9E60-71E167881205}"/>
    <dgm:cxn modelId="{E0230A1E-F114-4A60-8813-F500C0A8F2A6}" type="presOf" srcId="{3AEBBE94-2997-4FD1-BC2F-7CA5A5059393}" destId="{7C07C013-D4BE-4A4C-992A-A81AA68C9BCD}" srcOrd="0" destOrd="3" presId="urn:microsoft.com/office/officeart/2005/8/layout/hList1"/>
    <dgm:cxn modelId="{176DF11E-E6CB-40BD-B633-10C663EB11CE}" srcId="{F8CB2E28-0467-4ACD-814A-2541FDE53291}" destId="{2C37E2D3-9650-44B8-A547-AC8D0F8EB43F}" srcOrd="3" destOrd="0" parTransId="{A25E1EAB-A611-4BE6-B02B-D340AC872816}" sibTransId="{F9B959B6-8F38-43EF-A9E4-5CD270E08004}"/>
    <dgm:cxn modelId="{EE6EB11F-90D0-4482-BC56-3C4E6E00CEC9}" srcId="{F8CB2E28-0467-4ACD-814A-2541FDE53291}" destId="{ECDAFAB1-F178-4E07-8750-1BA1D8C36F13}" srcOrd="0" destOrd="0" parTransId="{E49CE3B9-2A65-49B1-8FD0-3656595FD6B8}" sibTransId="{BDB4439D-ED6D-438E-A302-CBCEACE8BD0D}"/>
    <dgm:cxn modelId="{0355B620-D4BA-487C-8A40-131694D65FEB}" srcId="{F8CB2E28-0467-4ACD-814A-2541FDE53291}" destId="{F1FF2D40-BF3E-4DA2-88EF-8CA8A96F4346}" srcOrd="2" destOrd="0" parTransId="{4291B1D4-47E5-4652-BAA9-C1B4FA130AB7}" sibTransId="{80F4B79F-13FB-4DA7-98DF-2426491653AF}"/>
    <dgm:cxn modelId="{3513972E-B589-4CA4-8309-83B2D6DC5EE8}" srcId="{F8CB2E28-0467-4ACD-814A-2541FDE53291}" destId="{647CD1F0-913C-42DD-8D80-DB4772637A57}" srcOrd="4" destOrd="0" parTransId="{FA5E4817-2537-482E-BFA8-0237C87587C7}" sibTransId="{DD706ED7-A813-480D-9C3A-C761DB87B4C3}"/>
    <dgm:cxn modelId="{ACE2F52E-EC34-4F77-92A9-139EB13B1893}" type="presOf" srcId="{E638F480-2316-4BB9-8735-EB65AF56A09D}" destId="{0F7BB00F-7DC6-4BE8-8585-6C4E2A456A26}" srcOrd="0" destOrd="7" presId="urn:microsoft.com/office/officeart/2005/8/layout/hList1"/>
    <dgm:cxn modelId="{376D5932-8EC3-407A-ADF0-43922E1D5569}" type="presOf" srcId="{810C95AE-7270-4563-90C8-1033A61201BC}" destId="{7C07C013-D4BE-4A4C-992A-A81AA68C9BCD}" srcOrd="0" destOrd="2" presId="urn:microsoft.com/office/officeart/2005/8/layout/hList1"/>
    <dgm:cxn modelId="{F0E76D34-C739-44C8-B0F7-3AEF193FAD01}" srcId="{671F5EFA-B6C0-43F6-A7E1-872D82E0FC54}" destId="{4AF85BC3-4328-48EE-B218-DD2AA3CA0956}" srcOrd="0" destOrd="0" parTransId="{E1E797D6-DEE1-4164-8989-E49CB4488D41}" sibTransId="{4FA6B4E5-201B-4E10-A357-2D09B635DCE7}"/>
    <dgm:cxn modelId="{A45C5135-9E3C-437E-B425-592164449894}" srcId="{ABEEC47F-E7EC-4326-AE7F-1515DA49140F}" destId="{B9598627-E894-40A8-8C2D-D7A9045491D5}" srcOrd="2" destOrd="0" parTransId="{9DB38113-4B2A-462B-BA69-DD31927F9766}" sibTransId="{617C62F1-8E02-4D89-8A00-33619704D458}"/>
    <dgm:cxn modelId="{7ACA9438-B191-4C43-A410-633F26DA2A89}" type="presOf" srcId="{6AE32E54-6812-4B95-AEC8-443AA31A8029}" destId="{0F7BB00F-7DC6-4BE8-8585-6C4E2A456A26}" srcOrd="0" destOrd="3" presId="urn:microsoft.com/office/officeart/2005/8/layout/hList1"/>
    <dgm:cxn modelId="{18A6893B-8C55-43B7-8ADB-7D55345FD483}" srcId="{F0F66644-877F-4C64-9A68-671FB86A888D}" destId="{87908EA8-300C-4F7C-9B99-E4A3F8AD3536}" srcOrd="5" destOrd="0" parTransId="{914992A2-E39F-4FE4-B71E-E61AB2F8AA98}" sibTransId="{85A1002B-BBAA-40F8-8345-932684A9E4BC}"/>
    <dgm:cxn modelId="{F3ADBF3B-7256-4EFC-89E4-FAAF43A4567C}" srcId="{B9598627-E894-40A8-8C2D-D7A9045491D5}" destId="{779CACE1-30FF-481B-83BF-113A1D78A2FB}" srcOrd="5" destOrd="0" parTransId="{8AD04BDD-D929-4438-878E-9CD1062BB9B7}" sibTransId="{6BDC0D21-949D-4E0D-BF2B-7E2D4A5855BF}"/>
    <dgm:cxn modelId="{6FF75940-95BA-4098-99FF-DCF143553254}" srcId="{B9598627-E894-40A8-8C2D-D7A9045491D5}" destId="{DF1A3096-334B-41D2-91A8-9FDAD2708641}" srcOrd="6" destOrd="0" parTransId="{6DDED6AA-EB01-41AE-AA72-6CAF64D35576}" sibTransId="{698FFF53-76B0-42AF-8430-9D8BF17E55ED}"/>
    <dgm:cxn modelId="{609FF15C-4096-467E-8CC5-61985A25EED7}" type="presOf" srcId="{671F5EFA-B6C0-43F6-A7E1-872D82E0FC54}" destId="{1846319E-0D09-4D88-B1CF-3F1B9362FF70}" srcOrd="0" destOrd="0" presId="urn:microsoft.com/office/officeart/2005/8/layout/hList1"/>
    <dgm:cxn modelId="{BCBC8D5D-8391-4821-BDE8-65DF004D40CE}" srcId="{B9598627-E894-40A8-8C2D-D7A9045491D5}" destId="{FC075BD5-3E99-4CE1-8716-4DB9F4F0CEA5}" srcOrd="4" destOrd="0" parTransId="{C23E6436-5BAD-4B2B-BB71-B794373754ED}" sibTransId="{44F8611E-AFDF-4BA7-9F7C-F6793D5D1B94}"/>
    <dgm:cxn modelId="{5AE3B65E-84C9-4EEB-AE0A-2339E7DBA142}" type="presOf" srcId="{9E52FA92-2148-4DAD-A6A9-E7CE771F0D62}" destId="{8747F662-EC7B-4E2D-9A62-A03DECF87ABE}" srcOrd="0" destOrd="1" presId="urn:microsoft.com/office/officeart/2005/8/layout/hList1"/>
    <dgm:cxn modelId="{ADD3F961-12B7-495D-AA3A-7D32FDDAA96E}" srcId="{B8D5FFBA-D916-483E-A444-21973D638FA6}" destId="{CFA31F60-D371-46D9-AA7D-CE77CE58D9A6}" srcOrd="4" destOrd="0" parTransId="{DFDC14E5-207E-4ACE-9396-88D666B9F858}" sibTransId="{CC26C3B9-7465-4E91-B02A-B1120C93C820}"/>
    <dgm:cxn modelId="{052F0143-A089-4E55-9C8A-0C096783ED6E}" type="presOf" srcId="{B8D5FFBA-D916-483E-A444-21973D638FA6}" destId="{098E1BAD-1183-4D07-8C49-BA40092DAF30}" srcOrd="0" destOrd="0" presId="urn:microsoft.com/office/officeart/2005/8/layout/hList1"/>
    <dgm:cxn modelId="{808BA746-E26B-4DB4-AEE5-2D6DE9FD4BE6}" type="presOf" srcId="{FC075BD5-3E99-4CE1-8716-4DB9F4F0CEA5}" destId="{0F7BB00F-7DC6-4BE8-8585-6C4E2A456A26}" srcOrd="0" destOrd="4" presId="urn:microsoft.com/office/officeart/2005/8/layout/hList1"/>
    <dgm:cxn modelId="{E3C4DB67-4939-439E-B285-2E620556CFD1}" type="presOf" srcId="{F0F66644-877F-4C64-9A68-671FB86A888D}" destId="{335AE4F6-F178-48DD-9B67-F99A096DE34D}" srcOrd="0" destOrd="0" presId="urn:microsoft.com/office/officeart/2005/8/layout/hList1"/>
    <dgm:cxn modelId="{E158E967-5002-416D-9337-922BBF09849E}" type="presOf" srcId="{30BE9E33-7DBA-4647-A791-9F98537AD98A}" destId="{7C07C013-D4BE-4A4C-992A-A81AA68C9BCD}" srcOrd="0" destOrd="1" presId="urn:microsoft.com/office/officeart/2005/8/layout/hList1"/>
    <dgm:cxn modelId="{06C17F6B-6F7F-4B0C-9BDA-B48772B5AFC4}" type="presOf" srcId="{2C37E2D3-9650-44B8-A547-AC8D0F8EB43F}" destId="{3926E28E-2DC8-4DFE-90C2-0458B223C4B1}" srcOrd="0" destOrd="3" presId="urn:microsoft.com/office/officeart/2005/8/layout/hList1"/>
    <dgm:cxn modelId="{142A464D-3DE2-48DB-ADDE-8F4CC8A6061A}" srcId="{F0F66644-877F-4C64-9A68-671FB86A888D}" destId="{751E68B6-70ED-4A77-95FF-910493B319B2}" srcOrd="6" destOrd="0" parTransId="{3F35D2E7-A54A-44D6-938D-906AF344580E}" sibTransId="{57B32B13-19F8-4955-A8F8-A8789208F644}"/>
    <dgm:cxn modelId="{4468B250-9C1C-43CC-A82A-7991186AD33D}" type="presOf" srcId="{CFA31F60-D371-46D9-AA7D-CE77CE58D9A6}" destId="{8747F662-EC7B-4E2D-9A62-A03DECF87ABE}" srcOrd="0" destOrd="4" presId="urn:microsoft.com/office/officeart/2005/8/layout/hList1"/>
    <dgm:cxn modelId="{18C86851-AD1D-41E9-8A8B-C4943600F642}" type="presOf" srcId="{8BC6E2AD-3440-468B-B4C7-881F0E79FEB2}" destId="{0F7BB00F-7DC6-4BE8-8585-6C4E2A456A26}" srcOrd="0" destOrd="1" presId="urn:microsoft.com/office/officeart/2005/8/layout/hList1"/>
    <dgm:cxn modelId="{03ECC571-4F05-4C7E-BE1D-C35E17D1CD37}" srcId="{B9598627-E894-40A8-8C2D-D7A9045491D5}" destId="{E638F480-2316-4BB9-8735-EB65AF56A09D}" srcOrd="7" destOrd="0" parTransId="{16DB5AFD-EC14-4D8F-B57B-5DCD37905B82}" sibTransId="{3EA6E2C7-0C2F-4ACF-8487-67E8E0ED23EF}"/>
    <dgm:cxn modelId="{ECEB0155-B015-4979-8249-B2A30BE718C8}" srcId="{F8CB2E28-0467-4ACD-814A-2541FDE53291}" destId="{82E2C13A-AEC5-423C-9606-AC0B94E14A41}" srcOrd="1" destOrd="0" parTransId="{85DE5114-5574-417A-A5FF-CAEF4D606B83}" sibTransId="{DDB0A2AD-C2B8-4118-BAAA-7C053731DA13}"/>
    <dgm:cxn modelId="{02741855-BB13-4803-A1A8-EA898085B1A0}" type="presOf" srcId="{C91E84F3-385C-40E5-B11F-7993BAB8E6AD}" destId="{8747F662-EC7B-4E2D-9A62-A03DECF87ABE}" srcOrd="0" destOrd="2" presId="urn:microsoft.com/office/officeart/2005/8/layout/hList1"/>
    <dgm:cxn modelId="{D1968255-AEC2-4032-8782-7F95471899BA}" srcId="{F8CB2E28-0467-4ACD-814A-2541FDE53291}" destId="{CA8754D0-6D2A-4DE5-9485-91962EFA6C19}" srcOrd="6" destOrd="0" parTransId="{5E510670-22F9-48B1-8ECF-3C50A522D127}" sibTransId="{F6000960-8C6C-4E84-8C75-0A1A17257880}"/>
    <dgm:cxn modelId="{63C0FE79-E918-49A3-AED1-E034B13D0038}" type="presOf" srcId="{87908EA8-300C-4F7C-9B99-E4A3F8AD3536}" destId="{42F6A9F7-DD6D-4268-854B-7A0F722B4B08}" srcOrd="0" destOrd="5" presId="urn:microsoft.com/office/officeart/2005/8/layout/hList1"/>
    <dgm:cxn modelId="{07001C7F-14FB-4D71-BE45-F6DA86DB10F9}" srcId="{ABEEC47F-E7EC-4326-AE7F-1515DA49140F}" destId="{671F5EFA-B6C0-43F6-A7E1-872D82E0FC54}" srcOrd="1" destOrd="0" parTransId="{A043DD93-17B1-46D1-8B80-0C75920E842B}" sibTransId="{77614E04-2D73-48AA-AFE3-B34C5003E2D6}"/>
    <dgm:cxn modelId="{4FCE727F-C329-446F-BF00-9F1F83B040C9}" type="presOf" srcId="{F8120BD5-C50C-4814-B0DE-92427467DDAB}" destId="{7C07C013-D4BE-4A4C-992A-A81AA68C9BCD}" srcOrd="0" destOrd="5" presId="urn:microsoft.com/office/officeart/2005/8/layout/hList1"/>
    <dgm:cxn modelId="{74674882-E812-4207-8AC6-BFECD81F778B}" srcId="{F8CB2E28-0467-4ACD-814A-2541FDE53291}" destId="{E73DFB0A-5208-4F98-8DF6-E9A42A69B81B}" srcOrd="7" destOrd="0" parTransId="{DE43942D-C522-4F0A-8F79-153F94594DF9}" sibTransId="{EC9050DD-4CC5-4F46-B833-E213367C74BE}"/>
    <dgm:cxn modelId="{93FFB789-E1FC-4DFF-A9F7-52FD0AD06B7B}" type="presOf" srcId="{4AF85BC3-4328-48EE-B218-DD2AA3CA0956}" destId="{7C07C013-D4BE-4A4C-992A-A81AA68C9BCD}" srcOrd="0" destOrd="0" presId="urn:microsoft.com/office/officeart/2005/8/layout/hList1"/>
    <dgm:cxn modelId="{75EBB88B-5BE0-4098-94DD-D0EE712B9B17}" type="presOf" srcId="{F8CB2E28-0467-4ACD-814A-2541FDE53291}" destId="{542B4789-320D-43B3-91C7-99C534D852F3}" srcOrd="0" destOrd="0" presId="urn:microsoft.com/office/officeart/2005/8/layout/hList1"/>
    <dgm:cxn modelId="{5F97F58B-203A-4E69-AC8B-6F6147AB7E39}" type="presOf" srcId="{751E68B6-70ED-4A77-95FF-910493B319B2}" destId="{42F6A9F7-DD6D-4268-854B-7A0F722B4B08}" srcOrd="0" destOrd="6" presId="urn:microsoft.com/office/officeart/2005/8/layout/hList1"/>
    <dgm:cxn modelId="{3F22418D-4867-4201-9999-BA403D395051}" type="presOf" srcId="{DF1A3096-334B-41D2-91A8-9FDAD2708641}" destId="{0F7BB00F-7DC6-4BE8-8585-6C4E2A456A26}" srcOrd="0" destOrd="6" presId="urn:microsoft.com/office/officeart/2005/8/layout/hList1"/>
    <dgm:cxn modelId="{45F0B591-6C41-475B-8E4F-644C13326B82}" srcId="{ABEEC47F-E7EC-4326-AE7F-1515DA49140F}" destId="{B8D5FFBA-D916-483E-A444-21973D638FA6}" srcOrd="0" destOrd="0" parTransId="{B8D75CEF-5C8E-4951-9DE9-9F9BE0D19F33}" sibTransId="{8125D877-E0B6-4E30-A3D1-AACB78C70EB2}"/>
    <dgm:cxn modelId="{E9B81B98-9B60-4DFD-A3FC-3765DAB75D42}" srcId="{B8D5FFBA-D916-483E-A444-21973D638FA6}" destId="{82D8CB52-D6D0-4FBC-8627-4CDAA729CE54}" srcOrd="0" destOrd="0" parTransId="{FF1F0DFA-304F-4CD8-97E4-607FDD81C53E}" sibTransId="{41D25F18-E895-40E1-99B9-8E6989F6BC7B}"/>
    <dgm:cxn modelId="{AE4AA399-8137-45C8-B56B-8D57DFDEACA0}" srcId="{B8D5FFBA-D916-483E-A444-21973D638FA6}" destId="{9E52FA92-2148-4DAD-A6A9-E7CE771F0D62}" srcOrd="1" destOrd="0" parTransId="{A479C231-1A45-49C9-9A86-C38A237F41B0}" sibTransId="{55218C5A-56C7-42D2-8556-4A5D85BB49E3}"/>
    <dgm:cxn modelId="{D6FEE29C-5549-4477-B967-96B1C4058025}" srcId="{B8D5FFBA-D916-483E-A444-21973D638FA6}" destId="{C91E84F3-385C-40E5-B11F-7993BAB8E6AD}" srcOrd="2" destOrd="0" parTransId="{CCE5EE74-B80B-41B9-BE28-38323963B2D5}" sibTransId="{0C11CEA3-E15E-4266-BB4A-1F6F2BC75B20}"/>
    <dgm:cxn modelId="{4BC0379E-9B69-45D8-920E-B7E9FD598724}" type="presOf" srcId="{5BF09D98-9349-467F-99E1-57144905A29F}" destId="{42F6A9F7-DD6D-4268-854B-7A0F722B4B08}" srcOrd="0" destOrd="0" presId="urn:microsoft.com/office/officeart/2005/8/layout/hList1"/>
    <dgm:cxn modelId="{C449A2A0-71CA-46C8-8AD2-C1839CB5A567}" srcId="{B9598627-E894-40A8-8C2D-D7A9045491D5}" destId="{EDF2394F-16D1-4D71-A8A5-82A2B9446614}" srcOrd="0" destOrd="0" parTransId="{31646D62-839C-4FEC-9D22-D9441D20E748}" sibTransId="{9502CDE7-26D6-401E-BE14-AE311698EEB7}"/>
    <dgm:cxn modelId="{D87974A2-BAB9-4690-A1EC-E08D549F5DEF}" type="presOf" srcId="{33DCF6F5-6E52-4B5E-9C1E-C73E8FA98B1E}" destId="{8747F662-EC7B-4E2D-9A62-A03DECF87ABE}" srcOrd="0" destOrd="5" presId="urn:microsoft.com/office/officeart/2005/8/layout/hList1"/>
    <dgm:cxn modelId="{3EC4BFA5-C483-4860-BF5A-4AA2E558C1AC}" type="presOf" srcId="{44D8141B-4768-44DD-B7A0-B98C3EA4E0EB}" destId="{3926E28E-2DC8-4DFE-90C2-0458B223C4B1}" srcOrd="0" destOrd="5" presId="urn:microsoft.com/office/officeart/2005/8/layout/hList1"/>
    <dgm:cxn modelId="{2F93D8AA-8467-43E5-8DFD-25CF3CF5889A}" srcId="{671F5EFA-B6C0-43F6-A7E1-872D82E0FC54}" destId="{F8120BD5-C50C-4814-B0DE-92427467DDAB}" srcOrd="5" destOrd="0" parTransId="{0D3C4DA8-E64C-4E5C-B179-15591360FEE9}" sibTransId="{E35E239C-595A-47C2-9D0D-F4C8883E1961}"/>
    <dgm:cxn modelId="{8728A1AB-F997-4DB6-82A8-BE00C1E6C7C8}" srcId="{F0F66644-877F-4C64-9A68-671FB86A888D}" destId="{A62CF6A8-9BA3-4CF4-AEB1-B96BBAF05057}" srcOrd="3" destOrd="0" parTransId="{528F608C-A8D9-48AC-AE53-472DC37D2FBB}" sibTransId="{27D3D353-B4C0-423C-B475-6B9272E86201}"/>
    <dgm:cxn modelId="{5C66B0AC-4799-44C8-8E3B-34AE5C5A5DAD}" type="presOf" srcId="{CF026227-104D-4C99-8A00-6FE09046D3D4}" destId="{7C07C013-D4BE-4A4C-992A-A81AA68C9BCD}" srcOrd="0" destOrd="4" presId="urn:microsoft.com/office/officeart/2005/8/layout/hList1"/>
    <dgm:cxn modelId="{D3938AAD-007A-4CA8-A274-6410AA288353}" type="presOf" srcId="{F1FF2D40-BF3E-4DA2-88EF-8CA8A96F4346}" destId="{3926E28E-2DC8-4DFE-90C2-0458B223C4B1}" srcOrd="0" destOrd="2" presId="urn:microsoft.com/office/officeart/2005/8/layout/hList1"/>
    <dgm:cxn modelId="{1D7B29B0-A9C6-4748-92BC-43DAC97B9F32}" srcId="{F8CB2E28-0467-4ACD-814A-2541FDE53291}" destId="{44D8141B-4768-44DD-B7A0-B98C3EA4E0EB}" srcOrd="5" destOrd="0" parTransId="{E8585601-037A-4BFE-A526-1FD65D37F06C}" sibTransId="{B26E06B0-828C-4084-92B0-7E5C984913EE}"/>
    <dgm:cxn modelId="{05BB16BD-E7BF-4EBD-A8E5-3C01F1B06F01}" srcId="{F0F66644-877F-4C64-9A68-671FB86A888D}" destId="{E927AF35-0B79-4463-BD96-4D1CC61E2CCB}" srcOrd="4" destOrd="0" parTransId="{D05F27DA-7D60-4D63-A108-C7FC36FC9707}" sibTransId="{BA935004-1EFF-4A1D-9BA4-1C07FF9920A2}"/>
    <dgm:cxn modelId="{14B09FBD-5A80-4BBE-9693-E4AEDF51817A}" srcId="{B8D5FFBA-D916-483E-A444-21973D638FA6}" destId="{481A25AA-126B-4213-870B-E2ED1996B8EA}" srcOrd="3" destOrd="0" parTransId="{4C80B93F-06D3-48EF-9557-5602669232DB}" sibTransId="{96239F60-35AE-4481-A83D-EE068B959EF4}"/>
    <dgm:cxn modelId="{809AE5BF-2DFB-438C-8CAF-FF5ABE32CF2C}" type="presOf" srcId="{EDF2394F-16D1-4D71-A8A5-82A2B9446614}" destId="{0F7BB00F-7DC6-4BE8-8585-6C4E2A456A26}" srcOrd="0" destOrd="0" presId="urn:microsoft.com/office/officeart/2005/8/layout/hList1"/>
    <dgm:cxn modelId="{B7B437C3-62DC-4317-86C1-76A60E1D182D}" srcId="{ABEEC47F-E7EC-4326-AE7F-1515DA49140F}" destId="{F8CB2E28-0467-4ACD-814A-2541FDE53291}" srcOrd="3" destOrd="0" parTransId="{701E3DFB-A2C5-4201-B8F4-287958BEA278}" sibTransId="{F8AAF78F-EF4B-4595-B03D-77F973F2CAB6}"/>
    <dgm:cxn modelId="{5ED063C3-BD46-44A2-A2A5-911A14C615BB}" srcId="{671F5EFA-B6C0-43F6-A7E1-872D82E0FC54}" destId="{810C95AE-7270-4563-90C8-1033A61201BC}" srcOrd="2" destOrd="0" parTransId="{30175CA7-6121-4397-B1AE-A67F59ED1A47}" sibTransId="{7847F29C-E88C-4BE5-8B0B-20025F72501D}"/>
    <dgm:cxn modelId="{AB80A0C4-CAA2-4B74-9FBD-5FFCB3395C76}" type="presOf" srcId="{C39DB4EC-CB08-423F-81EA-2A24C2664350}" destId="{42F6A9F7-DD6D-4268-854B-7A0F722B4B08}" srcOrd="0" destOrd="7" presId="urn:microsoft.com/office/officeart/2005/8/layout/hList1"/>
    <dgm:cxn modelId="{5C0A73C6-3812-4AD5-A102-5B9CD49DBF61}" srcId="{B9598627-E894-40A8-8C2D-D7A9045491D5}" destId="{8BC6E2AD-3440-468B-B4C7-881F0E79FEB2}" srcOrd="1" destOrd="0" parTransId="{411E697D-DC26-4135-AF5B-BD4E700C9589}" sibTransId="{C6C31970-A3DD-47E8-96A8-8123B4D27434}"/>
    <dgm:cxn modelId="{78CCDBC6-F566-4DBA-A5C6-8202615FE8D4}" type="presOf" srcId="{7F222255-6EE7-4DEF-8675-9245C27058D9}" destId="{0F7BB00F-7DC6-4BE8-8585-6C4E2A456A26}" srcOrd="0" destOrd="2" presId="urn:microsoft.com/office/officeart/2005/8/layout/hList1"/>
    <dgm:cxn modelId="{4ADD10C9-5A5C-4A08-B5DA-7DC0015E1A4A}" srcId="{671F5EFA-B6C0-43F6-A7E1-872D82E0FC54}" destId="{30BE9E33-7DBA-4647-A791-9F98537AD98A}" srcOrd="1" destOrd="0" parTransId="{F9291AF5-03F4-4224-89CC-AADD8BC2AA22}" sibTransId="{FA56EEA2-BAD5-44CA-BAAE-7AC7C3633700}"/>
    <dgm:cxn modelId="{3B6DEBCD-776D-425F-9E8F-D280C97EB782}" type="presOf" srcId="{ABEEC47F-E7EC-4326-AE7F-1515DA49140F}" destId="{B3054BD8-8A0A-4FAF-B095-1930894266BA}" srcOrd="0" destOrd="0" presId="urn:microsoft.com/office/officeart/2005/8/layout/hList1"/>
    <dgm:cxn modelId="{3D9FF4D0-7D90-4268-BB30-9AFD6D659736}" type="presOf" srcId="{D890A68C-4AFF-477E-8F56-388021A45293}" destId="{42F6A9F7-DD6D-4268-854B-7A0F722B4B08}" srcOrd="0" destOrd="1" presId="urn:microsoft.com/office/officeart/2005/8/layout/hList1"/>
    <dgm:cxn modelId="{2361E6D2-6F67-4F9D-9044-E9730117D105}" srcId="{B9598627-E894-40A8-8C2D-D7A9045491D5}" destId="{6AE32E54-6812-4B95-AEC8-443AA31A8029}" srcOrd="3" destOrd="0" parTransId="{11DA3ED5-2A3B-4C5C-B1FB-4D2F6C30C9E9}" sibTransId="{28574CBE-32BA-4BB5-83FC-120AF7CECE56}"/>
    <dgm:cxn modelId="{62C55FD3-3DDE-4767-B3B5-AB86A9AE3C23}" type="presOf" srcId="{E73DFB0A-5208-4F98-8DF6-E9A42A69B81B}" destId="{3926E28E-2DC8-4DFE-90C2-0458B223C4B1}" srcOrd="0" destOrd="7" presId="urn:microsoft.com/office/officeart/2005/8/layout/hList1"/>
    <dgm:cxn modelId="{9F1087D3-55DD-4318-AACD-88AE446B9FE6}" type="presOf" srcId="{B9598627-E894-40A8-8C2D-D7A9045491D5}" destId="{B08A751A-9958-474F-A6F9-EEDFF2780017}" srcOrd="0" destOrd="0" presId="urn:microsoft.com/office/officeart/2005/8/layout/hList1"/>
    <dgm:cxn modelId="{F5707DD6-20C0-45A6-8A2E-CFE7974063CE}" type="presOf" srcId="{E927AF35-0B79-4463-BD96-4D1CC61E2CCB}" destId="{42F6A9F7-DD6D-4268-854B-7A0F722B4B08}" srcOrd="0" destOrd="4" presId="urn:microsoft.com/office/officeart/2005/8/layout/hList1"/>
    <dgm:cxn modelId="{6B3E2AD8-68E8-42B9-AD4E-61BFD0DABC9F}" srcId="{ABEEC47F-E7EC-4326-AE7F-1515DA49140F}" destId="{F0F66644-877F-4C64-9A68-671FB86A888D}" srcOrd="4" destOrd="0" parTransId="{77F72D37-98D1-463A-B084-5065D91768FC}" sibTransId="{6426FB96-F66D-4BA2-9117-43A39E647DB8}"/>
    <dgm:cxn modelId="{BD8550DD-18BA-4467-8211-B7A0B611B8EE}" type="presOf" srcId="{481A25AA-126B-4213-870B-E2ED1996B8EA}" destId="{8747F662-EC7B-4E2D-9A62-A03DECF87ABE}" srcOrd="0" destOrd="3" presId="urn:microsoft.com/office/officeart/2005/8/layout/hList1"/>
    <dgm:cxn modelId="{4CF19BDF-4211-4C70-BAB2-58759AC45A2B}" srcId="{F0F66644-877F-4C64-9A68-671FB86A888D}" destId="{07E3240E-8D8A-4628-AB53-DFD6B5CF9F95}" srcOrd="2" destOrd="0" parTransId="{C0A92819-6818-4F47-909F-8FB63880C628}" sibTransId="{C2391566-70C1-47AB-8EF2-278BA2B3C2CF}"/>
    <dgm:cxn modelId="{6D7997E0-320D-4BCB-8195-F3015ED883B9}" type="presOf" srcId="{07E3240E-8D8A-4628-AB53-DFD6B5CF9F95}" destId="{42F6A9F7-DD6D-4268-854B-7A0F722B4B08}" srcOrd="0" destOrd="2" presId="urn:microsoft.com/office/officeart/2005/8/layout/hList1"/>
    <dgm:cxn modelId="{373660E2-5148-44F4-82FB-C07A66D5CF58}" type="presOf" srcId="{A62CF6A8-9BA3-4CF4-AEB1-B96BBAF05057}" destId="{42F6A9F7-DD6D-4268-854B-7A0F722B4B08}" srcOrd="0" destOrd="3" presId="urn:microsoft.com/office/officeart/2005/8/layout/hList1"/>
    <dgm:cxn modelId="{B99A5FE7-262B-4F57-8625-AD145472FE96}" type="presOf" srcId="{82E2C13A-AEC5-423C-9606-AC0B94E14A41}" destId="{3926E28E-2DC8-4DFE-90C2-0458B223C4B1}" srcOrd="0" destOrd="1" presId="urn:microsoft.com/office/officeart/2005/8/layout/hList1"/>
    <dgm:cxn modelId="{C281BEEB-43A9-4837-B0BD-9B882C1AE9F8}" type="presOf" srcId="{647CD1F0-913C-42DD-8D80-DB4772637A57}" destId="{3926E28E-2DC8-4DFE-90C2-0458B223C4B1}" srcOrd="0" destOrd="4" presId="urn:microsoft.com/office/officeart/2005/8/layout/hList1"/>
    <dgm:cxn modelId="{0FC2ECED-7B39-4A84-AD63-227563967E4D}" type="presOf" srcId="{CA8754D0-6D2A-4DE5-9485-91962EFA6C19}" destId="{3926E28E-2DC8-4DFE-90C2-0458B223C4B1}" srcOrd="0" destOrd="6" presId="urn:microsoft.com/office/officeart/2005/8/layout/hList1"/>
    <dgm:cxn modelId="{82A26FEF-2BF7-49F7-88D2-32FE5814743D}" srcId="{B8D5FFBA-D916-483E-A444-21973D638FA6}" destId="{33DCF6F5-6E52-4B5E-9C1E-C73E8FA98B1E}" srcOrd="5" destOrd="0" parTransId="{D593C310-E8D8-4BC6-9F63-79F66F63AA1B}" sibTransId="{7E712A54-FFC7-4725-9238-7078BC499F2A}"/>
    <dgm:cxn modelId="{E6B924F4-8B91-4793-B9C8-52D3345C37BE}" srcId="{671F5EFA-B6C0-43F6-A7E1-872D82E0FC54}" destId="{3AEBBE94-2997-4FD1-BC2F-7CA5A5059393}" srcOrd="3" destOrd="0" parTransId="{3FDDF0A1-0472-4856-8BAB-7F5DC5406481}" sibTransId="{1BCBA747-F71E-48BC-9DC0-250E3F23C223}"/>
    <dgm:cxn modelId="{06FE399A-0F41-419F-BF3C-98F5B99FCC34}" type="presParOf" srcId="{B3054BD8-8A0A-4FAF-B095-1930894266BA}" destId="{19B448BB-AF11-4CCD-854C-50648946C71D}" srcOrd="0" destOrd="0" presId="urn:microsoft.com/office/officeart/2005/8/layout/hList1"/>
    <dgm:cxn modelId="{B928AC22-C2C2-4BA3-BF88-B0A5B6B6FFF7}" type="presParOf" srcId="{19B448BB-AF11-4CCD-854C-50648946C71D}" destId="{098E1BAD-1183-4D07-8C49-BA40092DAF30}" srcOrd="0" destOrd="0" presId="urn:microsoft.com/office/officeart/2005/8/layout/hList1"/>
    <dgm:cxn modelId="{FCCB3955-4BA5-4A24-9517-6AD3B1128949}" type="presParOf" srcId="{19B448BB-AF11-4CCD-854C-50648946C71D}" destId="{8747F662-EC7B-4E2D-9A62-A03DECF87ABE}" srcOrd="1" destOrd="0" presId="urn:microsoft.com/office/officeart/2005/8/layout/hList1"/>
    <dgm:cxn modelId="{82B647E4-3A96-464D-A487-5877E3080811}" type="presParOf" srcId="{B3054BD8-8A0A-4FAF-B095-1930894266BA}" destId="{D3DCB302-0585-4661-8D57-C6E669355DB1}" srcOrd="1" destOrd="0" presId="urn:microsoft.com/office/officeart/2005/8/layout/hList1"/>
    <dgm:cxn modelId="{F6AB931D-7038-49FC-A2E5-B330ADE88C23}" type="presParOf" srcId="{B3054BD8-8A0A-4FAF-B095-1930894266BA}" destId="{3867B46E-721D-45A2-97DA-5CD0F93DBA1C}" srcOrd="2" destOrd="0" presId="urn:microsoft.com/office/officeart/2005/8/layout/hList1"/>
    <dgm:cxn modelId="{FE8C37C9-981E-429F-8D2A-002C5E1CA44D}" type="presParOf" srcId="{3867B46E-721D-45A2-97DA-5CD0F93DBA1C}" destId="{1846319E-0D09-4D88-B1CF-3F1B9362FF70}" srcOrd="0" destOrd="0" presId="urn:microsoft.com/office/officeart/2005/8/layout/hList1"/>
    <dgm:cxn modelId="{98D18C5B-98C3-4295-82AC-D1E6E4BC9B56}" type="presParOf" srcId="{3867B46E-721D-45A2-97DA-5CD0F93DBA1C}" destId="{7C07C013-D4BE-4A4C-992A-A81AA68C9BCD}" srcOrd="1" destOrd="0" presId="urn:microsoft.com/office/officeart/2005/8/layout/hList1"/>
    <dgm:cxn modelId="{507D9771-5AC4-4C68-AD4F-8289F4FCD95D}" type="presParOf" srcId="{B3054BD8-8A0A-4FAF-B095-1930894266BA}" destId="{3072E9C0-6A98-43CD-8BC3-9D1C8B304707}" srcOrd="3" destOrd="0" presId="urn:microsoft.com/office/officeart/2005/8/layout/hList1"/>
    <dgm:cxn modelId="{E0AFC0CA-B093-4578-885C-697E8F2118D1}" type="presParOf" srcId="{B3054BD8-8A0A-4FAF-B095-1930894266BA}" destId="{3C96F813-94C4-4075-8DB0-8A4FD9BF153B}" srcOrd="4" destOrd="0" presId="urn:microsoft.com/office/officeart/2005/8/layout/hList1"/>
    <dgm:cxn modelId="{D7C5AC6F-DB3F-40B7-BD42-18EB31132044}" type="presParOf" srcId="{3C96F813-94C4-4075-8DB0-8A4FD9BF153B}" destId="{B08A751A-9958-474F-A6F9-EEDFF2780017}" srcOrd="0" destOrd="0" presId="urn:microsoft.com/office/officeart/2005/8/layout/hList1"/>
    <dgm:cxn modelId="{05A47E9A-CA1D-4405-B65C-22ACCE77919C}" type="presParOf" srcId="{3C96F813-94C4-4075-8DB0-8A4FD9BF153B}" destId="{0F7BB00F-7DC6-4BE8-8585-6C4E2A456A26}" srcOrd="1" destOrd="0" presId="urn:microsoft.com/office/officeart/2005/8/layout/hList1"/>
    <dgm:cxn modelId="{FBDA76B8-3FC8-48C8-9E01-7D6B7427739B}" type="presParOf" srcId="{B3054BD8-8A0A-4FAF-B095-1930894266BA}" destId="{F39E2A0B-5FEC-4FE6-B6B6-BB7F5D9CF100}" srcOrd="5" destOrd="0" presId="urn:microsoft.com/office/officeart/2005/8/layout/hList1"/>
    <dgm:cxn modelId="{C15BDBCE-E78C-44F4-B837-C0009EFD46C7}" type="presParOf" srcId="{B3054BD8-8A0A-4FAF-B095-1930894266BA}" destId="{02D751DF-2104-45A2-B690-B6157775D0CD}" srcOrd="6" destOrd="0" presId="urn:microsoft.com/office/officeart/2005/8/layout/hList1"/>
    <dgm:cxn modelId="{B8DD6DB9-CB44-44A9-AD50-2336D2C8D9B4}" type="presParOf" srcId="{02D751DF-2104-45A2-B690-B6157775D0CD}" destId="{542B4789-320D-43B3-91C7-99C534D852F3}" srcOrd="0" destOrd="0" presId="urn:microsoft.com/office/officeart/2005/8/layout/hList1"/>
    <dgm:cxn modelId="{148D874B-6E5D-40B8-A51D-6777FE68BAAA}" type="presParOf" srcId="{02D751DF-2104-45A2-B690-B6157775D0CD}" destId="{3926E28E-2DC8-4DFE-90C2-0458B223C4B1}" srcOrd="1" destOrd="0" presId="urn:microsoft.com/office/officeart/2005/8/layout/hList1"/>
    <dgm:cxn modelId="{508796CF-9768-4BB5-ABC4-98DE83A4B62E}" type="presParOf" srcId="{B3054BD8-8A0A-4FAF-B095-1930894266BA}" destId="{C93D25C0-7563-45B8-9BF7-C3C8AA15B792}" srcOrd="7" destOrd="0" presId="urn:microsoft.com/office/officeart/2005/8/layout/hList1"/>
    <dgm:cxn modelId="{A3B4887D-11F7-478A-9899-E921232639F9}" type="presParOf" srcId="{B3054BD8-8A0A-4FAF-B095-1930894266BA}" destId="{588C2C7C-ADBF-432C-8D0A-2A13862EDABD}" srcOrd="8" destOrd="0" presId="urn:microsoft.com/office/officeart/2005/8/layout/hList1"/>
    <dgm:cxn modelId="{AEE97A8E-61C4-44A5-830A-A0DF059D1B75}" type="presParOf" srcId="{588C2C7C-ADBF-432C-8D0A-2A13862EDABD}" destId="{335AE4F6-F178-48DD-9B67-F99A096DE34D}" srcOrd="0" destOrd="0" presId="urn:microsoft.com/office/officeart/2005/8/layout/hList1"/>
    <dgm:cxn modelId="{1420425B-46BE-4767-ADA1-79A605FE2C73}" type="presParOf" srcId="{588C2C7C-ADBF-432C-8D0A-2A13862EDABD}" destId="{42F6A9F7-DD6D-4268-854B-7A0F722B4B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BEEC47F-E7EC-4326-AE7F-1515DA49140F}"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B8D5FFBA-D916-483E-A444-21973D638FA6}">
      <dgm:prSet phldrT="[Text]" custT="1"/>
      <dgm:spPr/>
      <dgm:t>
        <a:bodyPr/>
        <a:lstStyle/>
        <a:p>
          <a:r>
            <a:rPr lang="en-US" sz="1400" b="1" dirty="0"/>
            <a:t>Data &amp; EMR</a:t>
          </a:r>
        </a:p>
      </dgm:t>
    </dgm:pt>
    <dgm:pt modelId="{B8D75CEF-5C8E-4951-9DE9-9F9BE0D19F33}" type="parTrans" cxnId="{45F0B591-6C41-475B-8E4F-644C13326B82}">
      <dgm:prSet/>
      <dgm:spPr/>
      <dgm:t>
        <a:bodyPr/>
        <a:lstStyle/>
        <a:p>
          <a:endParaRPr lang="en-US"/>
        </a:p>
      </dgm:t>
    </dgm:pt>
    <dgm:pt modelId="{8125D877-E0B6-4E30-A3D1-AACB78C70EB2}" type="sibTrans" cxnId="{45F0B591-6C41-475B-8E4F-644C13326B82}">
      <dgm:prSet/>
      <dgm:spPr/>
      <dgm:t>
        <a:bodyPr/>
        <a:lstStyle/>
        <a:p>
          <a:endParaRPr lang="en-US"/>
        </a:p>
      </dgm:t>
    </dgm:pt>
    <dgm:pt modelId="{82D8CB52-D6D0-4FBC-8627-4CDAA729CE54}">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dirty="0"/>
            <a:t>Increase documentation of race by end of 2024. </a:t>
          </a:r>
          <a:r>
            <a:rPr lang="en-US" sz="1400" b="1" dirty="0"/>
            <a:t>PDSA</a:t>
          </a:r>
          <a:endParaRPr lang="en-US" sz="1400" dirty="0"/>
        </a:p>
      </dgm:t>
    </dgm:pt>
    <dgm:pt modelId="{FF1F0DFA-304F-4CD8-97E4-607FDD81C53E}" type="parTrans" cxnId="{E9B81B98-9B60-4DFD-A3FC-3765DAB75D42}">
      <dgm:prSet/>
      <dgm:spPr/>
      <dgm:t>
        <a:bodyPr/>
        <a:lstStyle/>
        <a:p>
          <a:endParaRPr lang="en-US"/>
        </a:p>
      </dgm:t>
    </dgm:pt>
    <dgm:pt modelId="{41D25F18-E895-40E1-99B9-8E6989F6BC7B}" type="sibTrans" cxnId="{E9B81B98-9B60-4DFD-A3FC-3765DAB75D42}">
      <dgm:prSet/>
      <dgm:spPr/>
      <dgm:t>
        <a:bodyPr/>
        <a:lstStyle/>
        <a:p>
          <a:endParaRPr lang="en-US"/>
        </a:p>
      </dgm:t>
    </dgm:pt>
    <dgm:pt modelId="{671F5EFA-B6C0-43F6-A7E1-872D82E0FC54}">
      <dgm:prSet phldrT="[Text]" custT="1"/>
      <dgm:spPr/>
      <dgm:t>
        <a:bodyPr/>
        <a:lstStyle/>
        <a:p>
          <a:r>
            <a:rPr lang="en-US" sz="1400" b="1" dirty="0"/>
            <a:t>Doula</a:t>
          </a:r>
          <a:r>
            <a:rPr lang="en-US" sz="1400" dirty="0"/>
            <a:t> </a:t>
          </a:r>
          <a:r>
            <a:rPr lang="en-US" sz="1400" b="1" dirty="0"/>
            <a:t>Friendly</a:t>
          </a:r>
        </a:p>
      </dgm:t>
    </dgm:pt>
    <dgm:pt modelId="{A043DD93-17B1-46D1-8B80-0C75920E842B}" type="parTrans" cxnId="{07001C7F-14FB-4D71-BE45-F6DA86DB10F9}">
      <dgm:prSet/>
      <dgm:spPr/>
      <dgm:t>
        <a:bodyPr/>
        <a:lstStyle/>
        <a:p>
          <a:endParaRPr lang="en-US"/>
        </a:p>
      </dgm:t>
    </dgm:pt>
    <dgm:pt modelId="{77614E04-2D73-48AA-AFE3-B34C5003E2D6}" type="sibTrans" cxnId="{07001C7F-14FB-4D71-BE45-F6DA86DB10F9}">
      <dgm:prSet/>
      <dgm:spPr/>
      <dgm:t>
        <a:bodyPr/>
        <a:lstStyle/>
        <a:p>
          <a:endParaRPr lang="en-US"/>
        </a:p>
      </dgm:t>
    </dgm:pt>
    <dgm:pt modelId="{4AF85BC3-4328-48EE-B218-DD2AA3CA0956}">
      <dgm:prSet phldrT="[Text]" custT="1"/>
      <dgm:spPr/>
      <dgm:t>
        <a:bodyPr/>
        <a:lstStyle/>
        <a:p>
          <a:r>
            <a:rPr lang="en-US" sz="1400" dirty="0"/>
            <a:t>Establish Doula Friendly practices in-partner ship with doulas</a:t>
          </a:r>
        </a:p>
      </dgm:t>
    </dgm:pt>
    <dgm:pt modelId="{E1E797D6-DEE1-4164-8989-E49CB4488D41}" type="parTrans" cxnId="{F0E76D34-C739-44C8-B0F7-3AEF193FAD01}">
      <dgm:prSet/>
      <dgm:spPr/>
      <dgm:t>
        <a:bodyPr/>
        <a:lstStyle/>
        <a:p>
          <a:endParaRPr lang="en-US"/>
        </a:p>
      </dgm:t>
    </dgm:pt>
    <dgm:pt modelId="{4FA6B4E5-201B-4E10-A357-2D09B635DCE7}" type="sibTrans" cxnId="{F0E76D34-C739-44C8-B0F7-3AEF193FAD01}">
      <dgm:prSet/>
      <dgm:spPr/>
      <dgm:t>
        <a:bodyPr/>
        <a:lstStyle/>
        <a:p>
          <a:endParaRPr lang="en-US"/>
        </a:p>
      </dgm:t>
    </dgm:pt>
    <dgm:pt modelId="{B9598627-E894-40A8-8C2D-D7A9045491D5}">
      <dgm:prSet phldrT="[Text]" custT="1"/>
      <dgm:spPr/>
      <dgm:t>
        <a:bodyPr/>
        <a:lstStyle/>
        <a:p>
          <a:r>
            <a:rPr lang="en-US" sz="1400" b="1" dirty="0"/>
            <a:t>Interdisciplinary</a:t>
          </a:r>
          <a:r>
            <a:rPr lang="en-US" sz="1400" dirty="0"/>
            <a:t> </a:t>
          </a:r>
          <a:r>
            <a:rPr lang="en-US" sz="1400" b="1" dirty="0"/>
            <a:t>Education</a:t>
          </a:r>
        </a:p>
      </dgm:t>
    </dgm:pt>
    <dgm:pt modelId="{9DB38113-4B2A-462B-BA69-DD31927F9766}" type="parTrans" cxnId="{A45C5135-9E3C-437E-B425-592164449894}">
      <dgm:prSet/>
      <dgm:spPr/>
      <dgm:t>
        <a:bodyPr/>
        <a:lstStyle/>
        <a:p>
          <a:endParaRPr lang="en-US"/>
        </a:p>
      </dgm:t>
    </dgm:pt>
    <dgm:pt modelId="{617C62F1-8E02-4D89-8A00-33619704D458}" type="sibTrans" cxnId="{A45C5135-9E3C-437E-B425-592164449894}">
      <dgm:prSet/>
      <dgm:spPr/>
      <dgm:t>
        <a:bodyPr/>
        <a:lstStyle/>
        <a:p>
          <a:endParaRPr lang="en-US"/>
        </a:p>
      </dgm:t>
    </dgm:pt>
    <dgm:pt modelId="{F8CB2E28-0467-4ACD-814A-2541FDE53291}">
      <dgm:prSet phldrT="[Text]" custT="1"/>
      <dgm:spPr/>
      <dgm:t>
        <a:bodyPr/>
        <a:lstStyle/>
        <a:p>
          <a:r>
            <a:rPr lang="en-US" sz="1400" b="1" dirty="0"/>
            <a:t>Patient Experience</a:t>
          </a:r>
        </a:p>
      </dgm:t>
    </dgm:pt>
    <dgm:pt modelId="{701E3DFB-A2C5-4201-B8F4-287958BEA278}" type="parTrans" cxnId="{B7B437C3-62DC-4317-86C1-76A60E1D182D}">
      <dgm:prSet/>
      <dgm:spPr/>
      <dgm:t>
        <a:bodyPr/>
        <a:lstStyle/>
        <a:p>
          <a:endParaRPr lang="en-US"/>
        </a:p>
      </dgm:t>
    </dgm:pt>
    <dgm:pt modelId="{F8AAF78F-EF4B-4595-B03D-77F973F2CAB6}" type="sibTrans" cxnId="{B7B437C3-62DC-4317-86C1-76A60E1D182D}">
      <dgm:prSet/>
      <dgm:spPr/>
      <dgm:t>
        <a:bodyPr/>
        <a:lstStyle/>
        <a:p>
          <a:endParaRPr lang="en-US"/>
        </a:p>
      </dgm:t>
    </dgm:pt>
    <dgm:pt modelId="{5BF09D98-9349-467F-99E1-57144905A29F}">
      <dgm:prSet phldrT="[Text]" custT="1"/>
      <dgm:spPr/>
      <dgm:t>
        <a:bodyPr/>
        <a:lstStyle/>
        <a:p>
          <a:r>
            <a:rPr lang="en-US" sz="1400" b="1" dirty="0">
              <a:solidFill>
                <a:srgbClr val="FF0000"/>
              </a:solidFill>
            </a:rPr>
            <a:t>Gather the patient and community partner voice</a:t>
          </a:r>
        </a:p>
      </dgm:t>
    </dgm:pt>
    <dgm:pt modelId="{729CFF30-C979-4CBC-B999-1F6C88F75C1B}" type="parTrans" cxnId="{83EBD101-C476-4902-8B99-3654242BE25C}">
      <dgm:prSet/>
      <dgm:spPr/>
      <dgm:t>
        <a:bodyPr/>
        <a:lstStyle/>
        <a:p>
          <a:endParaRPr lang="en-US"/>
        </a:p>
      </dgm:t>
    </dgm:pt>
    <dgm:pt modelId="{1560A673-D262-409E-BEAD-48FAC932F001}" type="sibTrans" cxnId="{83EBD101-C476-4902-8B99-3654242BE25C}">
      <dgm:prSet/>
      <dgm:spPr/>
      <dgm:t>
        <a:bodyPr/>
        <a:lstStyle/>
        <a:p>
          <a:endParaRPr lang="en-US"/>
        </a:p>
      </dgm:t>
    </dgm:pt>
    <dgm:pt modelId="{EDF2394F-16D1-4D71-A8A5-82A2B9446614}">
      <dgm:prSet phldrT="[Text]" custT="1"/>
      <dgm:spPr/>
      <dgm:t>
        <a:bodyPr/>
        <a:lstStyle/>
        <a:p>
          <a:r>
            <a:rPr lang="en-US" sz="1400" dirty="0"/>
            <a:t>Implement education for providers and staff on:</a:t>
          </a:r>
        </a:p>
      </dgm:t>
    </dgm:pt>
    <dgm:pt modelId="{31646D62-839C-4FEC-9D22-D9441D20E748}" type="parTrans" cxnId="{C449A2A0-71CA-46C8-8AD2-C1839CB5A567}">
      <dgm:prSet/>
      <dgm:spPr/>
      <dgm:t>
        <a:bodyPr/>
        <a:lstStyle/>
        <a:p>
          <a:endParaRPr lang="en-US"/>
        </a:p>
      </dgm:t>
    </dgm:pt>
    <dgm:pt modelId="{9502CDE7-26D6-401E-BE14-AE311698EEB7}" type="sibTrans" cxnId="{C449A2A0-71CA-46C8-8AD2-C1839CB5A567}">
      <dgm:prSet/>
      <dgm:spPr/>
      <dgm:t>
        <a:bodyPr/>
        <a:lstStyle/>
        <a:p>
          <a:endParaRPr lang="en-US"/>
        </a:p>
      </dgm:t>
    </dgm:pt>
    <dgm:pt modelId="{F0F66644-877F-4C64-9A68-671FB86A888D}">
      <dgm:prSet phldrT="[Text]" custT="1"/>
      <dgm:spPr/>
      <dgm:t>
        <a:bodyPr/>
        <a:lstStyle/>
        <a:p>
          <a:r>
            <a:rPr lang="en-US" sz="1400" b="1" dirty="0"/>
            <a:t>Community Collaboration</a:t>
          </a:r>
        </a:p>
      </dgm:t>
    </dgm:pt>
    <dgm:pt modelId="{77F72D37-98D1-463A-B084-5065D91768FC}" type="parTrans" cxnId="{6B3E2AD8-68E8-42B9-AD4E-61BFD0DABC9F}">
      <dgm:prSet/>
      <dgm:spPr/>
      <dgm:t>
        <a:bodyPr/>
        <a:lstStyle/>
        <a:p>
          <a:endParaRPr lang="en-US"/>
        </a:p>
      </dgm:t>
    </dgm:pt>
    <dgm:pt modelId="{6426FB96-F66D-4BA2-9117-43A39E647DB8}" type="sibTrans" cxnId="{6B3E2AD8-68E8-42B9-AD4E-61BFD0DABC9F}">
      <dgm:prSet/>
      <dgm:spPr/>
      <dgm:t>
        <a:bodyPr/>
        <a:lstStyle/>
        <a:p>
          <a:endParaRPr lang="en-US"/>
        </a:p>
      </dgm:t>
    </dgm:pt>
    <dgm:pt modelId="{3D34689F-9DEA-41CF-8BCB-9543E0E28CA9}">
      <dgm:prSet phldrT="[Text]" custT="1"/>
      <dgm:spPr/>
      <dgm:t>
        <a:bodyPr/>
        <a:lstStyle/>
        <a:p>
          <a:r>
            <a:rPr lang="en-US" sz="1400" dirty="0"/>
            <a:t>Establish Doula procedure to support practices</a:t>
          </a:r>
        </a:p>
      </dgm:t>
    </dgm:pt>
    <dgm:pt modelId="{4CA3DFDB-26D7-4369-A928-2AF07CF6D046}" type="parTrans" cxnId="{2F964425-7677-4678-BC70-7056B466FDBC}">
      <dgm:prSet/>
      <dgm:spPr/>
      <dgm:t>
        <a:bodyPr/>
        <a:lstStyle/>
        <a:p>
          <a:endParaRPr lang="en-US"/>
        </a:p>
      </dgm:t>
    </dgm:pt>
    <dgm:pt modelId="{CB820944-7D7C-451E-86CA-378BAD28D193}" type="sibTrans" cxnId="{2F964425-7677-4678-BC70-7056B466FDBC}">
      <dgm:prSet/>
      <dgm:spPr/>
      <dgm:t>
        <a:bodyPr/>
        <a:lstStyle/>
        <a:p>
          <a:endParaRPr lang="en-US"/>
        </a:p>
      </dgm:t>
    </dgm:pt>
    <dgm:pt modelId="{85A16B94-E8DF-4FD7-B5F8-F02D33517CFF}">
      <dgm:prSet phldrT="[Text]" custT="1"/>
      <dgm:spPr/>
      <dgm:t>
        <a:bodyPr/>
        <a:lstStyle/>
        <a:p>
          <a:r>
            <a:rPr lang="en-US" sz="1400" dirty="0"/>
            <a:t>Host twice annual lunch with doula community to foster collaborative relationship</a:t>
          </a:r>
        </a:p>
      </dgm:t>
    </dgm:pt>
    <dgm:pt modelId="{67474384-A352-434C-9967-7B4AF588FF60}" type="parTrans" cxnId="{C26DFD4F-C495-48F9-9633-1CE7F03F9AB0}">
      <dgm:prSet/>
      <dgm:spPr/>
      <dgm:t>
        <a:bodyPr/>
        <a:lstStyle/>
        <a:p>
          <a:endParaRPr lang="en-US"/>
        </a:p>
      </dgm:t>
    </dgm:pt>
    <dgm:pt modelId="{D3DBE5F0-E39C-4901-A294-DCFDBDF203FB}" type="sibTrans" cxnId="{C26DFD4F-C495-48F9-9633-1CE7F03F9AB0}">
      <dgm:prSet/>
      <dgm:spPr/>
      <dgm:t>
        <a:bodyPr/>
        <a:lstStyle/>
        <a:p>
          <a:endParaRPr lang="en-US"/>
        </a:p>
      </dgm:t>
    </dgm:pt>
    <dgm:pt modelId="{80D7F401-7ADF-47A2-91F5-A68904CD893D}">
      <dgm:prSet phldrT="[Text]" custT="1"/>
      <dgm:spPr/>
      <dgm:t>
        <a:bodyPr/>
        <a:lstStyle/>
        <a:p>
          <a:r>
            <a:rPr lang="en-US" sz="1400" dirty="0"/>
            <a:t>Educate multidisciplinary team on practices / procedure</a:t>
          </a:r>
        </a:p>
      </dgm:t>
    </dgm:pt>
    <dgm:pt modelId="{0B509AB8-055F-446E-9EE4-D1F2A26FF606}" type="parTrans" cxnId="{42E957BF-4E71-4F9F-A89D-03B340ED38A2}">
      <dgm:prSet/>
      <dgm:spPr/>
      <dgm:t>
        <a:bodyPr/>
        <a:lstStyle/>
        <a:p>
          <a:endParaRPr lang="en-US"/>
        </a:p>
      </dgm:t>
    </dgm:pt>
    <dgm:pt modelId="{556086C0-288C-4C89-8877-7F8AF7673DEF}" type="sibTrans" cxnId="{42E957BF-4E71-4F9F-A89D-03B340ED38A2}">
      <dgm:prSet/>
      <dgm:spPr/>
      <dgm:t>
        <a:bodyPr/>
        <a:lstStyle/>
        <a:p>
          <a:endParaRPr lang="en-US"/>
        </a:p>
      </dgm:t>
    </dgm:pt>
    <dgm:pt modelId="{8A05741E-051C-4DE7-885E-F13C58CE62FA}">
      <dgm:prSet phldrT="[Text]" custT="1"/>
      <dgm:spPr/>
      <dgm:t>
        <a:bodyPr/>
        <a:lstStyle/>
        <a:p>
          <a:r>
            <a:rPr lang="en-US" sz="1400" dirty="0"/>
            <a:t>Collaborate with community birth partners including but not limited to Malone center, Doulas of Lincoln, El Centro, Asian community and Cultural Center, WIC, Nebraska Corrections, etc. </a:t>
          </a:r>
        </a:p>
      </dgm:t>
    </dgm:pt>
    <dgm:pt modelId="{DE730353-3C8F-429A-AEC7-D90C42B70D60}" type="parTrans" cxnId="{6CC3DFE5-59CA-4401-9054-1134A4EC5C5E}">
      <dgm:prSet/>
      <dgm:spPr/>
      <dgm:t>
        <a:bodyPr/>
        <a:lstStyle/>
        <a:p>
          <a:endParaRPr lang="en-US"/>
        </a:p>
      </dgm:t>
    </dgm:pt>
    <dgm:pt modelId="{500628A2-6AB1-4A20-B133-E9E192FE4243}" type="sibTrans" cxnId="{6CC3DFE5-59CA-4401-9054-1134A4EC5C5E}">
      <dgm:prSet/>
      <dgm:spPr/>
      <dgm:t>
        <a:bodyPr/>
        <a:lstStyle/>
        <a:p>
          <a:endParaRPr lang="en-US"/>
        </a:p>
      </dgm:t>
    </dgm:pt>
    <dgm:pt modelId="{B15F1542-9418-4BE0-8AA8-87A6A8D2B842}">
      <dgm:prSet phldrT="[Text]" custT="1"/>
      <dgm:spPr/>
      <dgm:t>
        <a:bodyPr/>
        <a:lstStyle/>
        <a:p>
          <a:r>
            <a:rPr lang="en-US" sz="1400" dirty="0"/>
            <a:t>Listening to patients</a:t>
          </a:r>
        </a:p>
      </dgm:t>
    </dgm:pt>
    <dgm:pt modelId="{43A05195-B778-4C67-9B41-E2E55D42D3DE}" type="parTrans" cxnId="{AF5C68ED-F31B-4D21-B559-E662BF208D92}">
      <dgm:prSet/>
      <dgm:spPr/>
      <dgm:t>
        <a:bodyPr/>
        <a:lstStyle/>
        <a:p>
          <a:endParaRPr lang="en-US"/>
        </a:p>
      </dgm:t>
    </dgm:pt>
    <dgm:pt modelId="{C29DE3E8-B32C-4B2D-83AD-AA9CA93B801E}" type="sibTrans" cxnId="{AF5C68ED-F31B-4D21-B559-E662BF208D92}">
      <dgm:prSet/>
      <dgm:spPr/>
      <dgm:t>
        <a:bodyPr/>
        <a:lstStyle/>
        <a:p>
          <a:endParaRPr lang="en-US"/>
        </a:p>
      </dgm:t>
    </dgm:pt>
    <dgm:pt modelId="{20D12D9D-3A2C-4C09-889E-D568866A1A16}">
      <dgm:prSet phldrT="[Text]" custT="1"/>
      <dgm:spPr/>
      <dgm:t>
        <a:bodyPr/>
        <a:lstStyle/>
        <a:p>
          <a:r>
            <a:rPr lang="en-US" sz="1400" dirty="0"/>
            <a:t>Respectful Care</a:t>
          </a:r>
        </a:p>
      </dgm:t>
    </dgm:pt>
    <dgm:pt modelId="{8E15974A-54AB-4910-BA78-88B44A957C11}" type="parTrans" cxnId="{93709498-D0EE-4AFF-81E4-89017BFF13F1}">
      <dgm:prSet/>
      <dgm:spPr/>
      <dgm:t>
        <a:bodyPr/>
        <a:lstStyle/>
        <a:p>
          <a:endParaRPr lang="en-US"/>
        </a:p>
      </dgm:t>
    </dgm:pt>
    <dgm:pt modelId="{C360E148-CB4F-457A-A27B-5D0BFE85856D}" type="sibTrans" cxnId="{93709498-D0EE-4AFF-81E4-89017BFF13F1}">
      <dgm:prSet/>
      <dgm:spPr/>
      <dgm:t>
        <a:bodyPr/>
        <a:lstStyle/>
        <a:p>
          <a:endParaRPr lang="en-US"/>
        </a:p>
      </dgm:t>
    </dgm:pt>
    <dgm:pt modelId="{93F54CDB-83A9-4AFD-A65B-B52D055C103A}">
      <dgm:prSet phldrT="[Text]" custT="1"/>
      <dgm:spPr/>
      <dgm:t>
        <a:bodyPr/>
        <a:lstStyle/>
        <a:p>
          <a:r>
            <a:rPr lang="en-US" sz="1400" dirty="0"/>
            <a:t>Implicit bias</a:t>
          </a:r>
        </a:p>
      </dgm:t>
    </dgm:pt>
    <dgm:pt modelId="{875FE69C-BAF2-475A-B475-659492285806}" type="parTrans" cxnId="{0877046C-771D-4358-AF4A-FF0A488D1D0B}">
      <dgm:prSet/>
      <dgm:spPr/>
      <dgm:t>
        <a:bodyPr/>
        <a:lstStyle/>
        <a:p>
          <a:endParaRPr lang="en-US"/>
        </a:p>
      </dgm:t>
    </dgm:pt>
    <dgm:pt modelId="{9DCF1E3C-9F30-4E85-9043-3010DE7643FF}" type="sibTrans" cxnId="{0877046C-771D-4358-AF4A-FF0A488D1D0B}">
      <dgm:prSet/>
      <dgm:spPr/>
      <dgm:t>
        <a:bodyPr/>
        <a:lstStyle/>
        <a:p>
          <a:endParaRPr lang="en-US"/>
        </a:p>
      </dgm:t>
    </dgm:pt>
    <dgm:pt modelId="{59863936-DD1D-4ECA-BB05-772EB7164644}">
      <dgm:prSet phldrT="[Text]" custT="1"/>
      <dgm:spPr/>
      <dgm:t>
        <a:bodyPr/>
        <a:lstStyle/>
        <a:p>
          <a:r>
            <a:rPr lang="en-US" sz="1400" dirty="0"/>
            <a:t>Trauma informed care</a:t>
          </a:r>
        </a:p>
      </dgm:t>
    </dgm:pt>
    <dgm:pt modelId="{4C173829-A435-42FD-8237-404D5B0E7EAA}" type="parTrans" cxnId="{D77D1C31-F99D-4658-BE9B-84FF3AD3A347}">
      <dgm:prSet/>
      <dgm:spPr/>
      <dgm:t>
        <a:bodyPr/>
        <a:lstStyle/>
        <a:p>
          <a:endParaRPr lang="en-US"/>
        </a:p>
      </dgm:t>
    </dgm:pt>
    <dgm:pt modelId="{3F2EEC1E-405F-4A6B-8DE9-DF12BFE80B00}" type="sibTrans" cxnId="{D77D1C31-F99D-4658-BE9B-84FF3AD3A347}">
      <dgm:prSet/>
      <dgm:spPr/>
      <dgm:t>
        <a:bodyPr/>
        <a:lstStyle/>
        <a:p>
          <a:endParaRPr lang="en-US"/>
        </a:p>
      </dgm:t>
    </dgm:pt>
    <dgm:pt modelId="{213873CD-FD77-4E68-8297-193322BF3D1B}">
      <dgm:prSet phldrT="[Text]" custT="1"/>
      <dgm:spPr/>
      <dgm:t>
        <a:bodyPr/>
        <a:lstStyle/>
        <a:p>
          <a:r>
            <a:rPr lang="en-US" sz="1400" dirty="0"/>
            <a:t>Health equity</a:t>
          </a:r>
        </a:p>
      </dgm:t>
    </dgm:pt>
    <dgm:pt modelId="{E614FE14-06EA-406F-860A-47623C724A68}" type="parTrans" cxnId="{E106ECCA-2E69-4307-80AC-D81CBB798910}">
      <dgm:prSet/>
      <dgm:spPr/>
      <dgm:t>
        <a:bodyPr/>
        <a:lstStyle/>
        <a:p>
          <a:endParaRPr lang="en-US"/>
        </a:p>
      </dgm:t>
    </dgm:pt>
    <dgm:pt modelId="{704959FA-6DA4-48F6-B82E-70E2C55F0BDA}" type="sibTrans" cxnId="{E106ECCA-2E69-4307-80AC-D81CBB798910}">
      <dgm:prSet/>
      <dgm:spPr/>
      <dgm:t>
        <a:bodyPr/>
        <a:lstStyle/>
        <a:p>
          <a:endParaRPr lang="en-US"/>
        </a:p>
      </dgm:t>
    </dgm:pt>
    <dgm:pt modelId="{ECDAFAB1-F178-4E07-8750-1BA1D8C36F13}">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a:solidFill>
                <a:srgbClr val="FF0000"/>
              </a:solidFill>
            </a:rPr>
            <a:t>Implement PREM tool </a:t>
          </a:r>
          <a:r>
            <a:rPr lang="en-US" sz="1400" b="0" dirty="0"/>
            <a:t>to gather patient feedback on care experiences before discharge</a:t>
          </a:r>
          <a:endParaRPr lang="en-US" sz="1400" b="1" dirty="0"/>
        </a:p>
      </dgm:t>
    </dgm:pt>
    <dgm:pt modelId="{E49CE3B9-2A65-49B1-8FD0-3656595FD6B8}" type="parTrans" cxnId="{EE6EB11F-90D0-4482-BC56-3C4E6E00CEC9}">
      <dgm:prSet/>
      <dgm:spPr/>
      <dgm:t>
        <a:bodyPr/>
        <a:lstStyle/>
        <a:p>
          <a:endParaRPr lang="en-US"/>
        </a:p>
      </dgm:t>
    </dgm:pt>
    <dgm:pt modelId="{BDB4439D-ED6D-438E-A302-CBCEACE8BD0D}" type="sibTrans" cxnId="{EE6EB11F-90D0-4482-BC56-3C4E6E00CEC9}">
      <dgm:prSet/>
      <dgm:spPr/>
      <dgm:t>
        <a:bodyPr/>
        <a:lstStyle/>
        <a:p>
          <a:endParaRPr lang="en-US"/>
        </a:p>
      </dgm:t>
    </dgm:pt>
    <dgm:pt modelId="{C7EEBE78-B8D5-4C3F-B13E-03529731657F}">
      <dgm:prSet phldrT="[Text]" custT="1"/>
      <dgm:spPr/>
      <dgm:t>
        <a:bodyPr/>
        <a:lstStyle/>
        <a:p>
          <a:pPr marL="114300" lvl="1" indent="0" defTabSz="622300">
            <a:lnSpc>
              <a:spcPct val="90000"/>
            </a:lnSpc>
            <a:spcBef>
              <a:spcPct val="0"/>
            </a:spcBef>
            <a:spcAft>
              <a:spcPct val="15000"/>
            </a:spcAft>
            <a:buNone/>
          </a:pPr>
          <a:endParaRPr lang="en-US" sz="1400" b="0" dirty="0"/>
        </a:p>
      </dgm:t>
    </dgm:pt>
    <dgm:pt modelId="{7E1D7219-5F80-4E5B-807B-22CD2D5327C8}" type="parTrans" cxnId="{397F7610-1B18-46DB-9B9C-B5B7CC0DFE07}">
      <dgm:prSet/>
      <dgm:spPr/>
      <dgm:t>
        <a:bodyPr/>
        <a:lstStyle/>
        <a:p>
          <a:endParaRPr lang="en-US"/>
        </a:p>
      </dgm:t>
    </dgm:pt>
    <dgm:pt modelId="{05A40F9C-0FB7-4836-9C44-BBF739F29672}" type="sibTrans" cxnId="{397F7610-1B18-46DB-9B9C-B5B7CC0DFE07}">
      <dgm:prSet/>
      <dgm:spPr/>
      <dgm:t>
        <a:bodyPr/>
        <a:lstStyle/>
        <a:p>
          <a:endParaRPr lang="en-US"/>
        </a:p>
      </dgm:t>
    </dgm:pt>
    <dgm:pt modelId="{526214EE-C188-4D7B-A7DB-1FAC13BCB07F}">
      <dgm:prSet phldrT="[Text]" custT="1"/>
      <dgm:spPr/>
      <dgm:t>
        <a:bodyPr/>
        <a:lstStyle/>
        <a:p>
          <a:r>
            <a:rPr lang="en-US" sz="1400" dirty="0"/>
            <a:t>Launch formal debrief process with patient, staff and providers</a:t>
          </a:r>
        </a:p>
      </dgm:t>
    </dgm:pt>
    <dgm:pt modelId="{ACD9E7DC-9DE9-4CF1-BAF4-42BA3FA99E40}" type="parTrans" cxnId="{AD8425A3-A2AC-453C-B2F1-2AC0A1E53FCB}">
      <dgm:prSet/>
      <dgm:spPr/>
      <dgm:t>
        <a:bodyPr/>
        <a:lstStyle/>
        <a:p>
          <a:endParaRPr lang="en-US"/>
        </a:p>
      </dgm:t>
    </dgm:pt>
    <dgm:pt modelId="{D3F8F8A7-D3EF-45B2-9820-45A9E54C14F6}" type="sibTrans" cxnId="{AD8425A3-A2AC-453C-B2F1-2AC0A1E53FCB}">
      <dgm:prSet/>
      <dgm:spPr/>
      <dgm:t>
        <a:bodyPr/>
        <a:lstStyle/>
        <a:p>
          <a:endParaRPr lang="en-US"/>
        </a:p>
      </dgm:t>
    </dgm:pt>
    <dgm:pt modelId="{736C0FD8-EF4B-4986-9434-57044E28D90C}">
      <dgm:prSet phldrT="[Text]" custT="1"/>
      <dgm:spPr/>
      <dgm:t>
        <a:bodyPr/>
        <a:lstStyle/>
        <a:p>
          <a:r>
            <a:rPr lang="en-US" sz="1400" dirty="0"/>
            <a:t>Launch bias self assessment tool for all providers and staff</a:t>
          </a:r>
        </a:p>
      </dgm:t>
    </dgm:pt>
    <dgm:pt modelId="{49AB89E3-A92C-48BB-8DDF-CFCB44CAE7C6}" type="parTrans" cxnId="{43EAF289-1940-4126-961E-1FE4DF2444A9}">
      <dgm:prSet/>
      <dgm:spPr/>
      <dgm:t>
        <a:bodyPr/>
        <a:lstStyle/>
        <a:p>
          <a:endParaRPr lang="en-US"/>
        </a:p>
      </dgm:t>
    </dgm:pt>
    <dgm:pt modelId="{50AF30E9-1FC0-4843-B52E-30039420E57E}" type="sibTrans" cxnId="{43EAF289-1940-4126-961E-1FE4DF2444A9}">
      <dgm:prSet/>
      <dgm:spPr/>
      <dgm:t>
        <a:bodyPr/>
        <a:lstStyle/>
        <a:p>
          <a:endParaRPr lang="en-US"/>
        </a:p>
      </dgm:t>
    </dgm:pt>
    <dgm:pt modelId="{D7BFED32-F50E-4E32-A3F7-D1F8E5660471}">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b="1" dirty="0">
              <a:solidFill>
                <a:srgbClr val="FF0000"/>
              </a:solidFill>
            </a:rPr>
            <a:t>Stratify data </a:t>
          </a:r>
          <a:r>
            <a:rPr lang="en-US" sz="1400" dirty="0"/>
            <a:t>by race, ethnicity, language, urban/rural and Medicaid status to identify disparities</a:t>
          </a:r>
        </a:p>
      </dgm:t>
    </dgm:pt>
    <dgm:pt modelId="{D5B33CB1-BF88-4803-90A2-31BD45BEF30A}" type="parTrans" cxnId="{D99069E2-F2F8-4926-A7B5-045E96E812EE}">
      <dgm:prSet/>
      <dgm:spPr/>
      <dgm:t>
        <a:bodyPr/>
        <a:lstStyle/>
        <a:p>
          <a:endParaRPr lang="en-US"/>
        </a:p>
      </dgm:t>
    </dgm:pt>
    <dgm:pt modelId="{99B4A9E4-5924-4FC0-A234-8C0E848942FA}" type="sibTrans" cxnId="{D99069E2-F2F8-4926-A7B5-045E96E812EE}">
      <dgm:prSet/>
      <dgm:spPr/>
      <dgm:t>
        <a:bodyPr/>
        <a:lstStyle/>
        <a:p>
          <a:endParaRPr lang="en-US"/>
        </a:p>
      </dgm:t>
    </dgm:pt>
    <dgm:pt modelId="{F74EC67A-24DE-4A58-876C-0D7E98D22C8A}">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dirty="0"/>
            <a:t>Identify charting fields or process to develop to support ability to stratify the data</a:t>
          </a:r>
        </a:p>
      </dgm:t>
    </dgm:pt>
    <dgm:pt modelId="{3B1E5709-7202-4B5A-9134-5F6C56D13411}" type="parTrans" cxnId="{304326DD-DDE6-4D13-8B9E-C7FDDC0C7EE9}">
      <dgm:prSet/>
      <dgm:spPr/>
      <dgm:t>
        <a:bodyPr/>
        <a:lstStyle/>
        <a:p>
          <a:endParaRPr lang="en-US"/>
        </a:p>
      </dgm:t>
    </dgm:pt>
    <dgm:pt modelId="{328364B4-CEA6-4C05-B041-8A71E3EAB3E6}" type="sibTrans" cxnId="{304326DD-DDE6-4D13-8B9E-C7FDDC0C7EE9}">
      <dgm:prSet/>
      <dgm:spPr/>
      <dgm:t>
        <a:bodyPr/>
        <a:lstStyle/>
        <a:p>
          <a:endParaRPr lang="en-US"/>
        </a:p>
      </dgm:t>
    </dgm:pt>
    <dgm:pt modelId="{0852E4F2-1A4E-453F-857F-B7115AE76C9F}">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dirty="0"/>
            <a:t>Review 20 charts / month for redcap entry</a:t>
          </a:r>
        </a:p>
      </dgm:t>
    </dgm:pt>
    <dgm:pt modelId="{7E79C4C4-8D72-4DB7-AF31-F0A454F56E92}" type="parTrans" cxnId="{E6824295-5041-492D-8106-5BF38A8B65BB}">
      <dgm:prSet/>
      <dgm:spPr/>
      <dgm:t>
        <a:bodyPr/>
        <a:lstStyle/>
        <a:p>
          <a:endParaRPr lang="en-US"/>
        </a:p>
      </dgm:t>
    </dgm:pt>
    <dgm:pt modelId="{F2537FAC-8A76-409F-956E-185F63EAB8E1}" type="sibTrans" cxnId="{E6824295-5041-492D-8106-5BF38A8B65BB}">
      <dgm:prSet/>
      <dgm:spPr/>
      <dgm:t>
        <a:bodyPr/>
        <a:lstStyle/>
        <a:p>
          <a:endParaRPr lang="en-US"/>
        </a:p>
      </dgm:t>
    </dgm:pt>
    <dgm:pt modelId="{B252A561-8957-430A-B713-E53668056ACF}">
      <dgm:prSet phldrT="[Text]" custT="1"/>
      <dgm:spPr/>
      <dgm:t>
        <a:bodyPr/>
        <a:lstStyle/>
        <a:p>
          <a:r>
            <a:rPr lang="en-US" sz="1400" dirty="0"/>
            <a:t>Add PP Doula fields to EMR</a:t>
          </a:r>
        </a:p>
      </dgm:t>
    </dgm:pt>
    <dgm:pt modelId="{F127F7E3-1F71-4881-A3E9-E2D841A1C5AA}" type="parTrans" cxnId="{C7428C7D-1326-48DA-BB01-372C329AC6DC}">
      <dgm:prSet/>
      <dgm:spPr/>
      <dgm:t>
        <a:bodyPr/>
        <a:lstStyle/>
        <a:p>
          <a:endParaRPr lang="en-US"/>
        </a:p>
      </dgm:t>
    </dgm:pt>
    <dgm:pt modelId="{4E358B61-F1B5-4C17-8FC5-658745DB359C}" type="sibTrans" cxnId="{C7428C7D-1326-48DA-BB01-372C329AC6DC}">
      <dgm:prSet/>
      <dgm:spPr/>
      <dgm:t>
        <a:bodyPr/>
        <a:lstStyle/>
        <a:p>
          <a:endParaRPr lang="en-US"/>
        </a:p>
      </dgm:t>
    </dgm:pt>
    <dgm:pt modelId="{7F2E8D37-1EC4-43F7-84FF-661F049E96FC}">
      <dgm:prSet phldrT="[Text]" custT="1"/>
      <dgm:spPr/>
      <dgm:t>
        <a:bodyPr/>
        <a:lstStyle/>
        <a:p>
          <a:r>
            <a:rPr lang="en-US" sz="1400" dirty="0"/>
            <a:t>Define High Risk CS for which unable to attend (General </a:t>
          </a:r>
          <a:r>
            <a:rPr lang="en-US" sz="1400" dirty="0" err="1"/>
            <a:t>Anes</a:t>
          </a:r>
          <a:r>
            <a:rPr lang="en-US" sz="1400" dirty="0"/>
            <a:t>)</a:t>
          </a:r>
        </a:p>
      </dgm:t>
    </dgm:pt>
    <dgm:pt modelId="{1243FDDF-2E4D-4E09-8ED6-D5929D149112}" type="parTrans" cxnId="{AD65B5F8-493B-4A1B-BD4B-3D7FE35E5658}">
      <dgm:prSet/>
      <dgm:spPr/>
      <dgm:t>
        <a:bodyPr/>
        <a:lstStyle/>
        <a:p>
          <a:endParaRPr lang="en-US"/>
        </a:p>
      </dgm:t>
    </dgm:pt>
    <dgm:pt modelId="{141405F7-FC72-43B9-AEED-B0BBBDB296C4}" type="sibTrans" cxnId="{AD65B5F8-493B-4A1B-BD4B-3D7FE35E5658}">
      <dgm:prSet/>
      <dgm:spPr/>
      <dgm:t>
        <a:bodyPr/>
        <a:lstStyle/>
        <a:p>
          <a:endParaRPr lang="en-US"/>
        </a:p>
      </dgm:t>
    </dgm:pt>
    <dgm:pt modelId="{7C747A8B-1FD8-438D-97EE-022FDB2F4F19}">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i="1" dirty="0"/>
            <a:t>Maternal 96 to 99%</a:t>
          </a:r>
        </a:p>
      </dgm:t>
    </dgm:pt>
    <dgm:pt modelId="{79966426-3A83-437C-A410-B83B7C93037B}" type="parTrans" cxnId="{B6EDCF87-F4AE-4A54-87C3-7DEFAFCB786A}">
      <dgm:prSet/>
      <dgm:spPr/>
      <dgm:t>
        <a:bodyPr/>
        <a:lstStyle/>
        <a:p>
          <a:endParaRPr lang="en-US"/>
        </a:p>
      </dgm:t>
    </dgm:pt>
    <dgm:pt modelId="{928A9FED-0C45-47C9-B65B-0AFCE6547496}" type="sibTrans" cxnId="{B6EDCF87-F4AE-4A54-87C3-7DEFAFCB786A}">
      <dgm:prSet/>
      <dgm:spPr/>
      <dgm:t>
        <a:bodyPr/>
        <a:lstStyle/>
        <a:p>
          <a:endParaRPr lang="en-US"/>
        </a:p>
      </dgm:t>
    </dgm:pt>
    <dgm:pt modelId="{679D4600-06E2-4291-B9CA-703FCFBE9E9D}">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i="1" dirty="0"/>
            <a:t>Newborn 85 to 99%</a:t>
          </a:r>
        </a:p>
      </dgm:t>
    </dgm:pt>
    <dgm:pt modelId="{821B18E6-915D-43CD-89EE-7E601E583D56}" type="parTrans" cxnId="{409F5C05-F048-43C5-8964-D4922451AEB9}">
      <dgm:prSet/>
      <dgm:spPr/>
      <dgm:t>
        <a:bodyPr/>
        <a:lstStyle/>
        <a:p>
          <a:endParaRPr lang="en-US"/>
        </a:p>
      </dgm:t>
    </dgm:pt>
    <dgm:pt modelId="{2881F9B0-C337-4CDD-A378-C9EA240CF593}" type="sibTrans" cxnId="{409F5C05-F048-43C5-8964-D4922451AEB9}">
      <dgm:prSet/>
      <dgm:spPr/>
      <dgm:t>
        <a:bodyPr/>
        <a:lstStyle/>
        <a:p>
          <a:endParaRPr lang="en-US"/>
        </a:p>
      </dgm:t>
    </dgm:pt>
    <dgm:pt modelId="{7E25086D-A9D2-4955-ABDF-AB112D5B3FFD}">
      <dgm:prSet phldrT="[Text]" custT="1"/>
      <dgm:spPr/>
      <dgm:t>
        <a:bodyPr/>
        <a:lstStyle/>
        <a:p>
          <a:pPr marL="120650" marR="0" lvl="0" indent="-120650" defTabSz="914400" eaLnBrk="1" fontAlgn="auto" latinLnBrk="0" hangingPunct="1">
            <a:lnSpc>
              <a:spcPct val="100000"/>
            </a:lnSpc>
            <a:spcBef>
              <a:spcPts val="0"/>
            </a:spcBef>
            <a:spcAft>
              <a:spcPts val="0"/>
            </a:spcAft>
            <a:buClrTx/>
            <a:buSzTx/>
            <a:buFontTx/>
            <a:buNone/>
            <a:tabLst/>
            <a:defRPr/>
          </a:pPr>
          <a:r>
            <a:rPr lang="en-US" sz="1400" dirty="0"/>
            <a:t>Identify reports needed for redcap entry</a:t>
          </a:r>
        </a:p>
      </dgm:t>
    </dgm:pt>
    <dgm:pt modelId="{9EF58951-B2C0-4EA1-AE71-1230AC457225}" type="parTrans" cxnId="{1F5364F7-1506-47EB-92FC-9233B15E367C}">
      <dgm:prSet/>
      <dgm:spPr/>
      <dgm:t>
        <a:bodyPr/>
        <a:lstStyle/>
        <a:p>
          <a:endParaRPr lang="en-US"/>
        </a:p>
      </dgm:t>
    </dgm:pt>
    <dgm:pt modelId="{BE68ED03-A218-4EED-AE5C-26776456D29C}" type="sibTrans" cxnId="{1F5364F7-1506-47EB-92FC-9233B15E367C}">
      <dgm:prSet/>
      <dgm:spPr/>
      <dgm:t>
        <a:bodyPr/>
        <a:lstStyle/>
        <a:p>
          <a:endParaRPr lang="en-US"/>
        </a:p>
      </dgm:t>
    </dgm:pt>
    <dgm:pt modelId="{5B35EE7C-1A8E-4E45-B370-2A154EBCC115}">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dirty="0">
              <a:solidFill>
                <a:srgbClr val="FF0000"/>
              </a:solidFill>
            </a:rPr>
            <a:t>Implement strategy to share respectful care </a:t>
          </a:r>
          <a:r>
            <a:rPr lang="en-US" sz="1400" b="0" dirty="0"/>
            <a:t>practices during admission with birth preference tools </a:t>
          </a:r>
          <a:r>
            <a:rPr lang="en-US" sz="1400" b="1" dirty="0"/>
            <a:t>PDSA</a:t>
          </a:r>
        </a:p>
      </dgm:t>
    </dgm:pt>
    <dgm:pt modelId="{24F1E3DE-BDB4-46BF-9D71-F494A3864978}" type="parTrans" cxnId="{A8DC270C-8AB6-4244-B8D2-F27238FDBD00}">
      <dgm:prSet/>
      <dgm:spPr/>
      <dgm:t>
        <a:bodyPr/>
        <a:lstStyle/>
        <a:p>
          <a:endParaRPr lang="en-US"/>
        </a:p>
      </dgm:t>
    </dgm:pt>
    <dgm:pt modelId="{E96A8E8A-BF84-4189-B914-910BC1871E19}" type="sibTrans" cxnId="{A8DC270C-8AB6-4244-B8D2-F27238FDBD00}">
      <dgm:prSet/>
      <dgm:spPr/>
      <dgm:t>
        <a:bodyPr/>
        <a:lstStyle/>
        <a:p>
          <a:endParaRPr lang="en-US"/>
        </a:p>
      </dgm:t>
    </dgm:pt>
    <dgm:pt modelId="{9BF21359-20E7-42B2-A591-7E1553C2B8B2}">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0" dirty="0"/>
            <a:t>Standardize patient education prior to discharge on postpartum safety, early warning signs and tools/verbiage for communication. Utilize teach back methods to verify patient understanding. </a:t>
          </a:r>
          <a:r>
            <a:rPr lang="en-US" sz="1400" b="1" dirty="0"/>
            <a:t>PDSA</a:t>
          </a:r>
        </a:p>
      </dgm:t>
    </dgm:pt>
    <dgm:pt modelId="{E1A4C83F-DF74-47C4-9B84-06EB23251579}" type="parTrans" cxnId="{CC501B77-A499-416E-A4CF-5044C3C62474}">
      <dgm:prSet/>
      <dgm:spPr/>
      <dgm:t>
        <a:bodyPr/>
        <a:lstStyle/>
        <a:p>
          <a:endParaRPr lang="en-US"/>
        </a:p>
      </dgm:t>
    </dgm:pt>
    <dgm:pt modelId="{9608C5E7-E4B5-44E7-9200-C2742041EC1C}" type="sibTrans" cxnId="{CC501B77-A499-416E-A4CF-5044C3C62474}">
      <dgm:prSet/>
      <dgm:spPr/>
      <dgm:t>
        <a:bodyPr/>
        <a:lstStyle/>
        <a:p>
          <a:endParaRPr lang="en-US"/>
        </a:p>
      </dgm:t>
    </dgm:pt>
    <dgm:pt modelId="{B3054BD8-8A0A-4FAF-B095-1930894266BA}" type="pres">
      <dgm:prSet presAssocID="{ABEEC47F-E7EC-4326-AE7F-1515DA49140F}" presName="Name0" presStyleCnt="0">
        <dgm:presLayoutVars>
          <dgm:dir/>
          <dgm:animLvl val="lvl"/>
          <dgm:resizeHandles val="exact"/>
        </dgm:presLayoutVars>
      </dgm:prSet>
      <dgm:spPr/>
    </dgm:pt>
    <dgm:pt modelId="{19B448BB-AF11-4CCD-854C-50648946C71D}" type="pres">
      <dgm:prSet presAssocID="{B8D5FFBA-D916-483E-A444-21973D638FA6}" presName="composite" presStyleCnt="0"/>
      <dgm:spPr/>
    </dgm:pt>
    <dgm:pt modelId="{098E1BAD-1183-4D07-8C49-BA40092DAF30}" type="pres">
      <dgm:prSet presAssocID="{B8D5FFBA-D916-483E-A444-21973D638FA6}" presName="parTx" presStyleLbl="alignNode1" presStyleIdx="0" presStyleCnt="5">
        <dgm:presLayoutVars>
          <dgm:chMax val="0"/>
          <dgm:chPref val="0"/>
          <dgm:bulletEnabled val="1"/>
        </dgm:presLayoutVars>
      </dgm:prSet>
      <dgm:spPr/>
    </dgm:pt>
    <dgm:pt modelId="{8747F662-EC7B-4E2D-9A62-A03DECF87ABE}" type="pres">
      <dgm:prSet presAssocID="{B8D5FFBA-D916-483E-A444-21973D638FA6}" presName="desTx" presStyleLbl="alignAccFollowNode1" presStyleIdx="0" presStyleCnt="5">
        <dgm:presLayoutVars>
          <dgm:bulletEnabled val="1"/>
        </dgm:presLayoutVars>
      </dgm:prSet>
      <dgm:spPr/>
    </dgm:pt>
    <dgm:pt modelId="{D3DCB302-0585-4661-8D57-C6E669355DB1}" type="pres">
      <dgm:prSet presAssocID="{8125D877-E0B6-4E30-A3D1-AACB78C70EB2}" presName="space" presStyleCnt="0"/>
      <dgm:spPr/>
    </dgm:pt>
    <dgm:pt modelId="{3867B46E-721D-45A2-97DA-5CD0F93DBA1C}" type="pres">
      <dgm:prSet presAssocID="{671F5EFA-B6C0-43F6-A7E1-872D82E0FC54}" presName="composite" presStyleCnt="0"/>
      <dgm:spPr/>
    </dgm:pt>
    <dgm:pt modelId="{1846319E-0D09-4D88-B1CF-3F1B9362FF70}" type="pres">
      <dgm:prSet presAssocID="{671F5EFA-B6C0-43F6-A7E1-872D82E0FC54}" presName="parTx" presStyleLbl="alignNode1" presStyleIdx="1" presStyleCnt="5">
        <dgm:presLayoutVars>
          <dgm:chMax val="0"/>
          <dgm:chPref val="0"/>
          <dgm:bulletEnabled val="1"/>
        </dgm:presLayoutVars>
      </dgm:prSet>
      <dgm:spPr/>
    </dgm:pt>
    <dgm:pt modelId="{7C07C013-D4BE-4A4C-992A-A81AA68C9BCD}" type="pres">
      <dgm:prSet presAssocID="{671F5EFA-B6C0-43F6-A7E1-872D82E0FC54}" presName="desTx" presStyleLbl="alignAccFollowNode1" presStyleIdx="1" presStyleCnt="5">
        <dgm:presLayoutVars>
          <dgm:bulletEnabled val="1"/>
        </dgm:presLayoutVars>
      </dgm:prSet>
      <dgm:spPr/>
    </dgm:pt>
    <dgm:pt modelId="{3072E9C0-6A98-43CD-8BC3-9D1C8B304707}" type="pres">
      <dgm:prSet presAssocID="{77614E04-2D73-48AA-AFE3-B34C5003E2D6}" presName="space" presStyleCnt="0"/>
      <dgm:spPr/>
    </dgm:pt>
    <dgm:pt modelId="{3C96F813-94C4-4075-8DB0-8A4FD9BF153B}" type="pres">
      <dgm:prSet presAssocID="{B9598627-E894-40A8-8C2D-D7A9045491D5}" presName="composite" presStyleCnt="0"/>
      <dgm:spPr/>
    </dgm:pt>
    <dgm:pt modelId="{B08A751A-9958-474F-A6F9-EEDFF2780017}" type="pres">
      <dgm:prSet presAssocID="{B9598627-E894-40A8-8C2D-D7A9045491D5}" presName="parTx" presStyleLbl="alignNode1" presStyleIdx="2" presStyleCnt="5">
        <dgm:presLayoutVars>
          <dgm:chMax val="0"/>
          <dgm:chPref val="0"/>
          <dgm:bulletEnabled val="1"/>
        </dgm:presLayoutVars>
      </dgm:prSet>
      <dgm:spPr/>
    </dgm:pt>
    <dgm:pt modelId="{0F7BB00F-7DC6-4BE8-8585-6C4E2A456A26}" type="pres">
      <dgm:prSet presAssocID="{B9598627-E894-40A8-8C2D-D7A9045491D5}" presName="desTx" presStyleLbl="alignAccFollowNode1" presStyleIdx="2" presStyleCnt="5">
        <dgm:presLayoutVars>
          <dgm:bulletEnabled val="1"/>
        </dgm:presLayoutVars>
      </dgm:prSet>
      <dgm:spPr/>
    </dgm:pt>
    <dgm:pt modelId="{F39E2A0B-5FEC-4FE6-B6B6-BB7F5D9CF100}" type="pres">
      <dgm:prSet presAssocID="{617C62F1-8E02-4D89-8A00-33619704D458}" presName="space" presStyleCnt="0"/>
      <dgm:spPr/>
    </dgm:pt>
    <dgm:pt modelId="{02D751DF-2104-45A2-B690-B6157775D0CD}" type="pres">
      <dgm:prSet presAssocID="{F8CB2E28-0467-4ACD-814A-2541FDE53291}" presName="composite" presStyleCnt="0"/>
      <dgm:spPr/>
    </dgm:pt>
    <dgm:pt modelId="{542B4789-320D-43B3-91C7-99C534D852F3}" type="pres">
      <dgm:prSet presAssocID="{F8CB2E28-0467-4ACD-814A-2541FDE53291}" presName="parTx" presStyleLbl="alignNode1" presStyleIdx="3" presStyleCnt="5">
        <dgm:presLayoutVars>
          <dgm:chMax val="0"/>
          <dgm:chPref val="0"/>
          <dgm:bulletEnabled val="1"/>
        </dgm:presLayoutVars>
      </dgm:prSet>
      <dgm:spPr/>
    </dgm:pt>
    <dgm:pt modelId="{3926E28E-2DC8-4DFE-90C2-0458B223C4B1}" type="pres">
      <dgm:prSet presAssocID="{F8CB2E28-0467-4ACD-814A-2541FDE53291}" presName="desTx" presStyleLbl="alignAccFollowNode1" presStyleIdx="3" presStyleCnt="5">
        <dgm:presLayoutVars>
          <dgm:bulletEnabled val="1"/>
        </dgm:presLayoutVars>
      </dgm:prSet>
      <dgm:spPr/>
    </dgm:pt>
    <dgm:pt modelId="{C93D25C0-7563-45B8-9BF7-C3C8AA15B792}" type="pres">
      <dgm:prSet presAssocID="{F8AAF78F-EF4B-4595-B03D-77F973F2CAB6}" presName="space" presStyleCnt="0"/>
      <dgm:spPr/>
    </dgm:pt>
    <dgm:pt modelId="{588C2C7C-ADBF-432C-8D0A-2A13862EDABD}" type="pres">
      <dgm:prSet presAssocID="{F0F66644-877F-4C64-9A68-671FB86A888D}" presName="composite" presStyleCnt="0"/>
      <dgm:spPr/>
    </dgm:pt>
    <dgm:pt modelId="{335AE4F6-F178-48DD-9B67-F99A096DE34D}" type="pres">
      <dgm:prSet presAssocID="{F0F66644-877F-4C64-9A68-671FB86A888D}" presName="parTx" presStyleLbl="alignNode1" presStyleIdx="4" presStyleCnt="5">
        <dgm:presLayoutVars>
          <dgm:chMax val="0"/>
          <dgm:chPref val="0"/>
          <dgm:bulletEnabled val="1"/>
        </dgm:presLayoutVars>
      </dgm:prSet>
      <dgm:spPr/>
    </dgm:pt>
    <dgm:pt modelId="{42F6A9F7-DD6D-4268-854B-7A0F722B4B08}" type="pres">
      <dgm:prSet presAssocID="{F0F66644-877F-4C64-9A68-671FB86A888D}" presName="desTx" presStyleLbl="alignAccFollowNode1" presStyleIdx="4" presStyleCnt="5">
        <dgm:presLayoutVars>
          <dgm:bulletEnabled val="1"/>
        </dgm:presLayoutVars>
      </dgm:prSet>
      <dgm:spPr/>
    </dgm:pt>
  </dgm:ptLst>
  <dgm:cxnLst>
    <dgm:cxn modelId="{89487700-71B2-48C4-8E4F-FD5999499423}" type="presOf" srcId="{D7BFED32-F50E-4E32-A3F7-D1F8E5660471}" destId="{8747F662-EC7B-4E2D-9A62-A03DECF87ABE}" srcOrd="0" destOrd="3" presId="urn:microsoft.com/office/officeart/2005/8/layout/hList1"/>
    <dgm:cxn modelId="{83EBD101-C476-4902-8B99-3654242BE25C}" srcId="{F0F66644-877F-4C64-9A68-671FB86A888D}" destId="{5BF09D98-9349-467F-99E1-57144905A29F}" srcOrd="0" destOrd="0" parTransId="{729CFF30-C979-4CBC-B999-1F6C88F75C1B}" sibTransId="{1560A673-D262-409E-BEAD-48FAC932F001}"/>
    <dgm:cxn modelId="{A0DFBB03-B9E9-4242-84AB-866D54F8F339}" type="presOf" srcId="{3D34689F-9DEA-41CF-8BCB-9543E0E28CA9}" destId="{7C07C013-D4BE-4A4C-992A-A81AA68C9BCD}" srcOrd="0" destOrd="1" presId="urn:microsoft.com/office/officeart/2005/8/layout/hList1"/>
    <dgm:cxn modelId="{409F5C05-F048-43C5-8964-D4922451AEB9}" srcId="{82D8CB52-D6D0-4FBC-8627-4CDAA729CE54}" destId="{679D4600-06E2-4291-B9CA-703FCFBE9E9D}" srcOrd="1" destOrd="0" parTransId="{821B18E6-915D-43CD-89EE-7E601E583D56}" sibTransId="{2881F9B0-C337-4CDD-A378-C9EA240CF593}"/>
    <dgm:cxn modelId="{7226D308-6AB1-49AF-9AA7-A0BBD75B72C0}" type="presOf" srcId="{B252A561-8957-430A-B713-E53668056ACF}" destId="{7C07C013-D4BE-4A4C-992A-A81AA68C9BCD}" srcOrd="0" destOrd="5" presId="urn:microsoft.com/office/officeart/2005/8/layout/hList1"/>
    <dgm:cxn modelId="{54A68609-1AE3-4378-991F-C4C7E29BD1D5}" type="presOf" srcId="{ECDAFAB1-F178-4E07-8750-1BA1D8C36F13}" destId="{3926E28E-2DC8-4DFE-90C2-0458B223C4B1}" srcOrd="0" destOrd="0" presId="urn:microsoft.com/office/officeart/2005/8/layout/hList1"/>
    <dgm:cxn modelId="{A8DC270C-8AB6-4244-B8D2-F27238FDBD00}" srcId="{F8CB2E28-0467-4ACD-814A-2541FDE53291}" destId="{5B35EE7C-1A8E-4E45-B370-2A154EBCC115}" srcOrd="1" destOrd="0" parTransId="{24F1E3DE-BDB4-46BF-9D71-F494A3864978}" sibTransId="{E96A8E8A-BF84-4189-B914-910BC1871E19}"/>
    <dgm:cxn modelId="{731CEC0C-3B7C-4054-BD62-42AFC9A1D68F}" type="presOf" srcId="{82D8CB52-D6D0-4FBC-8627-4CDAA729CE54}" destId="{8747F662-EC7B-4E2D-9A62-A03DECF87ABE}" srcOrd="0" destOrd="0" presId="urn:microsoft.com/office/officeart/2005/8/layout/hList1"/>
    <dgm:cxn modelId="{D0A5990E-5A6A-4437-AC6C-A9F6F89D4C21}" type="presOf" srcId="{8A05741E-051C-4DE7-885E-F13C58CE62FA}" destId="{42F6A9F7-DD6D-4268-854B-7A0F722B4B08}" srcOrd="0" destOrd="1" presId="urn:microsoft.com/office/officeart/2005/8/layout/hList1"/>
    <dgm:cxn modelId="{397F7610-1B18-46DB-9B9C-B5B7CC0DFE07}" srcId="{F8CB2E28-0467-4ACD-814A-2541FDE53291}" destId="{C7EEBE78-B8D5-4C3F-B13E-03529731657F}" srcOrd="3" destOrd="0" parTransId="{7E1D7219-5F80-4E5B-807B-22CD2D5327C8}" sibTransId="{05A40F9C-0FB7-4836-9C44-BBF739F29672}"/>
    <dgm:cxn modelId="{FDEF0A1C-C5A4-415D-ABAD-F8B6DC81068A}" type="presOf" srcId="{9BF21359-20E7-42B2-A591-7E1553C2B8B2}" destId="{3926E28E-2DC8-4DFE-90C2-0458B223C4B1}" srcOrd="0" destOrd="2" presId="urn:microsoft.com/office/officeart/2005/8/layout/hList1"/>
    <dgm:cxn modelId="{EE6EB11F-90D0-4482-BC56-3C4E6E00CEC9}" srcId="{F8CB2E28-0467-4ACD-814A-2541FDE53291}" destId="{ECDAFAB1-F178-4E07-8750-1BA1D8C36F13}" srcOrd="0" destOrd="0" parTransId="{E49CE3B9-2A65-49B1-8FD0-3656595FD6B8}" sibTransId="{BDB4439D-ED6D-438E-A302-CBCEACE8BD0D}"/>
    <dgm:cxn modelId="{2F964425-7677-4678-BC70-7056B466FDBC}" srcId="{671F5EFA-B6C0-43F6-A7E1-872D82E0FC54}" destId="{3D34689F-9DEA-41CF-8BCB-9543E0E28CA9}" srcOrd="1" destOrd="0" parTransId="{4CA3DFDB-26D7-4369-A928-2AF07CF6D046}" sibTransId="{CB820944-7D7C-451E-86CA-378BAD28D193}"/>
    <dgm:cxn modelId="{D77D1C31-F99D-4658-BE9B-84FF3AD3A347}" srcId="{EDF2394F-16D1-4D71-A8A5-82A2B9446614}" destId="{59863936-DD1D-4ECA-BB05-772EB7164644}" srcOrd="3" destOrd="0" parTransId="{4C173829-A435-42FD-8237-404D5B0E7EAA}" sibTransId="{3F2EEC1E-405F-4A6B-8DE9-DF12BFE80B00}"/>
    <dgm:cxn modelId="{F0E76D34-C739-44C8-B0F7-3AEF193FAD01}" srcId="{671F5EFA-B6C0-43F6-A7E1-872D82E0FC54}" destId="{4AF85BC3-4328-48EE-B218-DD2AA3CA0956}" srcOrd="0" destOrd="0" parTransId="{E1E797D6-DEE1-4164-8989-E49CB4488D41}" sibTransId="{4FA6B4E5-201B-4E10-A357-2D09B635DCE7}"/>
    <dgm:cxn modelId="{A45C5135-9E3C-437E-B425-592164449894}" srcId="{ABEEC47F-E7EC-4326-AE7F-1515DA49140F}" destId="{B9598627-E894-40A8-8C2D-D7A9045491D5}" srcOrd="2" destOrd="0" parTransId="{9DB38113-4B2A-462B-BA69-DD31927F9766}" sibTransId="{617C62F1-8E02-4D89-8A00-33619704D458}"/>
    <dgm:cxn modelId="{E26A0F40-CEA8-49EC-AF23-30FEECC78C62}" type="presOf" srcId="{F74EC67A-24DE-4A58-876C-0D7E98D22C8A}" destId="{8747F662-EC7B-4E2D-9A62-A03DECF87ABE}" srcOrd="0" destOrd="4" presId="urn:microsoft.com/office/officeart/2005/8/layout/hList1"/>
    <dgm:cxn modelId="{609FF15C-4096-467E-8CC5-61985A25EED7}" type="presOf" srcId="{671F5EFA-B6C0-43F6-A7E1-872D82E0FC54}" destId="{1846319E-0D09-4D88-B1CF-3F1B9362FF70}" srcOrd="0" destOrd="0" presId="urn:microsoft.com/office/officeart/2005/8/layout/hList1"/>
    <dgm:cxn modelId="{052F0143-A089-4E55-9C8A-0C096783ED6E}" type="presOf" srcId="{B8D5FFBA-D916-483E-A444-21973D638FA6}" destId="{098E1BAD-1183-4D07-8C49-BA40092DAF30}" srcOrd="0" destOrd="0" presId="urn:microsoft.com/office/officeart/2005/8/layout/hList1"/>
    <dgm:cxn modelId="{CD9E2E65-9424-4773-AF36-9DF37C6E7EDB}" type="presOf" srcId="{526214EE-C188-4D7B-A7DB-1FAC13BCB07F}" destId="{42F6A9F7-DD6D-4268-854B-7A0F722B4B08}" srcOrd="0" destOrd="2" presId="urn:microsoft.com/office/officeart/2005/8/layout/hList1"/>
    <dgm:cxn modelId="{E3C4DB67-4939-439E-B285-2E620556CFD1}" type="presOf" srcId="{F0F66644-877F-4C64-9A68-671FB86A888D}" destId="{335AE4F6-F178-48DD-9B67-F99A096DE34D}" srcOrd="0" destOrd="0" presId="urn:microsoft.com/office/officeart/2005/8/layout/hList1"/>
    <dgm:cxn modelId="{09E5ED4B-F639-4422-B9B5-2A80B0E6FDAE}" type="presOf" srcId="{20D12D9D-3A2C-4C09-889E-D568866A1A16}" destId="{0F7BB00F-7DC6-4BE8-8585-6C4E2A456A26}" srcOrd="0" destOrd="3" presId="urn:microsoft.com/office/officeart/2005/8/layout/hList1"/>
    <dgm:cxn modelId="{0877046C-771D-4358-AF4A-FF0A488D1D0B}" srcId="{EDF2394F-16D1-4D71-A8A5-82A2B9446614}" destId="{93F54CDB-83A9-4AFD-A65B-B52D055C103A}" srcOrd="2" destOrd="0" parTransId="{875FE69C-BAF2-475A-B475-659492285806}" sibTransId="{9DCF1E3C-9F30-4E85-9043-3010DE7643FF}"/>
    <dgm:cxn modelId="{C26DFD4F-C495-48F9-9633-1CE7F03F9AB0}" srcId="{671F5EFA-B6C0-43F6-A7E1-872D82E0FC54}" destId="{85A16B94-E8DF-4FD7-B5F8-F02D33517CFF}" srcOrd="3" destOrd="0" parTransId="{67474384-A352-434C-9967-7B4AF588FF60}" sibTransId="{D3DBE5F0-E39C-4901-A294-DCFDBDF203FB}"/>
    <dgm:cxn modelId="{21903E55-2A04-42D0-B430-7B4F3A5447B5}" type="presOf" srcId="{0852E4F2-1A4E-453F-857F-B7115AE76C9F}" destId="{8747F662-EC7B-4E2D-9A62-A03DECF87ABE}" srcOrd="0" destOrd="6" presId="urn:microsoft.com/office/officeart/2005/8/layout/hList1"/>
    <dgm:cxn modelId="{CC501B77-A499-416E-A4CF-5044C3C62474}" srcId="{F8CB2E28-0467-4ACD-814A-2541FDE53291}" destId="{9BF21359-20E7-42B2-A591-7E1553C2B8B2}" srcOrd="2" destOrd="0" parTransId="{E1A4C83F-DF74-47C4-9B84-06EB23251579}" sibTransId="{9608C5E7-E4B5-44E7-9200-C2742041EC1C}"/>
    <dgm:cxn modelId="{C7428C7D-1326-48DA-BB01-372C329AC6DC}" srcId="{671F5EFA-B6C0-43F6-A7E1-872D82E0FC54}" destId="{B252A561-8957-430A-B713-E53668056ACF}" srcOrd="4" destOrd="0" parTransId="{F127F7E3-1F71-4881-A3E9-E2D841A1C5AA}" sibTransId="{4E358B61-F1B5-4C17-8FC5-658745DB359C}"/>
    <dgm:cxn modelId="{25CA6D7E-D73D-40DF-BDEA-A598C51AC35D}" type="presOf" srcId="{7E25086D-A9D2-4955-ABDF-AB112D5B3FFD}" destId="{8747F662-EC7B-4E2D-9A62-A03DECF87ABE}" srcOrd="0" destOrd="5" presId="urn:microsoft.com/office/officeart/2005/8/layout/hList1"/>
    <dgm:cxn modelId="{07001C7F-14FB-4D71-BE45-F6DA86DB10F9}" srcId="{ABEEC47F-E7EC-4326-AE7F-1515DA49140F}" destId="{671F5EFA-B6C0-43F6-A7E1-872D82E0FC54}" srcOrd="1" destOrd="0" parTransId="{A043DD93-17B1-46D1-8B80-0C75920E842B}" sibTransId="{77614E04-2D73-48AA-AFE3-B34C5003E2D6}"/>
    <dgm:cxn modelId="{B6EDCF87-F4AE-4A54-87C3-7DEFAFCB786A}" srcId="{82D8CB52-D6D0-4FBC-8627-4CDAA729CE54}" destId="{7C747A8B-1FD8-438D-97EE-022FDB2F4F19}" srcOrd="0" destOrd="0" parTransId="{79966426-3A83-437C-A410-B83B7C93037B}" sibTransId="{928A9FED-0C45-47C9-B65B-0AFCE6547496}"/>
    <dgm:cxn modelId="{93FFB789-E1FC-4DFF-A9F7-52FD0AD06B7B}" type="presOf" srcId="{4AF85BC3-4328-48EE-B218-DD2AA3CA0956}" destId="{7C07C013-D4BE-4A4C-992A-A81AA68C9BCD}" srcOrd="0" destOrd="0" presId="urn:microsoft.com/office/officeart/2005/8/layout/hList1"/>
    <dgm:cxn modelId="{43EAF289-1940-4126-961E-1FE4DF2444A9}" srcId="{B9598627-E894-40A8-8C2D-D7A9045491D5}" destId="{736C0FD8-EF4B-4986-9434-57044E28D90C}" srcOrd="0" destOrd="0" parTransId="{49AB89E3-A92C-48BB-8DDF-CFCB44CAE7C6}" sibTransId="{50AF30E9-1FC0-4843-B52E-30039420E57E}"/>
    <dgm:cxn modelId="{75EBB88B-5BE0-4098-94DD-D0EE712B9B17}" type="presOf" srcId="{F8CB2E28-0467-4ACD-814A-2541FDE53291}" destId="{542B4789-320D-43B3-91C7-99C534D852F3}" srcOrd="0" destOrd="0" presId="urn:microsoft.com/office/officeart/2005/8/layout/hList1"/>
    <dgm:cxn modelId="{45F0B591-6C41-475B-8E4F-644C13326B82}" srcId="{ABEEC47F-E7EC-4326-AE7F-1515DA49140F}" destId="{B8D5FFBA-D916-483E-A444-21973D638FA6}" srcOrd="0" destOrd="0" parTransId="{B8D75CEF-5C8E-4951-9DE9-9F9BE0D19F33}" sibTransId="{8125D877-E0B6-4E30-A3D1-AACB78C70EB2}"/>
    <dgm:cxn modelId="{C220B093-960D-42CB-A186-B4503EF30343}" type="presOf" srcId="{B15F1542-9418-4BE0-8AA8-87A6A8D2B842}" destId="{0F7BB00F-7DC6-4BE8-8585-6C4E2A456A26}" srcOrd="0" destOrd="2" presId="urn:microsoft.com/office/officeart/2005/8/layout/hList1"/>
    <dgm:cxn modelId="{E6824295-5041-492D-8106-5BF38A8B65BB}" srcId="{B8D5FFBA-D916-483E-A444-21973D638FA6}" destId="{0852E4F2-1A4E-453F-857F-B7115AE76C9F}" srcOrd="4" destOrd="0" parTransId="{7E79C4C4-8D72-4DB7-AF31-F0A454F56E92}" sibTransId="{F2537FAC-8A76-409F-956E-185F63EAB8E1}"/>
    <dgm:cxn modelId="{E62A6197-ED6A-49C0-95E4-A909A0C901F3}" type="presOf" srcId="{85A16B94-E8DF-4FD7-B5F8-F02D33517CFF}" destId="{7C07C013-D4BE-4A4C-992A-A81AA68C9BCD}" srcOrd="0" destOrd="4" presId="urn:microsoft.com/office/officeart/2005/8/layout/hList1"/>
    <dgm:cxn modelId="{E9B81B98-9B60-4DFD-A3FC-3765DAB75D42}" srcId="{B8D5FFBA-D916-483E-A444-21973D638FA6}" destId="{82D8CB52-D6D0-4FBC-8627-4CDAA729CE54}" srcOrd="0" destOrd="0" parTransId="{FF1F0DFA-304F-4CD8-97E4-607FDD81C53E}" sibTransId="{41D25F18-E895-40E1-99B9-8E6989F6BC7B}"/>
    <dgm:cxn modelId="{93709498-D0EE-4AFF-81E4-89017BFF13F1}" srcId="{EDF2394F-16D1-4D71-A8A5-82A2B9446614}" destId="{20D12D9D-3A2C-4C09-889E-D568866A1A16}" srcOrd="1" destOrd="0" parTransId="{8E15974A-54AB-4910-BA78-88B44A957C11}" sibTransId="{C360E148-CB4F-457A-A27B-5D0BFE85856D}"/>
    <dgm:cxn modelId="{4BC0379E-9B69-45D8-920E-B7E9FD598724}" type="presOf" srcId="{5BF09D98-9349-467F-99E1-57144905A29F}" destId="{42F6A9F7-DD6D-4268-854B-7A0F722B4B08}" srcOrd="0" destOrd="0" presId="urn:microsoft.com/office/officeart/2005/8/layout/hList1"/>
    <dgm:cxn modelId="{C449A2A0-71CA-46C8-8AD2-C1839CB5A567}" srcId="{B9598627-E894-40A8-8C2D-D7A9045491D5}" destId="{EDF2394F-16D1-4D71-A8A5-82A2B9446614}" srcOrd="1" destOrd="0" parTransId="{31646D62-839C-4FEC-9D22-D9441D20E748}" sibTransId="{9502CDE7-26D6-401E-BE14-AE311698EEB7}"/>
    <dgm:cxn modelId="{AD8425A3-A2AC-453C-B2F1-2AC0A1E53FCB}" srcId="{F0F66644-877F-4C64-9A68-671FB86A888D}" destId="{526214EE-C188-4D7B-A7DB-1FAC13BCB07F}" srcOrd="2" destOrd="0" parTransId="{ACD9E7DC-9DE9-4CF1-BAF4-42BA3FA99E40}" sibTransId="{D3F8F8A7-D3EF-45B2-9820-45A9E54C14F6}"/>
    <dgm:cxn modelId="{70E19DA8-B88E-4AAD-9F55-3EDA847F8D4D}" type="presOf" srcId="{C7EEBE78-B8D5-4C3F-B13E-03529731657F}" destId="{3926E28E-2DC8-4DFE-90C2-0458B223C4B1}" srcOrd="0" destOrd="3" presId="urn:microsoft.com/office/officeart/2005/8/layout/hList1"/>
    <dgm:cxn modelId="{D98F37B0-00CE-4A8D-85A5-875C05F5644B}" type="presOf" srcId="{736C0FD8-EF4B-4986-9434-57044E28D90C}" destId="{0F7BB00F-7DC6-4BE8-8585-6C4E2A456A26}" srcOrd="0" destOrd="0" presId="urn:microsoft.com/office/officeart/2005/8/layout/hList1"/>
    <dgm:cxn modelId="{54154EBC-BD7B-4DCD-9A8D-D72F1A592F13}" type="presOf" srcId="{93F54CDB-83A9-4AFD-A65B-B52D055C103A}" destId="{0F7BB00F-7DC6-4BE8-8585-6C4E2A456A26}" srcOrd="0" destOrd="4" presId="urn:microsoft.com/office/officeart/2005/8/layout/hList1"/>
    <dgm:cxn modelId="{42E957BF-4E71-4F9F-A89D-03B340ED38A2}" srcId="{671F5EFA-B6C0-43F6-A7E1-872D82E0FC54}" destId="{80D7F401-7ADF-47A2-91F5-A68904CD893D}" srcOrd="2" destOrd="0" parTransId="{0B509AB8-055F-446E-9EE4-D1F2A26FF606}" sibTransId="{556086C0-288C-4C89-8877-7F8AF7673DEF}"/>
    <dgm:cxn modelId="{809AE5BF-2DFB-438C-8CAF-FF5ABE32CF2C}" type="presOf" srcId="{EDF2394F-16D1-4D71-A8A5-82A2B9446614}" destId="{0F7BB00F-7DC6-4BE8-8585-6C4E2A456A26}" srcOrd="0" destOrd="1" presId="urn:microsoft.com/office/officeart/2005/8/layout/hList1"/>
    <dgm:cxn modelId="{B7B437C3-62DC-4317-86C1-76A60E1D182D}" srcId="{ABEEC47F-E7EC-4326-AE7F-1515DA49140F}" destId="{F8CB2E28-0467-4ACD-814A-2541FDE53291}" srcOrd="3" destOrd="0" parTransId="{701E3DFB-A2C5-4201-B8F4-287958BEA278}" sibTransId="{F8AAF78F-EF4B-4595-B03D-77F973F2CAB6}"/>
    <dgm:cxn modelId="{01B022C9-9953-4969-BC9F-660770226D48}" type="presOf" srcId="{80D7F401-7ADF-47A2-91F5-A68904CD893D}" destId="{7C07C013-D4BE-4A4C-992A-A81AA68C9BCD}" srcOrd="0" destOrd="3" presId="urn:microsoft.com/office/officeart/2005/8/layout/hList1"/>
    <dgm:cxn modelId="{E106ECCA-2E69-4307-80AC-D81CBB798910}" srcId="{EDF2394F-16D1-4D71-A8A5-82A2B9446614}" destId="{213873CD-FD77-4E68-8297-193322BF3D1B}" srcOrd="4" destOrd="0" parTransId="{E614FE14-06EA-406F-860A-47623C724A68}" sibTransId="{704959FA-6DA4-48F6-B82E-70E2C55F0BDA}"/>
    <dgm:cxn modelId="{9B6B8ACD-958A-47A5-9C21-C82B527236AD}" type="presOf" srcId="{679D4600-06E2-4291-B9CA-703FCFBE9E9D}" destId="{8747F662-EC7B-4E2D-9A62-A03DECF87ABE}" srcOrd="0" destOrd="2" presId="urn:microsoft.com/office/officeart/2005/8/layout/hList1"/>
    <dgm:cxn modelId="{3B6DEBCD-776D-425F-9E8F-D280C97EB782}" type="presOf" srcId="{ABEEC47F-E7EC-4326-AE7F-1515DA49140F}" destId="{B3054BD8-8A0A-4FAF-B095-1930894266BA}" srcOrd="0" destOrd="0" presId="urn:microsoft.com/office/officeart/2005/8/layout/hList1"/>
    <dgm:cxn modelId="{9F1087D3-55DD-4318-AACD-88AE446B9FE6}" type="presOf" srcId="{B9598627-E894-40A8-8C2D-D7A9045491D5}" destId="{B08A751A-9958-474F-A6F9-EEDFF2780017}" srcOrd="0" destOrd="0" presId="urn:microsoft.com/office/officeart/2005/8/layout/hList1"/>
    <dgm:cxn modelId="{6B3E2AD8-68E8-42B9-AD4E-61BFD0DABC9F}" srcId="{ABEEC47F-E7EC-4326-AE7F-1515DA49140F}" destId="{F0F66644-877F-4C64-9A68-671FB86A888D}" srcOrd="4" destOrd="0" parTransId="{77F72D37-98D1-463A-B084-5065D91768FC}" sibTransId="{6426FB96-F66D-4BA2-9117-43A39E647DB8}"/>
    <dgm:cxn modelId="{304326DD-DDE6-4D13-8B9E-C7FDDC0C7EE9}" srcId="{B8D5FFBA-D916-483E-A444-21973D638FA6}" destId="{F74EC67A-24DE-4A58-876C-0D7E98D22C8A}" srcOrd="2" destOrd="0" parTransId="{3B1E5709-7202-4B5A-9134-5F6C56D13411}" sibTransId="{328364B4-CEA6-4C05-B041-8A71E3EAB3E6}"/>
    <dgm:cxn modelId="{D99069E2-F2F8-4926-A7B5-045E96E812EE}" srcId="{B8D5FFBA-D916-483E-A444-21973D638FA6}" destId="{D7BFED32-F50E-4E32-A3F7-D1F8E5660471}" srcOrd="1" destOrd="0" parTransId="{D5B33CB1-BF88-4803-90A2-31BD45BEF30A}" sibTransId="{99B4A9E4-5924-4FC0-A234-8C0E848942FA}"/>
    <dgm:cxn modelId="{6CC3DFE5-59CA-4401-9054-1134A4EC5C5E}" srcId="{F0F66644-877F-4C64-9A68-671FB86A888D}" destId="{8A05741E-051C-4DE7-885E-F13C58CE62FA}" srcOrd="1" destOrd="0" parTransId="{DE730353-3C8F-429A-AEC7-D90C42B70D60}" sibTransId="{500628A2-6AB1-4A20-B133-E9E192FE4243}"/>
    <dgm:cxn modelId="{0EDC33EA-137A-448A-A2D4-C41A51FD52C6}" type="presOf" srcId="{59863936-DD1D-4ECA-BB05-772EB7164644}" destId="{0F7BB00F-7DC6-4BE8-8585-6C4E2A456A26}" srcOrd="0" destOrd="5" presId="urn:microsoft.com/office/officeart/2005/8/layout/hList1"/>
    <dgm:cxn modelId="{AF5C68ED-F31B-4D21-B559-E662BF208D92}" srcId="{EDF2394F-16D1-4D71-A8A5-82A2B9446614}" destId="{B15F1542-9418-4BE0-8AA8-87A6A8D2B842}" srcOrd="0" destOrd="0" parTransId="{43A05195-B778-4C67-9B41-E2E55D42D3DE}" sibTransId="{C29DE3E8-B32C-4B2D-83AD-AA9CA93B801E}"/>
    <dgm:cxn modelId="{6697A2F0-ECB6-4671-9FFA-97DC588E687B}" type="presOf" srcId="{5B35EE7C-1A8E-4E45-B370-2A154EBCC115}" destId="{3926E28E-2DC8-4DFE-90C2-0458B223C4B1}" srcOrd="0" destOrd="1" presId="urn:microsoft.com/office/officeart/2005/8/layout/hList1"/>
    <dgm:cxn modelId="{8FBF4FF2-1942-46D1-B2AE-A32CFFAB6FEF}" type="presOf" srcId="{7F2E8D37-1EC4-43F7-84FF-661F049E96FC}" destId="{7C07C013-D4BE-4A4C-992A-A81AA68C9BCD}" srcOrd="0" destOrd="2" presId="urn:microsoft.com/office/officeart/2005/8/layout/hList1"/>
    <dgm:cxn modelId="{1F5364F7-1506-47EB-92FC-9233B15E367C}" srcId="{B8D5FFBA-D916-483E-A444-21973D638FA6}" destId="{7E25086D-A9D2-4955-ABDF-AB112D5B3FFD}" srcOrd="3" destOrd="0" parTransId="{9EF58951-B2C0-4EA1-AE71-1230AC457225}" sibTransId="{BE68ED03-A218-4EED-AE5C-26776456D29C}"/>
    <dgm:cxn modelId="{AD65B5F8-493B-4A1B-BD4B-3D7FE35E5658}" srcId="{3D34689F-9DEA-41CF-8BCB-9543E0E28CA9}" destId="{7F2E8D37-1EC4-43F7-84FF-661F049E96FC}" srcOrd="0" destOrd="0" parTransId="{1243FDDF-2E4D-4E09-8ED6-D5929D149112}" sibTransId="{141405F7-FC72-43B9-AEED-B0BBBDB296C4}"/>
    <dgm:cxn modelId="{D688B4FC-9317-4B85-BD84-72F182F7CCD8}" type="presOf" srcId="{213873CD-FD77-4E68-8297-193322BF3D1B}" destId="{0F7BB00F-7DC6-4BE8-8585-6C4E2A456A26}" srcOrd="0" destOrd="6" presId="urn:microsoft.com/office/officeart/2005/8/layout/hList1"/>
    <dgm:cxn modelId="{E3CCE6FE-35FE-4E7E-9964-B6B8C93CFFA4}" type="presOf" srcId="{7C747A8B-1FD8-438D-97EE-022FDB2F4F19}" destId="{8747F662-EC7B-4E2D-9A62-A03DECF87ABE}" srcOrd="0" destOrd="1" presId="urn:microsoft.com/office/officeart/2005/8/layout/hList1"/>
    <dgm:cxn modelId="{06FE399A-0F41-419F-BF3C-98F5B99FCC34}" type="presParOf" srcId="{B3054BD8-8A0A-4FAF-B095-1930894266BA}" destId="{19B448BB-AF11-4CCD-854C-50648946C71D}" srcOrd="0" destOrd="0" presId="urn:microsoft.com/office/officeart/2005/8/layout/hList1"/>
    <dgm:cxn modelId="{B928AC22-C2C2-4BA3-BF88-B0A5B6B6FFF7}" type="presParOf" srcId="{19B448BB-AF11-4CCD-854C-50648946C71D}" destId="{098E1BAD-1183-4D07-8C49-BA40092DAF30}" srcOrd="0" destOrd="0" presId="urn:microsoft.com/office/officeart/2005/8/layout/hList1"/>
    <dgm:cxn modelId="{FCCB3955-4BA5-4A24-9517-6AD3B1128949}" type="presParOf" srcId="{19B448BB-AF11-4CCD-854C-50648946C71D}" destId="{8747F662-EC7B-4E2D-9A62-A03DECF87ABE}" srcOrd="1" destOrd="0" presId="urn:microsoft.com/office/officeart/2005/8/layout/hList1"/>
    <dgm:cxn modelId="{82B647E4-3A96-464D-A487-5877E3080811}" type="presParOf" srcId="{B3054BD8-8A0A-4FAF-B095-1930894266BA}" destId="{D3DCB302-0585-4661-8D57-C6E669355DB1}" srcOrd="1" destOrd="0" presId="urn:microsoft.com/office/officeart/2005/8/layout/hList1"/>
    <dgm:cxn modelId="{F6AB931D-7038-49FC-A2E5-B330ADE88C23}" type="presParOf" srcId="{B3054BD8-8A0A-4FAF-B095-1930894266BA}" destId="{3867B46E-721D-45A2-97DA-5CD0F93DBA1C}" srcOrd="2" destOrd="0" presId="urn:microsoft.com/office/officeart/2005/8/layout/hList1"/>
    <dgm:cxn modelId="{FE8C37C9-981E-429F-8D2A-002C5E1CA44D}" type="presParOf" srcId="{3867B46E-721D-45A2-97DA-5CD0F93DBA1C}" destId="{1846319E-0D09-4D88-B1CF-3F1B9362FF70}" srcOrd="0" destOrd="0" presId="urn:microsoft.com/office/officeart/2005/8/layout/hList1"/>
    <dgm:cxn modelId="{98D18C5B-98C3-4295-82AC-D1E6E4BC9B56}" type="presParOf" srcId="{3867B46E-721D-45A2-97DA-5CD0F93DBA1C}" destId="{7C07C013-D4BE-4A4C-992A-A81AA68C9BCD}" srcOrd="1" destOrd="0" presId="urn:microsoft.com/office/officeart/2005/8/layout/hList1"/>
    <dgm:cxn modelId="{507D9771-5AC4-4C68-AD4F-8289F4FCD95D}" type="presParOf" srcId="{B3054BD8-8A0A-4FAF-B095-1930894266BA}" destId="{3072E9C0-6A98-43CD-8BC3-9D1C8B304707}" srcOrd="3" destOrd="0" presId="urn:microsoft.com/office/officeart/2005/8/layout/hList1"/>
    <dgm:cxn modelId="{E0AFC0CA-B093-4578-885C-697E8F2118D1}" type="presParOf" srcId="{B3054BD8-8A0A-4FAF-B095-1930894266BA}" destId="{3C96F813-94C4-4075-8DB0-8A4FD9BF153B}" srcOrd="4" destOrd="0" presId="urn:microsoft.com/office/officeart/2005/8/layout/hList1"/>
    <dgm:cxn modelId="{D7C5AC6F-DB3F-40B7-BD42-18EB31132044}" type="presParOf" srcId="{3C96F813-94C4-4075-8DB0-8A4FD9BF153B}" destId="{B08A751A-9958-474F-A6F9-EEDFF2780017}" srcOrd="0" destOrd="0" presId="urn:microsoft.com/office/officeart/2005/8/layout/hList1"/>
    <dgm:cxn modelId="{05A47E9A-CA1D-4405-B65C-22ACCE77919C}" type="presParOf" srcId="{3C96F813-94C4-4075-8DB0-8A4FD9BF153B}" destId="{0F7BB00F-7DC6-4BE8-8585-6C4E2A456A26}" srcOrd="1" destOrd="0" presId="urn:microsoft.com/office/officeart/2005/8/layout/hList1"/>
    <dgm:cxn modelId="{FBDA76B8-3FC8-48C8-9E01-7D6B7427739B}" type="presParOf" srcId="{B3054BD8-8A0A-4FAF-B095-1930894266BA}" destId="{F39E2A0B-5FEC-4FE6-B6B6-BB7F5D9CF100}" srcOrd="5" destOrd="0" presId="urn:microsoft.com/office/officeart/2005/8/layout/hList1"/>
    <dgm:cxn modelId="{C15BDBCE-E78C-44F4-B837-C0009EFD46C7}" type="presParOf" srcId="{B3054BD8-8A0A-4FAF-B095-1930894266BA}" destId="{02D751DF-2104-45A2-B690-B6157775D0CD}" srcOrd="6" destOrd="0" presId="urn:microsoft.com/office/officeart/2005/8/layout/hList1"/>
    <dgm:cxn modelId="{B8DD6DB9-CB44-44A9-AD50-2336D2C8D9B4}" type="presParOf" srcId="{02D751DF-2104-45A2-B690-B6157775D0CD}" destId="{542B4789-320D-43B3-91C7-99C534D852F3}" srcOrd="0" destOrd="0" presId="urn:microsoft.com/office/officeart/2005/8/layout/hList1"/>
    <dgm:cxn modelId="{148D874B-6E5D-40B8-A51D-6777FE68BAAA}" type="presParOf" srcId="{02D751DF-2104-45A2-B690-B6157775D0CD}" destId="{3926E28E-2DC8-4DFE-90C2-0458B223C4B1}" srcOrd="1" destOrd="0" presId="urn:microsoft.com/office/officeart/2005/8/layout/hList1"/>
    <dgm:cxn modelId="{508796CF-9768-4BB5-ABC4-98DE83A4B62E}" type="presParOf" srcId="{B3054BD8-8A0A-4FAF-B095-1930894266BA}" destId="{C93D25C0-7563-45B8-9BF7-C3C8AA15B792}" srcOrd="7" destOrd="0" presId="urn:microsoft.com/office/officeart/2005/8/layout/hList1"/>
    <dgm:cxn modelId="{A3B4887D-11F7-478A-9899-E921232639F9}" type="presParOf" srcId="{B3054BD8-8A0A-4FAF-B095-1930894266BA}" destId="{588C2C7C-ADBF-432C-8D0A-2A13862EDABD}" srcOrd="8" destOrd="0" presId="urn:microsoft.com/office/officeart/2005/8/layout/hList1"/>
    <dgm:cxn modelId="{AEE97A8E-61C4-44A5-830A-A0DF059D1B75}" type="presParOf" srcId="{588C2C7C-ADBF-432C-8D0A-2A13862EDABD}" destId="{335AE4F6-F178-48DD-9B67-F99A096DE34D}" srcOrd="0" destOrd="0" presId="urn:microsoft.com/office/officeart/2005/8/layout/hList1"/>
    <dgm:cxn modelId="{1420425B-46BE-4767-ADA1-79A605FE2C73}" type="presParOf" srcId="{588C2C7C-ADBF-432C-8D0A-2A13862EDABD}" destId="{42F6A9F7-DD6D-4268-854B-7A0F722B4B0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26"/>
        <p:cNvGrpSpPr/>
        <p:nvPr/>
      </p:nvGrpSpPr>
      <p:grpSpPr>
        <a:xfrm>
          <a:off x="0" y="0"/>
          <a:ext cx="0" cy="0"/>
          <a:chOff x="0" y="0"/>
          <a:chExt cx="0" cy="0"/>
        </a:xfrm>
      </p:grpSpPr>
      <p:sp>
        <p:nvSpPr>
          <p:cNvPr id="11927" name="Google Shape;11927;p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928" name="Google Shape;11928;p1: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a:p>
            <a:pPr marL="0" indent="0"/>
            <a:endParaRPr/>
          </a:p>
          <a:p>
            <a:pPr marL="0" indent="0"/>
            <a:endParaRPr/>
          </a:p>
        </p:txBody>
      </p:sp>
      <p:sp>
        <p:nvSpPr>
          <p:cNvPr id="11929" name="Google Shape;11929;p1: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buSzPts val="1400"/>
            </a:pPr>
            <a:fld id="{00000000-1234-1234-1234-123412341234}" type="slidenum">
              <a:rPr lang="en-US"/>
              <a:pPr algn="r">
                <a:buSzPts val="1400"/>
              </a:pPr>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algn="r" defTabSz="942289">
              <a:buClrTx/>
              <a:defRPr/>
            </a:pPr>
            <a:fld id="{B34269AA-627C-42DE-BD87-07E9A748A053}" type="slidenum">
              <a:rPr lang="en-US" sz="1200" kern="1200">
                <a:solidFill>
                  <a:prstClr val="black"/>
                </a:solidFill>
                <a:latin typeface="Calibri" panose="020F0502020204030204"/>
                <a:ea typeface="+mn-ea"/>
                <a:cs typeface="+mn-cs"/>
              </a:rPr>
              <a:pPr algn="r" defTabSz="942289">
                <a:buClrTx/>
                <a:defRPr/>
              </a:pPr>
              <a:t>17</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588412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74"/>
        <p:cNvGrpSpPr/>
        <p:nvPr/>
      </p:nvGrpSpPr>
      <p:grpSpPr>
        <a:xfrm>
          <a:off x="0" y="0"/>
          <a:ext cx="0" cy="0"/>
          <a:chOff x="0" y="0"/>
          <a:chExt cx="0" cy="0"/>
        </a:xfrm>
      </p:grpSpPr>
      <p:sp>
        <p:nvSpPr>
          <p:cNvPr id="12675" name="Google Shape;12675;p1189:notes"/>
          <p:cNvSpPr txBox="1">
            <a:spLocks noGrp="1"/>
          </p:cNvSpPr>
          <p:nvPr>
            <p:ph type="body" idx="1"/>
          </p:nvPr>
        </p:nvSpPr>
        <p:spPr>
          <a:xfrm>
            <a:off x="710248" y="4518204"/>
            <a:ext cx="5681980" cy="3696712"/>
          </a:xfrm>
          <a:prstGeom prst="rect">
            <a:avLst/>
          </a:prstGeom>
        </p:spPr>
        <p:txBody>
          <a:bodyPr spcFirstLastPara="1" wrap="square" lIns="94213" tIns="47094" rIns="94213" bIns="47094" anchor="t" anchorCtr="0">
            <a:noAutofit/>
          </a:bodyPr>
          <a:lstStyle/>
          <a:p>
            <a:pPr marL="0" indent="0"/>
            <a:endParaRPr/>
          </a:p>
        </p:txBody>
      </p:sp>
      <p:sp>
        <p:nvSpPr>
          <p:cNvPr id="12676" name="Google Shape;12676;p1189: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IDET</a:t>
            </a:r>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37</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8572237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38</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3790269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steering team and subgroups</a:t>
            </a:r>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39</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350761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40</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613239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41</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622460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ucture ; steering</a:t>
            </a:r>
            <a:r>
              <a:rPr lang="en-US" baseline="0" dirty="0"/>
              <a:t> team with workgroups</a:t>
            </a:r>
          </a:p>
          <a:p>
            <a:endParaRPr lang="en-US" baseline="0"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42</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153599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ad in bold</a:t>
            </a:r>
          </a:p>
          <a:p>
            <a:r>
              <a:rPr lang="en-US" dirty="0"/>
              <a:t>Meet 2x / month.</a:t>
            </a:r>
            <a:r>
              <a:rPr lang="en-US" baseline="0" dirty="0"/>
              <a:t>  Minimum of 1.  Email communication as well</a:t>
            </a:r>
          </a:p>
          <a:p>
            <a:endParaRPr lang="en-US" dirty="0"/>
          </a:p>
          <a:p>
            <a:r>
              <a:rPr lang="en-US" dirty="0"/>
              <a:t>Respectful care PDSA</a:t>
            </a:r>
            <a:r>
              <a:rPr lang="en-US" baseline="0" dirty="0"/>
              <a:t> respectful care breakfast to gain insight as ‘plan’ stage?</a:t>
            </a:r>
          </a:p>
          <a:p>
            <a:endParaRPr lang="en-US" baseline="0" dirty="0"/>
          </a:p>
          <a:p>
            <a:r>
              <a:rPr lang="en-US" baseline="0" dirty="0"/>
              <a:t>Collaborate with unit PC, CN meetings, tower CN </a:t>
            </a:r>
            <a:r>
              <a:rPr lang="en-US" baseline="0" dirty="0" err="1"/>
              <a:t>mtg</a:t>
            </a:r>
            <a:r>
              <a:rPr lang="en-US" baseline="0" dirty="0"/>
              <a:t> etc.</a:t>
            </a:r>
            <a:endParaRPr lang="en-US" dirty="0"/>
          </a:p>
          <a:p>
            <a:endParaRPr lang="en-US"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43</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1199904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iorities=</a:t>
            </a:r>
            <a:r>
              <a:rPr lang="en-US" baseline="0" dirty="0"/>
              <a:t> quantitative and qualitative data for baseline Quarter 1 2024 while working implement other elements.</a:t>
            </a:r>
            <a:endParaRPr lang="en-US" dirty="0"/>
          </a:p>
          <a:p>
            <a:endParaRPr lang="en-US" baseline="0" dirty="0"/>
          </a:p>
          <a:p>
            <a:r>
              <a:rPr lang="en-US" b="1" baseline="0" dirty="0"/>
              <a:t>Doula</a:t>
            </a:r>
            <a:r>
              <a:rPr lang="en-US" baseline="0" dirty="0"/>
              <a:t> – explore provider/staff barriers.  Define ‘high risk cesarean’ for which doula not able to attend</a:t>
            </a:r>
          </a:p>
          <a:p>
            <a:pPr marL="0" indent="0" defTabSz="942289">
              <a:buClrTx/>
              <a:buSzTx/>
              <a:defRPr/>
            </a:pPr>
            <a:endParaRPr lang="en-US" dirty="0"/>
          </a:p>
          <a:p>
            <a:r>
              <a:rPr lang="en-US" dirty="0"/>
              <a:t>Workgroups to explore literature and other PNQ</a:t>
            </a:r>
            <a:r>
              <a:rPr lang="en-US" baseline="0" dirty="0"/>
              <a:t> state initiatives (CMQCC, Florida and Illinois powerful programs). Many ideas to achieve this, you don’t have to come up with really just explore and bring to steering team options to decide and move forward.   </a:t>
            </a:r>
            <a:endParaRPr lang="en-US" dirty="0"/>
          </a:p>
          <a:p>
            <a:pPr marL="0" indent="0" defTabSz="942289">
              <a:buClrTx/>
              <a:buSzTx/>
              <a:defRPr/>
            </a:pPr>
            <a:endParaRPr lang="en-US" dirty="0"/>
          </a:p>
        </p:txBody>
      </p:sp>
      <p:sp>
        <p:nvSpPr>
          <p:cNvPr id="4" name="Slide Number Placeholder 3"/>
          <p:cNvSpPr>
            <a:spLocks noGrp="1"/>
          </p:cNvSpPr>
          <p:nvPr>
            <p:ph type="sldNum" sz="quarter" idx="10"/>
          </p:nvPr>
        </p:nvSpPr>
        <p:spPr/>
        <p:txBody>
          <a:bodyPr/>
          <a:lstStyle/>
          <a:p>
            <a:pPr algn="r" defTabSz="942289">
              <a:buClrTx/>
              <a:defRPr/>
            </a:pPr>
            <a:fld id="{C84E4D7E-11B8-4137-AE59-F08EFD439C7B}" type="slidenum">
              <a:rPr lang="en-US" sz="1200" kern="1200">
                <a:solidFill>
                  <a:prstClr val="black"/>
                </a:solidFill>
                <a:latin typeface="Calibri" panose="020F0502020204030204"/>
                <a:ea typeface="+mn-ea"/>
                <a:cs typeface="+mn-cs"/>
              </a:rPr>
              <a:pPr algn="r" defTabSz="942289">
                <a:buClrTx/>
                <a:defRPr/>
              </a:pPr>
              <a:t>44</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38259131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34"/>
        <p:cNvGrpSpPr/>
        <p:nvPr/>
      </p:nvGrpSpPr>
      <p:grpSpPr>
        <a:xfrm>
          <a:off x="0" y="0"/>
          <a:ext cx="0" cy="0"/>
          <a:chOff x="0" y="0"/>
          <a:chExt cx="0" cy="0"/>
        </a:xfrm>
      </p:grpSpPr>
      <p:sp>
        <p:nvSpPr>
          <p:cNvPr id="11935" name="Google Shape;11935;p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936" name="Google Shape;11936;p2: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a:p>
            <a:pPr marL="0" indent="0"/>
            <a:endParaRPr/>
          </a:p>
        </p:txBody>
      </p:sp>
      <p:sp>
        <p:nvSpPr>
          <p:cNvPr id="11937" name="Google Shape;11937;p2: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buSzPts val="1200"/>
            </a:pPr>
            <a:fld id="{00000000-1234-1234-1234-123412341234}" type="slidenum">
              <a:rPr lang="en-US" sz="1200">
                <a:latin typeface="Calibri"/>
                <a:ea typeface="Calibri"/>
                <a:cs typeface="Calibri"/>
                <a:sym typeface="Calibri"/>
              </a:rPr>
              <a:pPr algn="r">
                <a:buSzPts val="1200"/>
              </a:pPr>
              <a:t>2</a:t>
            </a:fld>
            <a:endParaRPr sz="1200">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42289">
              <a:buClrTx/>
              <a:buSzTx/>
              <a:defRPr/>
            </a:pPr>
            <a:endParaRPr lang="en-US"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lgn="r" defTabSz="942289">
              <a:buClrTx/>
              <a:defRPr/>
            </a:pPr>
            <a:fld id="{15554F3E-D702-4CDD-A8EA-86C431D52FEC}" type="slidenum">
              <a:rPr lang="en-US" sz="1200" kern="1200">
                <a:solidFill>
                  <a:prstClr val="black"/>
                </a:solidFill>
                <a:latin typeface="Calibri" panose="020F0502020204030204"/>
                <a:ea typeface="+mn-ea"/>
                <a:cs typeface="+mn-cs"/>
              </a:rPr>
              <a:pPr algn="r" defTabSz="942289">
                <a:buClrTx/>
                <a:defRPr/>
              </a:pPr>
              <a:t>45</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5566098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42289">
              <a:buClrTx/>
              <a:buSzTx/>
              <a:defRPr/>
            </a:pPr>
            <a:endParaRPr lang="en-US"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lgn="r" defTabSz="942289">
              <a:buClrTx/>
              <a:defRPr/>
            </a:pPr>
            <a:fld id="{15554F3E-D702-4CDD-A8EA-86C431D52FEC}" type="slidenum">
              <a:rPr lang="en-US" sz="1200" kern="1200">
                <a:solidFill>
                  <a:prstClr val="black"/>
                </a:solidFill>
                <a:latin typeface="Calibri" panose="020F0502020204030204"/>
                <a:ea typeface="+mn-ea"/>
                <a:cs typeface="+mn-cs"/>
              </a:rPr>
              <a:pPr algn="r" defTabSz="942289">
                <a:buClrTx/>
                <a:defRPr/>
              </a:pPr>
              <a:t>46</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21888042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42289">
              <a:buClrTx/>
              <a:buSzTx/>
              <a:defRPr/>
            </a:pPr>
            <a:endParaRPr lang="en-US" kern="1200" dirty="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lgn="r" defTabSz="942289">
              <a:buClrTx/>
              <a:defRPr/>
            </a:pPr>
            <a:fld id="{15554F3E-D702-4CDD-A8EA-86C431D52FEC}" type="slidenum">
              <a:rPr lang="en-US" sz="1200" kern="1200">
                <a:solidFill>
                  <a:prstClr val="black"/>
                </a:solidFill>
                <a:latin typeface="Calibri" panose="020F0502020204030204"/>
                <a:ea typeface="+mn-ea"/>
                <a:cs typeface="+mn-cs"/>
              </a:rPr>
              <a:pPr algn="r" defTabSz="942289">
                <a:buClrTx/>
                <a:defRPr/>
              </a:pPr>
              <a:t>48</a:t>
            </a:fld>
            <a:endParaRPr lang="en-US" sz="1200" kern="1200">
              <a:solidFill>
                <a:prstClr val="black"/>
              </a:solidFill>
              <a:latin typeface="Calibri" panose="020F0502020204030204"/>
              <a:ea typeface="+mn-ea"/>
              <a:cs typeface="+mn-cs"/>
            </a:endParaRPr>
          </a:p>
        </p:txBody>
      </p:sp>
    </p:spTree>
    <p:extLst>
      <p:ext uri="{BB962C8B-B14F-4D97-AF65-F5344CB8AC3E}">
        <p14:creationId xmlns:p14="http://schemas.microsoft.com/office/powerpoint/2010/main" val="3365557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0"/>
        <p:cNvGrpSpPr/>
        <p:nvPr/>
      </p:nvGrpSpPr>
      <p:grpSpPr>
        <a:xfrm>
          <a:off x="0" y="0"/>
          <a:ext cx="0" cy="0"/>
          <a:chOff x="0" y="0"/>
          <a:chExt cx="0" cy="0"/>
        </a:xfrm>
      </p:grpSpPr>
      <p:sp>
        <p:nvSpPr>
          <p:cNvPr id="12681" name="Google Shape;12681;p36: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p:txBody>
      </p:sp>
      <p:sp>
        <p:nvSpPr>
          <p:cNvPr id="12682" name="Google Shape;12682;p3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6"/>
        <p:cNvGrpSpPr/>
        <p:nvPr/>
      </p:nvGrpSpPr>
      <p:grpSpPr>
        <a:xfrm>
          <a:off x="0" y="0"/>
          <a:ext cx="0" cy="0"/>
          <a:chOff x="0" y="0"/>
          <a:chExt cx="0" cy="0"/>
        </a:xfrm>
      </p:grpSpPr>
      <p:sp>
        <p:nvSpPr>
          <p:cNvPr id="12687" name="Google Shape;12687;p1190:notes"/>
          <p:cNvSpPr txBox="1">
            <a:spLocks noGrp="1"/>
          </p:cNvSpPr>
          <p:nvPr>
            <p:ph type="body" idx="1"/>
          </p:nvPr>
        </p:nvSpPr>
        <p:spPr>
          <a:xfrm>
            <a:off x="710248" y="4518204"/>
            <a:ext cx="5681980" cy="3696712"/>
          </a:xfrm>
          <a:prstGeom prst="rect">
            <a:avLst/>
          </a:prstGeom>
        </p:spPr>
        <p:txBody>
          <a:bodyPr spcFirstLastPara="1" wrap="square" lIns="94213" tIns="47094" rIns="94213" bIns="47094" anchor="t" anchorCtr="0">
            <a:noAutofit/>
          </a:bodyPr>
          <a:lstStyle/>
          <a:p>
            <a:pPr marL="0" indent="0"/>
            <a:endParaRPr/>
          </a:p>
        </p:txBody>
      </p:sp>
      <p:sp>
        <p:nvSpPr>
          <p:cNvPr id="12688" name="Google Shape;12688;p119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93"/>
        <p:cNvGrpSpPr/>
        <p:nvPr/>
      </p:nvGrpSpPr>
      <p:grpSpPr>
        <a:xfrm>
          <a:off x="0" y="0"/>
          <a:ext cx="0" cy="0"/>
          <a:chOff x="0" y="0"/>
          <a:chExt cx="0" cy="0"/>
        </a:xfrm>
      </p:grpSpPr>
      <p:sp>
        <p:nvSpPr>
          <p:cNvPr id="12694" name="Google Shape;12694;p41: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p:txBody>
      </p:sp>
      <p:sp>
        <p:nvSpPr>
          <p:cNvPr id="12695" name="Google Shape;12695;p4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09"/>
        <p:cNvGrpSpPr/>
        <p:nvPr/>
      </p:nvGrpSpPr>
      <p:grpSpPr>
        <a:xfrm>
          <a:off x="0" y="0"/>
          <a:ext cx="0" cy="0"/>
          <a:chOff x="0" y="0"/>
          <a:chExt cx="0" cy="0"/>
        </a:xfrm>
      </p:grpSpPr>
      <p:sp>
        <p:nvSpPr>
          <p:cNvPr id="12710" name="Google Shape;12710;p4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11" name="Google Shape;12711;p42: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p:txBody>
      </p:sp>
      <p:sp>
        <p:nvSpPr>
          <p:cNvPr id="12712" name="Google Shape;12712;p42: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buSzPts val="1400"/>
            </a:pPr>
            <a:fld id="{00000000-1234-1234-1234-123412341234}" type="slidenum">
              <a:rPr lang="en-US"/>
              <a:pPr algn="r">
                <a:buSzPts val="1400"/>
              </a:pPr>
              <a:t>67</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19"/>
        <p:cNvGrpSpPr/>
        <p:nvPr/>
      </p:nvGrpSpPr>
      <p:grpSpPr>
        <a:xfrm>
          <a:off x="0" y="0"/>
          <a:ext cx="0" cy="0"/>
          <a:chOff x="0" y="0"/>
          <a:chExt cx="0" cy="0"/>
        </a:xfrm>
      </p:grpSpPr>
      <p:sp>
        <p:nvSpPr>
          <p:cNvPr id="12720" name="Google Shape;12720;p119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21" name="Google Shape;12721;p1192:notes"/>
          <p:cNvSpPr txBox="1">
            <a:spLocks noGrp="1"/>
          </p:cNvSpPr>
          <p:nvPr>
            <p:ph type="body" idx="1"/>
          </p:nvPr>
        </p:nvSpPr>
        <p:spPr>
          <a:xfrm>
            <a:off x="710248" y="4518204"/>
            <a:ext cx="5681980" cy="3696866"/>
          </a:xfrm>
          <a:prstGeom prst="rect">
            <a:avLst/>
          </a:prstGeom>
          <a:noFill/>
          <a:ln>
            <a:noFill/>
          </a:ln>
        </p:spPr>
        <p:txBody>
          <a:bodyPr spcFirstLastPara="1" wrap="square" lIns="94213" tIns="47094" rIns="94213" bIns="47094" anchor="t" anchorCtr="0">
            <a:noAutofit/>
          </a:bodyPr>
          <a:lstStyle/>
          <a:p>
            <a:pPr marL="0" indent="0"/>
            <a:endParaRPr/>
          </a:p>
        </p:txBody>
      </p:sp>
      <p:sp>
        <p:nvSpPr>
          <p:cNvPr id="12722" name="Google Shape;12722;p1192:notes"/>
          <p:cNvSpPr txBox="1">
            <a:spLocks noGrp="1"/>
          </p:cNvSpPr>
          <p:nvPr>
            <p:ph type="sldNum" idx="12"/>
          </p:nvPr>
        </p:nvSpPr>
        <p:spPr>
          <a:xfrm>
            <a:off x="4023092" y="8917422"/>
            <a:ext cx="3077739" cy="470964"/>
          </a:xfrm>
          <a:prstGeom prst="rect">
            <a:avLst/>
          </a:prstGeom>
          <a:noFill/>
          <a:ln>
            <a:noFill/>
          </a:ln>
        </p:spPr>
        <p:txBody>
          <a:bodyPr spcFirstLastPara="1" wrap="square" lIns="94213" tIns="47094" rIns="94213" bIns="47094" anchor="b" anchorCtr="0">
            <a:noAutofit/>
          </a:bodyPr>
          <a:lstStyle/>
          <a:p>
            <a:pPr algn="r">
              <a:buSzPts val="1400"/>
            </a:pPr>
            <a:fld id="{00000000-1234-1234-1234-123412341234}" type="slidenum">
              <a:rPr lang="en-US"/>
              <a:pPr algn="r">
                <a:buSzPts val="1400"/>
              </a:pPr>
              <a:t>68</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51"/>
        <p:cNvGrpSpPr/>
        <p:nvPr/>
      </p:nvGrpSpPr>
      <p:grpSpPr>
        <a:xfrm>
          <a:off x="0" y="0"/>
          <a:ext cx="0" cy="0"/>
          <a:chOff x="0" y="0"/>
          <a:chExt cx="0" cy="0"/>
        </a:xfrm>
      </p:grpSpPr>
      <p:sp>
        <p:nvSpPr>
          <p:cNvPr id="11952" name="Google Shape;11952;p5:notes"/>
          <p:cNvSpPr txBox="1">
            <a:spLocks noGrp="1"/>
          </p:cNvSpPr>
          <p:nvPr>
            <p:ph type="body" idx="1"/>
          </p:nvPr>
        </p:nvSpPr>
        <p:spPr>
          <a:xfrm>
            <a:off x="710248" y="4518204"/>
            <a:ext cx="5681980" cy="3696712"/>
          </a:xfrm>
          <a:prstGeom prst="rect">
            <a:avLst/>
          </a:prstGeom>
        </p:spPr>
        <p:txBody>
          <a:bodyPr spcFirstLastPara="1" wrap="square" lIns="94213" tIns="47094" rIns="94213" bIns="47094" anchor="t" anchorCtr="0">
            <a:noAutofit/>
          </a:bodyPr>
          <a:lstStyle/>
          <a:p>
            <a:pPr marL="0" indent="0"/>
            <a:endParaRPr/>
          </a:p>
        </p:txBody>
      </p:sp>
      <p:sp>
        <p:nvSpPr>
          <p:cNvPr id="11953" name="Google Shape;11953;p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you have a patient partner identified by </a:t>
            </a:r>
            <a:r>
              <a:rPr lang="en-US" dirty="0" err="1"/>
              <a:t>april</a:t>
            </a:r>
            <a:r>
              <a:rPr lang="en-US" dirty="0"/>
              <a:t> 15th? If no, when do you expect to have a patient partner identified by? What barriers are you experiencing (use phrasing from </a:t>
            </a:r>
            <a:r>
              <a:rPr lang="en-US" dirty="0" err="1"/>
              <a:t>feb</a:t>
            </a:r>
            <a:r>
              <a:rPr lang="en-US" dirty="0"/>
              <a:t> webinar)</a:t>
            </a:r>
          </a:p>
          <a:p>
            <a:r>
              <a:rPr lang="en-US" dirty="0"/>
              <a:t>Will you have held your first respectful care breakfast by </a:t>
            </a:r>
            <a:r>
              <a:rPr lang="en-US" dirty="0" err="1"/>
              <a:t>april</a:t>
            </a:r>
            <a:r>
              <a:rPr lang="en-US" dirty="0"/>
              <a:t> 15th? if not, when? </a:t>
            </a:r>
          </a:p>
          <a:p>
            <a:r>
              <a:rPr lang="en-US" dirty="0"/>
              <a:t>Will you plan to have all data submitted by </a:t>
            </a:r>
            <a:r>
              <a:rPr lang="en-US" dirty="0" err="1"/>
              <a:t>april</a:t>
            </a:r>
            <a:r>
              <a:rPr lang="en-US" dirty="0"/>
              <a:t> 15th? If not, share barriers</a:t>
            </a:r>
          </a:p>
          <a:p>
            <a:r>
              <a:rPr lang="en-US" dirty="0"/>
              <a:t>Prem survey 10%? </a:t>
            </a:r>
          </a:p>
        </p:txBody>
      </p:sp>
      <p:sp>
        <p:nvSpPr>
          <p:cNvPr id="4" name="Slide Number Placeholder 3"/>
          <p:cNvSpPr>
            <a:spLocks noGrp="1"/>
          </p:cNvSpPr>
          <p:nvPr>
            <p:ph type="sldNum" idx="12"/>
          </p:nvPr>
        </p:nvSpPr>
        <p:spPr/>
        <p:txBody>
          <a:bodyPr/>
          <a:lstStyle/>
          <a:p>
            <a:pPr algn="r">
              <a:buSzPts val="1200"/>
            </a:pPr>
            <a:fld id="{00000000-1234-1234-1234-123412341234}" type="slidenum">
              <a:rPr lang="en-US" sz="1200">
                <a:solidFill>
                  <a:schemeClr val="dk1"/>
                </a:solidFill>
                <a:latin typeface="Calibri"/>
                <a:ea typeface="Calibri"/>
                <a:cs typeface="Calibri"/>
                <a:sym typeface="Calibri"/>
              </a:rPr>
              <a:pPr algn="r">
                <a:buSzPts val="1200"/>
              </a:pPr>
              <a:t>8</a:t>
            </a:fld>
            <a:endParaRPr lang="en-US"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564569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84"/>
        <p:cNvGrpSpPr/>
        <p:nvPr/>
      </p:nvGrpSpPr>
      <p:grpSpPr>
        <a:xfrm>
          <a:off x="0" y="0"/>
          <a:ext cx="0" cy="0"/>
          <a:chOff x="0" y="0"/>
          <a:chExt cx="0" cy="0"/>
        </a:xfrm>
      </p:grpSpPr>
      <p:sp>
        <p:nvSpPr>
          <p:cNvPr id="12085" name="Google Shape;12085;p6: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p:txBody>
      </p:sp>
      <p:sp>
        <p:nvSpPr>
          <p:cNvPr id="12086" name="Google Shape;12086;p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78088" y="552450"/>
            <a:ext cx="4914900" cy="2763838"/>
          </a:xfrm>
        </p:spPr>
      </p:sp>
      <p:sp>
        <p:nvSpPr>
          <p:cNvPr id="3" name="Notes Placeholder 2"/>
          <p:cNvSpPr>
            <a:spLocks noGrp="1"/>
          </p:cNvSpPr>
          <p:nvPr>
            <p:ph type="body" idx="1"/>
          </p:nvPr>
        </p:nvSpPr>
        <p:spPr/>
        <p:txBody>
          <a:bodyPr/>
          <a:lstStyle/>
          <a:p>
            <a:endParaRPr lang="en-US"/>
          </a:p>
          <a:p>
            <a:r>
              <a:rPr lang="en-US"/>
              <a:t>Optimize race/ethnicity data collection and review key maternal quality data by race, ethnicity and Medicaid status</a:t>
            </a:r>
          </a:p>
          <a:p>
            <a:r>
              <a:rPr lang="en-US"/>
              <a:t>Universal social determinants of health screening tool (prenatal/L&amp;D) with system for linkage to appropriate resources </a:t>
            </a:r>
          </a:p>
          <a:p>
            <a:r>
              <a:rPr lang="en-US"/>
              <a:t>Share respectful care practices on L&amp;D and survey patients before discharge on their care experience (using the PREM tool) for feedback</a:t>
            </a:r>
          </a:p>
          <a:p>
            <a:r>
              <a:rPr lang="en-US"/>
              <a:t>Engage patients and community members for input on quality improvement efforts</a:t>
            </a:r>
          </a:p>
          <a:p>
            <a:r>
              <a:rPr lang="en-US"/>
              <a:t>Standardize postpartum safety education and schedule early postpartum follow up prior to hospital discharge</a:t>
            </a:r>
          </a:p>
          <a:p>
            <a:r>
              <a:rPr lang="en-US"/>
              <a:t>Implicit Bias / Respectful Care training for providers, nurses and other staff</a:t>
            </a:r>
          </a:p>
          <a:p>
            <a:endParaRPr lang="en-US"/>
          </a:p>
          <a:p>
            <a:endParaRPr lang="en-US"/>
          </a:p>
        </p:txBody>
      </p:sp>
      <p:sp>
        <p:nvSpPr>
          <p:cNvPr id="4" name="Slide Number Placeholder 3"/>
          <p:cNvSpPr>
            <a:spLocks noGrp="1"/>
          </p:cNvSpPr>
          <p:nvPr>
            <p:ph type="sldNum" sz="quarter" idx="10"/>
          </p:nvPr>
        </p:nvSpPr>
        <p:spPr/>
        <p:txBody>
          <a:bodyPr/>
          <a:lstStyle/>
          <a:p>
            <a:pPr algn="r" defTabSz="968014" fontAlgn="base">
              <a:spcBef>
                <a:spcPct val="0"/>
              </a:spcBef>
              <a:spcAft>
                <a:spcPct val="0"/>
              </a:spcAft>
              <a:buClrTx/>
              <a:defRPr/>
            </a:pPr>
            <a:fld id="{8BC8628B-D017-4ABD-84D4-3F37B064EA7E}" type="slidenum">
              <a:rPr lang="en-US" altLang="en-US" sz="1200" kern="1200">
                <a:solidFill>
                  <a:prstClr val="black"/>
                </a:solidFill>
                <a:latin typeface="Calibri" pitchFamily="34" charset="0"/>
                <a:ea typeface="MS PGothic" pitchFamily="34" charset="-128"/>
                <a:cs typeface="+mn-cs"/>
              </a:rPr>
              <a:pPr algn="r" defTabSz="968014" fontAlgn="base">
                <a:spcBef>
                  <a:spcPct val="0"/>
                </a:spcBef>
                <a:spcAft>
                  <a:spcPct val="0"/>
                </a:spcAft>
                <a:buClrTx/>
                <a:defRPr/>
              </a:pPr>
              <a:t>13</a:t>
            </a:fld>
            <a:endParaRPr lang="en-US" altLang="en-US" sz="1200" kern="1200">
              <a:solidFill>
                <a:prstClr val="black"/>
              </a:solidFill>
              <a:latin typeface="Calibri" pitchFamily="34" charset="0"/>
              <a:ea typeface="MS PGothic" pitchFamily="34" charset="-128"/>
              <a:cs typeface="+mn-cs"/>
            </a:endParaRPr>
          </a:p>
        </p:txBody>
      </p:sp>
    </p:spTree>
    <p:extLst>
      <p:ext uri="{BB962C8B-B14F-4D97-AF65-F5344CB8AC3E}">
        <p14:creationId xmlns:p14="http://schemas.microsoft.com/office/powerpoint/2010/main" val="1852366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67"/>
        <p:cNvGrpSpPr/>
        <p:nvPr/>
      </p:nvGrpSpPr>
      <p:grpSpPr>
        <a:xfrm>
          <a:off x="0" y="0"/>
          <a:ext cx="0" cy="0"/>
          <a:chOff x="0" y="0"/>
          <a:chExt cx="0" cy="0"/>
        </a:xfrm>
      </p:grpSpPr>
      <p:sp>
        <p:nvSpPr>
          <p:cNvPr id="12168" name="Google Shape;12168;p1143:notes"/>
          <p:cNvSpPr txBox="1">
            <a:spLocks noGrp="1"/>
          </p:cNvSpPr>
          <p:nvPr>
            <p:ph type="body" idx="1"/>
          </p:nvPr>
        </p:nvSpPr>
        <p:spPr>
          <a:xfrm>
            <a:off x="710248" y="4518204"/>
            <a:ext cx="5681980" cy="3696712"/>
          </a:xfrm>
          <a:prstGeom prst="rect">
            <a:avLst/>
          </a:prstGeom>
        </p:spPr>
        <p:txBody>
          <a:bodyPr spcFirstLastPara="1" wrap="square" lIns="94213" tIns="47094" rIns="94213" bIns="47094" anchor="t" anchorCtr="0">
            <a:noAutofit/>
          </a:bodyPr>
          <a:lstStyle/>
          <a:p>
            <a:pPr marL="0" indent="0"/>
            <a:endParaRPr/>
          </a:p>
        </p:txBody>
      </p:sp>
      <p:sp>
        <p:nvSpPr>
          <p:cNvPr id="12169" name="Google Shape;12169;p114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175"/>
        <p:cNvGrpSpPr/>
        <p:nvPr/>
      </p:nvGrpSpPr>
      <p:grpSpPr>
        <a:xfrm>
          <a:off x="0" y="0"/>
          <a:ext cx="0" cy="0"/>
          <a:chOff x="0" y="0"/>
          <a:chExt cx="0" cy="0"/>
        </a:xfrm>
      </p:grpSpPr>
      <p:sp>
        <p:nvSpPr>
          <p:cNvPr id="12176" name="Google Shape;12176;p114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177" name="Google Shape;12177;p1144: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endParaRPr/>
          </a:p>
        </p:txBody>
      </p:sp>
      <p:sp>
        <p:nvSpPr>
          <p:cNvPr id="12178" name="Google Shape;12178;p1144: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buSzPts val="1400"/>
            </a:pPr>
            <a:fld id="{00000000-1234-1234-1234-123412341234}" type="slidenum">
              <a:rPr lang="en-US"/>
              <a:pPr algn="r">
                <a:buSzPts val="1400"/>
              </a:pPr>
              <a:t>15</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03"/>
        <p:cNvGrpSpPr/>
        <p:nvPr/>
      </p:nvGrpSpPr>
      <p:grpSpPr>
        <a:xfrm>
          <a:off x="0" y="0"/>
          <a:ext cx="0" cy="0"/>
          <a:chOff x="0" y="0"/>
          <a:chExt cx="0" cy="0"/>
        </a:xfrm>
      </p:grpSpPr>
      <p:sp>
        <p:nvSpPr>
          <p:cNvPr id="12204" name="Google Shape;12204;p1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205" name="Google Shape;12205;p13: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buClr>
                <a:schemeClr val="dk1"/>
              </a:buClr>
              <a:buSzPts val="1200"/>
            </a:pPr>
            <a:endParaRPr/>
          </a:p>
          <a:p>
            <a:pPr marL="0" indent="0">
              <a:buClr>
                <a:schemeClr val="dk1"/>
              </a:buClr>
              <a:buSzPts val="1200"/>
            </a:pPr>
            <a:endParaRPr/>
          </a:p>
        </p:txBody>
      </p:sp>
      <p:sp>
        <p:nvSpPr>
          <p:cNvPr id="12206" name="Google Shape;12206;p13: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a:buClr>
                <a:schemeClr val="dk1"/>
              </a:buClr>
              <a:buSzPts val="1200"/>
            </a:pPr>
            <a:fld id="{00000000-1234-1234-1234-123412341234}" type="slidenum">
              <a:rPr lang="en-US"/>
              <a:pPr algn="r">
                <a:buClr>
                  <a:schemeClr val="dk1"/>
                </a:buClr>
                <a:buSzPts val="1200"/>
              </a:pPr>
              <a:t>16</a:t>
            </a:fld>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4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5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6.xml"/><Relationship Id="rId1" Type="http://schemas.openxmlformats.org/officeDocument/2006/relationships/tags" Target="../tags/tag1.xml"/></Relationships>
</file>

<file path=ppt/slideLayouts/_rels/slideLayout127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7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27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7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8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6.xml"/><Relationship Id="rId1" Type="http://schemas.openxmlformats.org/officeDocument/2006/relationships/tags" Target="../tags/tag2.xml"/><Relationship Id="rId6" Type="http://schemas.openxmlformats.org/officeDocument/2006/relationships/image" Target="../media/image77.emf"/><Relationship Id="rId5" Type="http://schemas.openxmlformats.org/officeDocument/2006/relationships/image" Target="../media/image76.emf"/><Relationship Id="rId4" Type="http://schemas.openxmlformats.org/officeDocument/2006/relationships/image" Target="../media/image75.emf"/></Relationships>
</file>

<file path=ppt/slideLayouts/_rels/slideLayout128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75.emf"/><Relationship Id="rId4" Type="http://schemas.openxmlformats.org/officeDocument/2006/relationships/oleObject" Target="../embeddings/oleObject2.bin"/></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6.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6.xml"/></Relationships>
</file>

<file path=ppt/slideLayouts/_rels/slideLayout12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9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29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6.xml"/><Relationship Id="rId1" Type="http://schemas.openxmlformats.org/officeDocument/2006/relationships/tags" Target="../tags/tag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6.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75.emf"/><Relationship Id="rId4" Type="http://schemas.openxmlformats.org/officeDocument/2006/relationships/oleObject" Target="../embeddings/oleObject4.bin"/></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3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6.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3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39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39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39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3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2.svg"/></Relationships>
</file>

<file path=ppt/slideLayouts/_rels/slideLayout140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4.svg"/></Relationships>
</file>

<file path=ppt/slideLayouts/_rels/slideLayout14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73.svg"/></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82.png"/><Relationship Id="rId1" Type="http://schemas.openxmlformats.org/officeDocument/2006/relationships/slideMaster" Target="../slideMasters/slideMaster7.xml"/><Relationship Id="rId4" Type="http://schemas.openxmlformats.org/officeDocument/2006/relationships/image" Target="../media/image73.svg"/></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7.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Master" Target="../slideMasters/slideMaster9.xml"/></Relationships>
</file>

<file path=ppt/slideLayouts/_rels/slideLayout1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4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9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4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0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50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5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1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5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15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5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5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6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57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5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8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5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5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0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160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0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6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6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6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6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6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164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4.xml"/></Relationships>
</file>

<file path=ppt/slideLayouts/_rels/slideLayout16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4.xml"/></Relationships>
</file>

<file path=ppt/slideLayouts/_rels/slideLayout164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14.xml"/></Relationships>
</file>

<file path=ppt/slideLayouts/_rels/slideLayout16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16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6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6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4.xml"/></Relationships>
</file>

<file path=ppt/slideLayouts/_rels/slideLayout16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4.xml"/></Relationships>
</file>

<file path=ppt/slideLayouts/_rels/slideLayout16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16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6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6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4.xml"/></Relationships>
</file>

<file path=ppt/slideLayouts/_rels/slideLayout16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4.xml"/></Relationships>
</file>

<file path=ppt/slideLayouts/_rels/slideLayout16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16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16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4.xml"/></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165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6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4.xml"/></Relationships>
</file>

<file path=ppt/slideLayouts/_rels/slideLayout166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166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66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66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6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66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66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6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6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7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7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6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6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8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4.xml"/><Relationship Id="rId1" Type="http://schemas.openxmlformats.org/officeDocument/2006/relationships/tags" Target="../tags/tag9.xml"/><Relationship Id="rId6" Type="http://schemas.openxmlformats.org/officeDocument/2006/relationships/image" Target="../media/image77.emf"/><Relationship Id="rId5" Type="http://schemas.openxmlformats.org/officeDocument/2006/relationships/image" Target="../media/image76.emf"/><Relationship Id="rId4" Type="http://schemas.openxmlformats.org/officeDocument/2006/relationships/image" Target="../media/image75.emf"/></Relationships>
</file>

<file path=ppt/slideLayouts/_rels/slideLayout1689.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37.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8.bin"/><Relationship Id="rId5" Type="http://schemas.openxmlformats.org/officeDocument/2006/relationships/image" Target="../media/image75.emf"/><Relationship Id="rId4" Type="http://schemas.openxmlformats.org/officeDocument/2006/relationships/oleObject" Target="../embeddings/oleObject7.bin"/></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6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6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6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69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6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6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6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7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170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17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7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7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7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4.xml"/></Relationships>
</file>

<file path=ppt/slideLayouts/_rels/slideLayout17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17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7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7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3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7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7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5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6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7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6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77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7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7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8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7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4.xml"/></Relationships>
</file>

<file path=ppt/slideLayouts/_rels/slideLayout179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79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79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4.xml"/></Relationships>
</file>

<file path=ppt/slideLayouts/_rels/slideLayout17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7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8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8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80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8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8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8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8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8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8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8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8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4.xml"/></Relationships>
</file>

<file path=ppt/slideLayouts/_rels/slideLayout185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85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6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4.xml"/></Relationships>
</file>

<file path=ppt/slideLayouts/_rels/slideLayout186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86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86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4.xml"/></Relationships>
</file>

<file path=ppt/slideLayouts/_rels/slideLayout18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8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8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18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87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8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7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4.xml"/><Relationship Id="rId1" Type="http://schemas.openxmlformats.org/officeDocument/2006/relationships/tags" Target="../tags/tag13.xml"/><Relationship Id="rId6" Type="http://schemas.openxmlformats.org/officeDocument/2006/relationships/image" Target="../media/image77.emf"/><Relationship Id="rId5" Type="http://schemas.openxmlformats.org/officeDocument/2006/relationships/image" Target="../media/image76.emf"/><Relationship Id="rId4" Type="http://schemas.openxmlformats.org/officeDocument/2006/relationships/image" Target="../media/image75.emf"/></Relationships>
</file>

<file path=ppt/slideLayouts/_rels/slideLayout1878.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37.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1.bin"/><Relationship Id="rId5" Type="http://schemas.openxmlformats.org/officeDocument/2006/relationships/image" Target="../media/image75.emf"/><Relationship Id="rId4" Type="http://schemas.openxmlformats.org/officeDocument/2006/relationships/oleObject" Target="../embeddings/oleObject10.bin"/></Relationships>
</file>

<file path=ppt/slideLayouts/_rels/slideLayout18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8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38.png"/><Relationship Id="rId1" Type="http://schemas.openxmlformats.org/officeDocument/2006/relationships/slideMaster" Target="../slideMasters/slideMaster14.xml"/></Relationships>
</file>

<file path=ppt/slideLayouts/_rels/slideLayout18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188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4.xml"/></Relationships>
</file>

<file path=ppt/slideLayouts/_rels/slideLayout188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188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188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88.png"/><Relationship Id="rId1" Type="http://schemas.openxmlformats.org/officeDocument/2006/relationships/slideMaster" Target="../slideMasters/slideMaster14.xml"/></Relationships>
</file>

<file path=ppt/slideLayouts/_rels/slideLayout188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88.png"/><Relationship Id="rId1" Type="http://schemas.openxmlformats.org/officeDocument/2006/relationships/slideMaster" Target="../slideMasters/slideMaster14.xml"/></Relationships>
</file>

<file path=ppt/slideLayouts/_rels/slideLayout188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188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9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18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89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189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89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89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897.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6.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3.bin"/><Relationship Id="rId5" Type="http://schemas.openxmlformats.org/officeDocument/2006/relationships/image" Target="../media/image75.emf"/><Relationship Id="rId4" Type="http://schemas.openxmlformats.org/officeDocument/2006/relationships/oleObject" Target="../embeddings/oleObject12.bin"/></Relationships>
</file>

<file path=ppt/slideLayouts/_rels/slideLayout18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0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14.xml"/><Relationship Id="rId1" Type="http://schemas.openxmlformats.org/officeDocument/2006/relationships/tags" Target="../tags/tag18.xml"/></Relationships>
</file>

<file path=ppt/slideLayouts/_rels/slideLayout19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9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9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90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14.xml"/><Relationship Id="rId1" Type="http://schemas.openxmlformats.org/officeDocument/2006/relationships/tags" Target="../tags/tag19.xml"/></Relationships>
</file>

<file path=ppt/slideLayouts/_rels/slideLayout190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14.xml"/><Relationship Id="rId1" Type="http://schemas.openxmlformats.org/officeDocument/2006/relationships/tags" Target="../tags/tag20.xml"/></Relationships>
</file>

<file path=ppt/slideLayouts/_rels/slideLayout19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9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9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9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9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92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Master" Target="../slideMasters/slideMaster14.xml"/></Relationships>
</file>

<file path=ppt/slideLayouts/_rels/slideLayout1922.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14.xml"/></Relationships>
</file>

<file path=ppt/slideLayouts/_rels/slideLayout192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192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4.xml"/></Relationships>
</file>

<file path=ppt/slideLayouts/_rels/slideLayout19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4.xml"/></Relationships>
</file>

<file path=ppt/slideLayouts/_rels/slideLayout19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14.xml"/></Relationships>
</file>

<file path=ppt/slideLayouts/_rels/slideLayout19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94.png"/><Relationship Id="rId1" Type="http://schemas.openxmlformats.org/officeDocument/2006/relationships/slideMaster" Target="../slideMasters/slideMaster14.xml"/></Relationships>
</file>

<file path=ppt/slideLayouts/_rels/slideLayout19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192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3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93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4.xml"/></Relationships>
</file>

<file path=ppt/slideLayouts/_rels/slideLayout1932.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56.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5.bin"/><Relationship Id="rId5" Type="http://schemas.openxmlformats.org/officeDocument/2006/relationships/image" Target="../media/image75.emf"/><Relationship Id="rId4" Type="http://schemas.openxmlformats.org/officeDocument/2006/relationships/oleObject" Target="../embeddings/oleObject14.bin"/></Relationships>
</file>

<file path=ppt/slideLayouts/_rels/slideLayout19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19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9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19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14.xml"/><Relationship Id="rId1" Type="http://schemas.openxmlformats.org/officeDocument/2006/relationships/tags" Target="../tags/tag23.xml"/></Relationships>
</file>

<file path=ppt/slideLayouts/_rels/slideLayout19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Master" Target="../slideMasters/slideMaster14.xml"/><Relationship Id="rId1" Type="http://schemas.openxmlformats.org/officeDocument/2006/relationships/tags" Target="../tags/tag2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9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9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2.svg"/></Relationships>
</file>

<file path=ppt/slideLayouts/_rels/slideLayout19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4.svg"/></Relationships>
</file>

<file path=ppt/slideLayouts/_rels/slideLayout19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14.xml"/><Relationship Id="rId4" Type="http://schemas.openxmlformats.org/officeDocument/2006/relationships/image" Target="../media/image73.svg"/></Relationships>
</file>

<file path=ppt/slideLayouts/_rels/slideLayout19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9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4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9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5"/>
          <p:cNvSpPr>
            <a:spLocks noGrp="1"/>
          </p:cNvSpPr>
          <p:nvPr>
            <p:ph type="pic" idx="2"/>
          </p:nvPr>
        </p:nvSpPr>
        <p:spPr>
          <a:xfrm>
            <a:off x="7118684" y="233915"/>
            <a:ext cx="5073316" cy="5943600"/>
          </a:xfrm>
          <a:prstGeom prst="rect">
            <a:avLst/>
          </a:prstGeom>
          <a:noFill/>
          <a:ln>
            <a:noFill/>
          </a:ln>
        </p:spPr>
      </p:sp>
      <p:grpSp>
        <p:nvGrpSpPr>
          <p:cNvPr id="19" name="Google Shape;19;p45"/>
          <p:cNvGrpSpPr/>
          <p:nvPr/>
        </p:nvGrpSpPr>
        <p:grpSpPr>
          <a:xfrm>
            <a:off x="0" y="5020348"/>
            <a:ext cx="12192000" cy="1837653"/>
            <a:chOff x="0" y="5020348"/>
            <a:chExt cx="12192000" cy="1837653"/>
          </a:xfrm>
        </p:grpSpPr>
        <p:sp>
          <p:nvSpPr>
            <p:cNvPr id="20" name="Google Shape;20;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11"/>
        <p:cNvGrpSpPr/>
        <p:nvPr/>
      </p:nvGrpSpPr>
      <p:grpSpPr>
        <a:xfrm>
          <a:off x="0" y="0"/>
          <a:ext cx="0" cy="0"/>
          <a:chOff x="0" y="0"/>
          <a:chExt cx="0" cy="0"/>
        </a:xfrm>
      </p:grpSpPr>
      <p:grpSp>
        <p:nvGrpSpPr>
          <p:cNvPr id="112" name="Google Shape;112;p61"/>
          <p:cNvGrpSpPr/>
          <p:nvPr/>
        </p:nvGrpSpPr>
        <p:grpSpPr>
          <a:xfrm>
            <a:off x="7191542" y="1"/>
            <a:ext cx="5000459" cy="1425992"/>
            <a:chOff x="7191542" y="1"/>
            <a:chExt cx="5000459" cy="1425992"/>
          </a:xfrm>
        </p:grpSpPr>
        <p:pic>
          <p:nvPicPr>
            <p:cNvPr id="113" name="Google Shape;113;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 name="Google Shape;114;p61"/>
            <p:cNvGrpSpPr/>
            <p:nvPr/>
          </p:nvGrpSpPr>
          <p:grpSpPr>
            <a:xfrm>
              <a:off x="7191542" y="1"/>
              <a:ext cx="5000459" cy="1425992"/>
              <a:chOff x="7186272" y="0"/>
              <a:chExt cx="5005729" cy="1427495"/>
            </a:xfrm>
          </p:grpSpPr>
          <p:sp>
            <p:nvSpPr>
              <p:cNvPr id="115" name="Google Shape;115;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 name="Google Shape;116;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 name="Google Shape;117;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 name="Google Shape;118;p6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 name="Google Shape;120;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 name="Google Shape;121;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64"/>
        <p:cNvGrpSpPr/>
        <p:nvPr/>
      </p:nvGrpSpPr>
      <p:grpSpPr>
        <a:xfrm>
          <a:off x="0" y="0"/>
          <a:ext cx="0" cy="0"/>
          <a:chOff x="0" y="0"/>
          <a:chExt cx="0" cy="0"/>
        </a:xfrm>
      </p:grpSpPr>
      <p:sp>
        <p:nvSpPr>
          <p:cNvPr id="1065" name="Google Shape;10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66" name="Google Shape;10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7" name="Google Shape;10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8" name="Google Shape;1068;p157"/>
          <p:cNvGrpSpPr/>
          <p:nvPr/>
        </p:nvGrpSpPr>
        <p:grpSpPr>
          <a:xfrm>
            <a:off x="7191542" y="1"/>
            <a:ext cx="5000459" cy="1425992"/>
            <a:chOff x="7191542" y="1"/>
            <a:chExt cx="5000459" cy="1425992"/>
          </a:xfrm>
        </p:grpSpPr>
        <p:pic>
          <p:nvPicPr>
            <p:cNvPr id="1069" name="Google Shape;1069;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0" name="Google Shape;1070;p157"/>
            <p:cNvGrpSpPr/>
            <p:nvPr/>
          </p:nvGrpSpPr>
          <p:grpSpPr>
            <a:xfrm>
              <a:off x="7191542" y="1"/>
              <a:ext cx="5000459" cy="1425992"/>
              <a:chOff x="7186272" y="0"/>
              <a:chExt cx="5005729" cy="1427495"/>
            </a:xfrm>
          </p:grpSpPr>
          <p:sp>
            <p:nvSpPr>
              <p:cNvPr id="1071" name="Google Shape;1071;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2" name="Google Shape;1072;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10362"/>
        <p:cNvGrpSpPr/>
        <p:nvPr/>
      </p:nvGrpSpPr>
      <p:grpSpPr>
        <a:xfrm>
          <a:off x="0" y="0"/>
          <a:ext cx="0" cy="0"/>
          <a:chOff x="0" y="0"/>
          <a:chExt cx="0" cy="0"/>
        </a:xfrm>
      </p:grpSpPr>
      <p:sp>
        <p:nvSpPr>
          <p:cNvPr id="10363" name="Google Shape;10363;p13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64" name="Google Shape;10364;p13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65" name="Google Shape;10365;p13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66" name="Google Shape;10366;p13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67" name="Google Shape;10367;p1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68" name="Google Shape;10368;p1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69" name="Google Shape;10369;p1362"/>
          <p:cNvGrpSpPr/>
          <p:nvPr/>
        </p:nvGrpSpPr>
        <p:grpSpPr>
          <a:xfrm>
            <a:off x="7191542" y="1"/>
            <a:ext cx="5000459" cy="1425992"/>
            <a:chOff x="7191542" y="1"/>
            <a:chExt cx="5000459" cy="1425992"/>
          </a:xfrm>
        </p:grpSpPr>
        <p:pic>
          <p:nvPicPr>
            <p:cNvPr id="10370" name="Google Shape;10370;p1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71" name="Google Shape;10371;p1362"/>
            <p:cNvGrpSpPr/>
            <p:nvPr/>
          </p:nvGrpSpPr>
          <p:grpSpPr>
            <a:xfrm>
              <a:off x="7191542" y="1"/>
              <a:ext cx="5000459" cy="1425992"/>
              <a:chOff x="7186272" y="0"/>
              <a:chExt cx="5005729" cy="1427495"/>
            </a:xfrm>
          </p:grpSpPr>
          <p:sp>
            <p:nvSpPr>
              <p:cNvPr id="10372" name="Google Shape;10372;p1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73" name="Google Shape;10373;p1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374" name="Google Shape;10374;p136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375"/>
        <p:cNvGrpSpPr/>
        <p:nvPr/>
      </p:nvGrpSpPr>
      <p:grpSpPr>
        <a:xfrm>
          <a:off x="0" y="0"/>
          <a:ext cx="0" cy="0"/>
          <a:chOff x="0" y="0"/>
          <a:chExt cx="0" cy="0"/>
        </a:xfrm>
      </p:grpSpPr>
      <p:sp>
        <p:nvSpPr>
          <p:cNvPr id="10376" name="Google Shape;10376;p13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77" name="Google Shape;10377;p13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78" name="Google Shape;10378;p13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79" name="Google Shape;10379;p1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80" name="Google Shape;10380;p1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81" name="Google Shape;10381;p1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82" name="Google Shape;10382;p1363"/>
          <p:cNvGrpSpPr/>
          <p:nvPr/>
        </p:nvGrpSpPr>
        <p:grpSpPr>
          <a:xfrm>
            <a:off x="7191542" y="1"/>
            <a:ext cx="5000459" cy="1425992"/>
            <a:chOff x="7191542" y="1"/>
            <a:chExt cx="5000459" cy="1425992"/>
          </a:xfrm>
        </p:grpSpPr>
        <p:pic>
          <p:nvPicPr>
            <p:cNvPr id="10383" name="Google Shape;10383;p1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84" name="Google Shape;10384;p1363"/>
            <p:cNvGrpSpPr/>
            <p:nvPr/>
          </p:nvGrpSpPr>
          <p:grpSpPr>
            <a:xfrm>
              <a:off x="7191542" y="1"/>
              <a:ext cx="5000459" cy="1425992"/>
              <a:chOff x="7186272" y="0"/>
              <a:chExt cx="5005729" cy="1427495"/>
            </a:xfrm>
          </p:grpSpPr>
          <p:sp>
            <p:nvSpPr>
              <p:cNvPr id="10385" name="Google Shape;10385;p1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86" name="Google Shape;10386;p1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387" name="Google Shape;10387;p136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0388"/>
        <p:cNvGrpSpPr/>
        <p:nvPr/>
      </p:nvGrpSpPr>
      <p:grpSpPr>
        <a:xfrm>
          <a:off x="0" y="0"/>
          <a:ext cx="0" cy="0"/>
          <a:chOff x="0" y="0"/>
          <a:chExt cx="0" cy="0"/>
        </a:xfrm>
      </p:grpSpPr>
      <p:grpSp>
        <p:nvGrpSpPr>
          <p:cNvPr id="10389" name="Google Shape;10389;p910"/>
          <p:cNvGrpSpPr/>
          <p:nvPr/>
        </p:nvGrpSpPr>
        <p:grpSpPr>
          <a:xfrm>
            <a:off x="7191542" y="1"/>
            <a:ext cx="5000459" cy="1425992"/>
            <a:chOff x="7191542" y="1"/>
            <a:chExt cx="5000459" cy="1425992"/>
          </a:xfrm>
        </p:grpSpPr>
        <p:pic>
          <p:nvPicPr>
            <p:cNvPr id="10390" name="Google Shape;10390;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1" name="Google Shape;10391;p910"/>
            <p:cNvGrpSpPr/>
            <p:nvPr/>
          </p:nvGrpSpPr>
          <p:grpSpPr>
            <a:xfrm>
              <a:off x="7191542" y="1"/>
              <a:ext cx="5000459" cy="1425992"/>
              <a:chOff x="7186272" y="0"/>
              <a:chExt cx="5005729" cy="1427495"/>
            </a:xfrm>
          </p:grpSpPr>
          <p:sp>
            <p:nvSpPr>
              <p:cNvPr id="10392" name="Google Shape;10392;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93" name="Google Shape;10393;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394" name="Google Shape;10394;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5" name="Google Shape;10395;p9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96" name="Google Shape;10396;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97" name="Google Shape;10397;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8" name="Google Shape;10398;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10399"/>
        <p:cNvGrpSpPr/>
        <p:nvPr/>
      </p:nvGrpSpPr>
      <p:grpSpPr>
        <a:xfrm>
          <a:off x="0" y="0"/>
          <a:ext cx="0" cy="0"/>
          <a:chOff x="0" y="0"/>
          <a:chExt cx="0" cy="0"/>
        </a:xfrm>
      </p:grpSpPr>
      <p:sp>
        <p:nvSpPr>
          <p:cNvPr id="10400" name="Google Shape;10400;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01" name="Google Shape;10401;p9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02" name="Google Shape;10402;p911"/>
          <p:cNvGrpSpPr/>
          <p:nvPr/>
        </p:nvGrpSpPr>
        <p:grpSpPr>
          <a:xfrm>
            <a:off x="7191542" y="1"/>
            <a:ext cx="5000459" cy="1425992"/>
            <a:chOff x="7191542" y="1"/>
            <a:chExt cx="5000459" cy="1425992"/>
          </a:xfrm>
        </p:grpSpPr>
        <p:pic>
          <p:nvPicPr>
            <p:cNvPr id="10403" name="Google Shape;10403;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04" name="Google Shape;10404;p911"/>
            <p:cNvGrpSpPr/>
            <p:nvPr/>
          </p:nvGrpSpPr>
          <p:grpSpPr>
            <a:xfrm>
              <a:off x="7191542" y="1"/>
              <a:ext cx="5000459" cy="1425992"/>
              <a:chOff x="7186272" y="0"/>
              <a:chExt cx="5005729" cy="1427495"/>
            </a:xfrm>
          </p:grpSpPr>
          <p:sp>
            <p:nvSpPr>
              <p:cNvPr id="10405" name="Google Shape;10405;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06" name="Google Shape;10406;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407" name="Google Shape;10407;p9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8" name="Google Shape;10408;p9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09" name="Google Shape;10409;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10" name="Google Shape;10410;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11"/>
        <p:cNvGrpSpPr/>
        <p:nvPr/>
      </p:nvGrpSpPr>
      <p:grpSpPr>
        <a:xfrm>
          <a:off x="0" y="0"/>
          <a:ext cx="0" cy="0"/>
          <a:chOff x="0" y="0"/>
          <a:chExt cx="0" cy="0"/>
        </a:xfrm>
      </p:grpSpPr>
      <p:grpSp>
        <p:nvGrpSpPr>
          <p:cNvPr id="10412" name="Google Shape;10412;p1364"/>
          <p:cNvGrpSpPr/>
          <p:nvPr/>
        </p:nvGrpSpPr>
        <p:grpSpPr>
          <a:xfrm>
            <a:off x="7191542" y="1"/>
            <a:ext cx="5000459" cy="1425992"/>
            <a:chOff x="7191542" y="1"/>
            <a:chExt cx="5000459" cy="1425992"/>
          </a:xfrm>
        </p:grpSpPr>
        <p:pic>
          <p:nvPicPr>
            <p:cNvPr id="10413" name="Google Shape;10413;p1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14" name="Google Shape;10414;p1364"/>
            <p:cNvGrpSpPr/>
            <p:nvPr/>
          </p:nvGrpSpPr>
          <p:grpSpPr>
            <a:xfrm>
              <a:off x="7191542" y="1"/>
              <a:ext cx="5000459" cy="1425992"/>
              <a:chOff x="7186272" y="0"/>
              <a:chExt cx="5005729" cy="1427495"/>
            </a:xfrm>
          </p:grpSpPr>
          <p:sp>
            <p:nvSpPr>
              <p:cNvPr id="10415" name="Google Shape;10415;p1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16" name="Google Shape;10416;p1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417" name="Google Shape;10417;p13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18" name="Google Shape;10418;p13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19" name="Google Shape;10419;p13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0" name="Google Shape;10420;p13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21" name="Google Shape;10421;p13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2" name="Google Shape;10422;p1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23" name="Google Shape;10423;p1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4" name="Google Shape;10424;p1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425"/>
        <p:cNvGrpSpPr/>
        <p:nvPr/>
      </p:nvGrpSpPr>
      <p:grpSpPr>
        <a:xfrm>
          <a:off x="0" y="0"/>
          <a:ext cx="0" cy="0"/>
          <a:chOff x="0" y="0"/>
          <a:chExt cx="0" cy="0"/>
        </a:xfrm>
      </p:grpSpPr>
      <p:grpSp>
        <p:nvGrpSpPr>
          <p:cNvPr id="10426" name="Google Shape;10426;p913"/>
          <p:cNvGrpSpPr/>
          <p:nvPr/>
        </p:nvGrpSpPr>
        <p:grpSpPr>
          <a:xfrm>
            <a:off x="7191542" y="1"/>
            <a:ext cx="5000459" cy="1425992"/>
            <a:chOff x="7191542" y="1"/>
            <a:chExt cx="5000459" cy="1425992"/>
          </a:xfrm>
        </p:grpSpPr>
        <p:pic>
          <p:nvPicPr>
            <p:cNvPr id="10427" name="Google Shape;10427;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28" name="Google Shape;10428;p913"/>
            <p:cNvGrpSpPr/>
            <p:nvPr/>
          </p:nvGrpSpPr>
          <p:grpSpPr>
            <a:xfrm>
              <a:off x="7191542" y="1"/>
              <a:ext cx="5000459" cy="1425992"/>
              <a:chOff x="7186272" y="0"/>
              <a:chExt cx="5005729" cy="1427495"/>
            </a:xfrm>
          </p:grpSpPr>
          <p:sp>
            <p:nvSpPr>
              <p:cNvPr id="10429" name="Google Shape;10429;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30" name="Google Shape;10430;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431" name="Google Shape;10431;p9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2" name="Google Shape;10432;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33" name="Google Shape;10433;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34" name="Google Shape;10434;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435"/>
        <p:cNvGrpSpPr/>
        <p:nvPr/>
      </p:nvGrpSpPr>
      <p:grpSpPr>
        <a:xfrm>
          <a:off x="0" y="0"/>
          <a:ext cx="0" cy="0"/>
          <a:chOff x="0" y="0"/>
          <a:chExt cx="0" cy="0"/>
        </a:xfrm>
      </p:grpSpPr>
      <p:grpSp>
        <p:nvGrpSpPr>
          <p:cNvPr id="10436" name="Google Shape;10436;p914"/>
          <p:cNvGrpSpPr/>
          <p:nvPr/>
        </p:nvGrpSpPr>
        <p:grpSpPr>
          <a:xfrm>
            <a:off x="0" y="0"/>
            <a:ext cx="12192000" cy="2148830"/>
            <a:chOff x="0" y="0"/>
            <a:chExt cx="12192000" cy="2148830"/>
          </a:xfrm>
        </p:grpSpPr>
        <p:sp>
          <p:nvSpPr>
            <p:cNvPr id="10437" name="Google Shape;10437;p91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38" name="Google Shape;10438;p91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439" name="Google Shape;10439;p91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40" name="Google Shape;10440;p91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41" name="Google Shape;10441;p91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442" name="Google Shape;10442;p91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443" name="Google Shape;10443;p91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444"/>
        <p:cNvGrpSpPr/>
        <p:nvPr/>
      </p:nvGrpSpPr>
      <p:grpSpPr>
        <a:xfrm>
          <a:off x="0" y="0"/>
          <a:ext cx="0" cy="0"/>
          <a:chOff x="0" y="0"/>
          <a:chExt cx="0" cy="0"/>
        </a:xfrm>
      </p:grpSpPr>
      <p:sp>
        <p:nvSpPr>
          <p:cNvPr id="10445" name="Google Shape;10445;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46" name="Google Shape;10446;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7" name="Google Shape;10447;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48" name="Google Shape;10448;p915"/>
          <p:cNvGrpSpPr/>
          <p:nvPr/>
        </p:nvGrpSpPr>
        <p:grpSpPr>
          <a:xfrm>
            <a:off x="7191542" y="1"/>
            <a:ext cx="5000459" cy="1425992"/>
            <a:chOff x="7191542" y="1"/>
            <a:chExt cx="5000459" cy="1425992"/>
          </a:xfrm>
        </p:grpSpPr>
        <p:pic>
          <p:nvPicPr>
            <p:cNvPr id="10449" name="Google Shape;10449;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50" name="Google Shape;10450;p915"/>
            <p:cNvGrpSpPr/>
            <p:nvPr/>
          </p:nvGrpSpPr>
          <p:grpSpPr>
            <a:xfrm>
              <a:off x="7191542" y="1"/>
              <a:ext cx="5000459" cy="1425992"/>
              <a:chOff x="7186272" y="0"/>
              <a:chExt cx="5005729" cy="1427495"/>
            </a:xfrm>
          </p:grpSpPr>
          <p:sp>
            <p:nvSpPr>
              <p:cNvPr id="10451" name="Google Shape;10451;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52" name="Google Shape;10452;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0453"/>
        <p:cNvGrpSpPr/>
        <p:nvPr/>
      </p:nvGrpSpPr>
      <p:grpSpPr>
        <a:xfrm>
          <a:off x="0" y="0"/>
          <a:ext cx="0" cy="0"/>
          <a:chOff x="0" y="0"/>
          <a:chExt cx="0" cy="0"/>
        </a:xfrm>
      </p:grpSpPr>
      <p:sp>
        <p:nvSpPr>
          <p:cNvPr id="10454" name="Google Shape;10454;p136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55" name="Google Shape;10455;p136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0456" name="Google Shape;10456;p1365"/>
          <p:cNvGrpSpPr/>
          <p:nvPr/>
        </p:nvGrpSpPr>
        <p:grpSpPr>
          <a:xfrm flipH="1">
            <a:off x="-1" y="1"/>
            <a:ext cx="6418725" cy="1509822"/>
            <a:chOff x="7522541" y="1"/>
            <a:chExt cx="4669459" cy="1098357"/>
          </a:xfrm>
        </p:grpSpPr>
        <p:sp>
          <p:nvSpPr>
            <p:cNvPr id="10457" name="Google Shape;10457;p136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58" name="Google Shape;10458;p136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10459" name="Google Shape;10459;p13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10460"/>
        <p:cNvGrpSpPr/>
        <p:nvPr/>
      </p:nvGrpSpPr>
      <p:grpSpPr>
        <a:xfrm>
          <a:off x="0" y="0"/>
          <a:ext cx="0" cy="0"/>
          <a:chOff x="0" y="0"/>
          <a:chExt cx="0" cy="0"/>
        </a:xfrm>
      </p:grpSpPr>
      <p:grpSp>
        <p:nvGrpSpPr>
          <p:cNvPr id="10461" name="Google Shape;10461;p899"/>
          <p:cNvGrpSpPr/>
          <p:nvPr/>
        </p:nvGrpSpPr>
        <p:grpSpPr>
          <a:xfrm>
            <a:off x="0" y="5020347"/>
            <a:ext cx="12192000" cy="1837653"/>
            <a:chOff x="0" y="5020347"/>
            <a:chExt cx="12192000" cy="1837653"/>
          </a:xfrm>
        </p:grpSpPr>
        <p:sp>
          <p:nvSpPr>
            <p:cNvPr id="10462" name="Google Shape;10462;p8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63" name="Google Shape;10463;p8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64" name="Google Shape;10464;p8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465" name="Google Shape;10465;p8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66" name="Google Shape;10466;p8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67" name="Google Shape;10467;p8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73"/>
        <p:cNvGrpSpPr/>
        <p:nvPr/>
      </p:nvGrpSpPr>
      <p:grpSpPr>
        <a:xfrm>
          <a:off x="0" y="0"/>
          <a:ext cx="0" cy="0"/>
          <a:chOff x="0" y="0"/>
          <a:chExt cx="0" cy="0"/>
        </a:xfrm>
      </p:grpSpPr>
      <p:sp>
        <p:nvSpPr>
          <p:cNvPr id="1074" name="Google Shape;1074;p1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5" name="Google Shape;1075;p1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6" name="Google Shape;1076;p1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7" name="Google Shape;1077;p1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0" name="Google Shape;1080;p158"/>
          <p:cNvGrpSpPr/>
          <p:nvPr/>
        </p:nvGrpSpPr>
        <p:grpSpPr>
          <a:xfrm>
            <a:off x="7191542" y="1"/>
            <a:ext cx="5000459" cy="1425992"/>
            <a:chOff x="7191542" y="1"/>
            <a:chExt cx="5000459" cy="1425992"/>
          </a:xfrm>
        </p:grpSpPr>
        <p:pic>
          <p:nvPicPr>
            <p:cNvPr id="1081" name="Google Shape;1081;p1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 name="Google Shape;1082;p158"/>
            <p:cNvGrpSpPr/>
            <p:nvPr/>
          </p:nvGrpSpPr>
          <p:grpSpPr>
            <a:xfrm>
              <a:off x="7191542" y="1"/>
              <a:ext cx="5000459" cy="1425992"/>
              <a:chOff x="7186272" y="0"/>
              <a:chExt cx="5005729" cy="1427495"/>
            </a:xfrm>
          </p:grpSpPr>
          <p:sp>
            <p:nvSpPr>
              <p:cNvPr id="1083" name="Google Shape;1083;p1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84" name="Google Shape;1084;p1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85" name="Google Shape;1085;p1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0468"/>
        <p:cNvGrpSpPr/>
        <p:nvPr/>
      </p:nvGrpSpPr>
      <p:grpSpPr>
        <a:xfrm>
          <a:off x="0" y="0"/>
          <a:ext cx="0" cy="0"/>
          <a:chOff x="0" y="0"/>
          <a:chExt cx="0" cy="0"/>
        </a:xfrm>
      </p:grpSpPr>
      <p:sp>
        <p:nvSpPr>
          <p:cNvPr id="10469" name="Google Shape;10469;p8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70" name="Google Shape;10470;p8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71" name="Google Shape;10471;p898"/>
          <p:cNvGrpSpPr/>
          <p:nvPr/>
        </p:nvGrpSpPr>
        <p:grpSpPr>
          <a:xfrm>
            <a:off x="0" y="5379426"/>
            <a:ext cx="2807368" cy="753891"/>
            <a:chOff x="0" y="5379426"/>
            <a:chExt cx="2807368" cy="753891"/>
          </a:xfrm>
        </p:grpSpPr>
        <p:sp>
          <p:nvSpPr>
            <p:cNvPr id="10472" name="Google Shape;10472;p8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73" name="Google Shape;10473;p8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474" name="Google Shape;10474;p898"/>
          <p:cNvSpPr>
            <a:spLocks noGrp="1"/>
          </p:cNvSpPr>
          <p:nvPr>
            <p:ph type="pic" idx="2"/>
          </p:nvPr>
        </p:nvSpPr>
        <p:spPr>
          <a:xfrm>
            <a:off x="2807368" y="457202"/>
            <a:ext cx="8915400" cy="5943598"/>
          </a:xfrm>
          <a:prstGeom prst="rect">
            <a:avLst/>
          </a:prstGeom>
          <a:noFill/>
          <a:ln>
            <a:noFill/>
          </a:ln>
        </p:spPr>
      </p:sp>
      <p:pic>
        <p:nvPicPr>
          <p:cNvPr id="10475" name="Google Shape;10475;p89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10476"/>
        <p:cNvGrpSpPr/>
        <p:nvPr/>
      </p:nvGrpSpPr>
      <p:grpSpPr>
        <a:xfrm>
          <a:off x="0" y="0"/>
          <a:ext cx="0" cy="0"/>
          <a:chOff x="0" y="0"/>
          <a:chExt cx="0" cy="0"/>
        </a:xfrm>
      </p:grpSpPr>
      <p:sp>
        <p:nvSpPr>
          <p:cNvPr id="10477" name="Google Shape;10477;p9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78" name="Google Shape;10478;p9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79" name="Google Shape;10479;p9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80" name="Google Shape;10480;p900"/>
          <p:cNvSpPr>
            <a:spLocks noGrp="1"/>
          </p:cNvSpPr>
          <p:nvPr>
            <p:ph type="pic" idx="2"/>
          </p:nvPr>
        </p:nvSpPr>
        <p:spPr>
          <a:xfrm>
            <a:off x="7118684" y="233915"/>
            <a:ext cx="5073316" cy="5943600"/>
          </a:xfrm>
          <a:prstGeom prst="rect">
            <a:avLst/>
          </a:prstGeom>
          <a:noFill/>
          <a:ln>
            <a:noFill/>
          </a:ln>
        </p:spPr>
      </p:sp>
      <p:grpSp>
        <p:nvGrpSpPr>
          <p:cNvPr id="10481" name="Google Shape;10481;p900"/>
          <p:cNvGrpSpPr/>
          <p:nvPr/>
        </p:nvGrpSpPr>
        <p:grpSpPr>
          <a:xfrm>
            <a:off x="0" y="5020348"/>
            <a:ext cx="12192000" cy="1837653"/>
            <a:chOff x="0" y="5020348"/>
            <a:chExt cx="12192000" cy="1837653"/>
          </a:xfrm>
        </p:grpSpPr>
        <p:sp>
          <p:nvSpPr>
            <p:cNvPr id="10482" name="Google Shape;10482;p9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483" name="Google Shape;10483;p9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484" name="Google Shape;10484;p9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10485"/>
        <p:cNvGrpSpPr/>
        <p:nvPr/>
      </p:nvGrpSpPr>
      <p:grpSpPr>
        <a:xfrm>
          <a:off x="0" y="0"/>
          <a:ext cx="0" cy="0"/>
          <a:chOff x="0" y="0"/>
          <a:chExt cx="0" cy="0"/>
        </a:xfrm>
      </p:grpSpPr>
      <p:grpSp>
        <p:nvGrpSpPr>
          <p:cNvPr id="10486" name="Google Shape;10486;p1366"/>
          <p:cNvGrpSpPr/>
          <p:nvPr/>
        </p:nvGrpSpPr>
        <p:grpSpPr>
          <a:xfrm>
            <a:off x="7191542" y="1"/>
            <a:ext cx="5000459" cy="1425992"/>
            <a:chOff x="7191542" y="1"/>
            <a:chExt cx="5000459" cy="1425992"/>
          </a:xfrm>
        </p:grpSpPr>
        <p:pic>
          <p:nvPicPr>
            <p:cNvPr id="10487" name="Google Shape;10487;p1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88" name="Google Shape;10488;p1366"/>
            <p:cNvGrpSpPr/>
            <p:nvPr/>
          </p:nvGrpSpPr>
          <p:grpSpPr>
            <a:xfrm>
              <a:off x="7191542" y="1"/>
              <a:ext cx="5000459" cy="1425992"/>
              <a:chOff x="7186272" y="0"/>
              <a:chExt cx="5005729" cy="1427495"/>
            </a:xfrm>
          </p:grpSpPr>
          <p:sp>
            <p:nvSpPr>
              <p:cNvPr id="10489" name="Google Shape;10489;p1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490" name="Google Shape;10490;p1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491" name="Google Shape;10491;p1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2" name="Google Shape;10492;p1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93" name="Google Shape;10493;p1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494" name="Google Shape;10494;p1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5" name="Google Shape;10495;p1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496"/>
        <p:cNvGrpSpPr/>
        <p:nvPr/>
      </p:nvGrpSpPr>
      <p:grpSpPr>
        <a:xfrm>
          <a:off x="0" y="0"/>
          <a:ext cx="0" cy="0"/>
          <a:chOff x="0" y="0"/>
          <a:chExt cx="0" cy="0"/>
        </a:xfrm>
      </p:grpSpPr>
      <p:sp>
        <p:nvSpPr>
          <p:cNvPr id="10497" name="Google Shape;10497;p1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8" name="Google Shape;10498;p136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99" name="Google Shape;10499;p1367"/>
          <p:cNvGrpSpPr/>
          <p:nvPr/>
        </p:nvGrpSpPr>
        <p:grpSpPr>
          <a:xfrm>
            <a:off x="7191542" y="1"/>
            <a:ext cx="5000459" cy="1425992"/>
            <a:chOff x="7191542" y="1"/>
            <a:chExt cx="5000459" cy="1425992"/>
          </a:xfrm>
        </p:grpSpPr>
        <p:pic>
          <p:nvPicPr>
            <p:cNvPr id="10500" name="Google Shape;10500;p1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01" name="Google Shape;10501;p1367"/>
            <p:cNvGrpSpPr/>
            <p:nvPr/>
          </p:nvGrpSpPr>
          <p:grpSpPr>
            <a:xfrm>
              <a:off x="7191542" y="1"/>
              <a:ext cx="5000459" cy="1425992"/>
              <a:chOff x="7186272" y="0"/>
              <a:chExt cx="5005729" cy="1427495"/>
            </a:xfrm>
          </p:grpSpPr>
          <p:sp>
            <p:nvSpPr>
              <p:cNvPr id="10502" name="Google Shape;10502;p1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03" name="Google Shape;10503;p1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504" name="Google Shape;10504;p136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05" name="Google Shape;10505;p136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06" name="Google Shape;10506;p1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07" name="Google Shape;10507;p1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508"/>
        <p:cNvGrpSpPr/>
        <p:nvPr/>
      </p:nvGrpSpPr>
      <p:grpSpPr>
        <a:xfrm>
          <a:off x="0" y="0"/>
          <a:ext cx="0" cy="0"/>
          <a:chOff x="0" y="0"/>
          <a:chExt cx="0" cy="0"/>
        </a:xfrm>
      </p:grpSpPr>
      <p:grpSp>
        <p:nvGrpSpPr>
          <p:cNvPr id="10509" name="Google Shape;10509;p1368"/>
          <p:cNvGrpSpPr/>
          <p:nvPr/>
        </p:nvGrpSpPr>
        <p:grpSpPr>
          <a:xfrm>
            <a:off x="7191542" y="1"/>
            <a:ext cx="5000459" cy="1425992"/>
            <a:chOff x="7191542" y="1"/>
            <a:chExt cx="5000459" cy="1425992"/>
          </a:xfrm>
        </p:grpSpPr>
        <p:pic>
          <p:nvPicPr>
            <p:cNvPr id="10510" name="Google Shape;10510;p1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11" name="Google Shape;10511;p1368"/>
            <p:cNvGrpSpPr/>
            <p:nvPr/>
          </p:nvGrpSpPr>
          <p:grpSpPr>
            <a:xfrm>
              <a:off x="7191542" y="1"/>
              <a:ext cx="5000459" cy="1425992"/>
              <a:chOff x="7186272" y="0"/>
              <a:chExt cx="5005729" cy="1427495"/>
            </a:xfrm>
          </p:grpSpPr>
          <p:sp>
            <p:nvSpPr>
              <p:cNvPr id="10512" name="Google Shape;10512;p1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13" name="Google Shape;10513;p1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514" name="Google Shape;10514;p1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15" name="Google Shape;10515;p136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6" name="Google Shape;10516;p136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17" name="Google Shape;10517;p1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8" name="Google Shape;10518;p1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19" name="Google Shape;10519;p13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20" name="Google Shape;10520;p1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21" name="Google Shape;10521;p1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522"/>
        <p:cNvGrpSpPr/>
        <p:nvPr/>
      </p:nvGrpSpPr>
      <p:grpSpPr>
        <a:xfrm>
          <a:off x="0" y="0"/>
          <a:ext cx="0" cy="0"/>
          <a:chOff x="0" y="0"/>
          <a:chExt cx="0" cy="0"/>
        </a:xfrm>
      </p:grpSpPr>
      <p:sp>
        <p:nvSpPr>
          <p:cNvPr id="10523" name="Google Shape;10523;p136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524" name="Google Shape;10524;p136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25" name="Google Shape;10525;p13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6" name="Google Shape;10526;p13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27" name="Google Shape;10527;p1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28" name="Google Shape;10528;p13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29" name="Google Shape;10529;p1369"/>
          <p:cNvGrpSpPr/>
          <p:nvPr/>
        </p:nvGrpSpPr>
        <p:grpSpPr>
          <a:xfrm>
            <a:off x="7191542" y="1"/>
            <a:ext cx="5000459" cy="1425992"/>
            <a:chOff x="7191542" y="1"/>
            <a:chExt cx="5000459" cy="1425992"/>
          </a:xfrm>
        </p:grpSpPr>
        <p:pic>
          <p:nvPicPr>
            <p:cNvPr id="10530" name="Google Shape;10530;p1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1" name="Google Shape;10531;p1369"/>
            <p:cNvGrpSpPr/>
            <p:nvPr/>
          </p:nvGrpSpPr>
          <p:grpSpPr>
            <a:xfrm>
              <a:off x="7191542" y="1"/>
              <a:ext cx="5000459" cy="1425992"/>
              <a:chOff x="7186272" y="0"/>
              <a:chExt cx="5005729" cy="1427495"/>
            </a:xfrm>
          </p:grpSpPr>
          <p:sp>
            <p:nvSpPr>
              <p:cNvPr id="10532" name="Google Shape;10532;p1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33" name="Google Shape;10533;p1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534" name="Google Shape;10534;p136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535"/>
        <p:cNvGrpSpPr/>
        <p:nvPr/>
      </p:nvGrpSpPr>
      <p:grpSpPr>
        <a:xfrm>
          <a:off x="0" y="0"/>
          <a:ext cx="0" cy="0"/>
          <a:chOff x="0" y="0"/>
          <a:chExt cx="0" cy="0"/>
        </a:xfrm>
      </p:grpSpPr>
      <p:grpSp>
        <p:nvGrpSpPr>
          <p:cNvPr id="10536" name="Google Shape;10536;p1370"/>
          <p:cNvGrpSpPr/>
          <p:nvPr/>
        </p:nvGrpSpPr>
        <p:grpSpPr>
          <a:xfrm>
            <a:off x="0" y="0"/>
            <a:ext cx="12192000" cy="2148830"/>
            <a:chOff x="0" y="0"/>
            <a:chExt cx="12192000" cy="2148830"/>
          </a:xfrm>
        </p:grpSpPr>
        <p:sp>
          <p:nvSpPr>
            <p:cNvPr id="10537" name="Google Shape;10537;p1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38" name="Google Shape;10538;p1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539" name="Google Shape;10539;p137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540" name="Google Shape;10540;p137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1" name="Google Shape;10541;p137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42" name="Google Shape;10542;p137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543" name="Google Shape;10543;p137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44"/>
        <p:cNvGrpSpPr/>
        <p:nvPr/>
      </p:nvGrpSpPr>
      <p:grpSpPr>
        <a:xfrm>
          <a:off x="0" y="0"/>
          <a:ext cx="0" cy="0"/>
          <a:chOff x="0" y="0"/>
          <a:chExt cx="0" cy="0"/>
        </a:xfrm>
      </p:grpSpPr>
      <p:grpSp>
        <p:nvGrpSpPr>
          <p:cNvPr id="10545" name="Google Shape;10545;p1371"/>
          <p:cNvGrpSpPr/>
          <p:nvPr/>
        </p:nvGrpSpPr>
        <p:grpSpPr>
          <a:xfrm>
            <a:off x="7191542" y="1"/>
            <a:ext cx="5000459" cy="1425992"/>
            <a:chOff x="7191542" y="1"/>
            <a:chExt cx="5000459" cy="1425992"/>
          </a:xfrm>
        </p:grpSpPr>
        <p:pic>
          <p:nvPicPr>
            <p:cNvPr id="10546" name="Google Shape;10546;p1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47" name="Google Shape;10547;p1371"/>
            <p:cNvGrpSpPr/>
            <p:nvPr/>
          </p:nvGrpSpPr>
          <p:grpSpPr>
            <a:xfrm>
              <a:off x="7191542" y="1"/>
              <a:ext cx="5000459" cy="1425992"/>
              <a:chOff x="7186272" y="0"/>
              <a:chExt cx="5005729" cy="1427495"/>
            </a:xfrm>
          </p:grpSpPr>
          <p:sp>
            <p:nvSpPr>
              <p:cNvPr id="10548" name="Google Shape;10548;p1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49" name="Google Shape;10549;p1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550" name="Google Shape;10550;p13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51" name="Google Shape;10551;p13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2" name="Google Shape;10552;p1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3" name="Google Shape;10553;p1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0554"/>
        <p:cNvGrpSpPr/>
        <p:nvPr/>
      </p:nvGrpSpPr>
      <p:grpSpPr>
        <a:xfrm>
          <a:off x="0" y="0"/>
          <a:ext cx="0" cy="0"/>
          <a:chOff x="0" y="0"/>
          <a:chExt cx="0" cy="0"/>
        </a:xfrm>
      </p:grpSpPr>
      <p:sp>
        <p:nvSpPr>
          <p:cNvPr id="10555" name="Google Shape;10555;p13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556" name="Google Shape;10556;p13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57" name="Google Shape;10557;p13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58" name="Google Shape;10558;p13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59" name="Google Shape;10559;p1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0" name="Google Shape;10560;p1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61" name="Google Shape;10561;p1372"/>
          <p:cNvGrpSpPr/>
          <p:nvPr/>
        </p:nvGrpSpPr>
        <p:grpSpPr>
          <a:xfrm>
            <a:off x="7191542" y="1"/>
            <a:ext cx="5000459" cy="1425992"/>
            <a:chOff x="7191542" y="1"/>
            <a:chExt cx="5000459" cy="1425992"/>
          </a:xfrm>
        </p:grpSpPr>
        <p:pic>
          <p:nvPicPr>
            <p:cNvPr id="10562" name="Google Shape;10562;p1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63" name="Google Shape;10563;p1372"/>
            <p:cNvGrpSpPr/>
            <p:nvPr/>
          </p:nvGrpSpPr>
          <p:grpSpPr>
            <a:xfrm>
              <a:off x="7191542" y="1"/>
              <a:ext cx="5000459" cy="1425992"/>
              <a:chOff x="7186272" y="0"/>
              <a:chExt cx="5005729" cy="1427495"/>
            </a:xfrm>
          </p:grpSpPr>
          <p:sp>
            <p:nvSpPr>
              <p:cNvPr id="10564" name="Google Shape;10564;p1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65" name="Google Shape;10565;p1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566" name="Google Shape;10566;p13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0567"/>
        <p:cNvGrpSpPr/>
        <p:nvPr/>
      </p:nvGrpSpPr>
      <p:grpSpPr>
        <a:xfrm>
          <a:off x="0" y="0"/>
          <a:ext cx="0" cy="0"/>
          <a:chOff x="0" y="0"/>
          <a:chExt cx="0" cy="0"/>
        </a:xfrm>
      </p:grpSpPr>
      <p:sp>
        <p:nvSpPr>
          <p:cNvPr id="10568" name="Google Shape;10568;p13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569" name="Google Shape;10569;p13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70" name="Google Shape;10570;p13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71" name="Google Shape;10571;p13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72" name="Google Shape;10572;p1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73" name="Google Shape;10573;p1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74" name="Google Shape;10574;p1373"/>
          <p:cNvGrpSpPr/>
          <p:nvPr/>
        </p:nvGrpSpPr>
        <p:grpSpPr>
          <a:xfrm>
            <a:off x="7191542" y="1"/>
            <a:ext cx="5000459" cy="1425992"/>
            <a:chOff x="7191542" y="1"/>
            <a:chExt cx="5000459" cy="1425992"/>
          </a:xfrm>
        </p:grpSpPr>
        <p:pic>
          <p:nvPicPr>
            <p:cNvPr id="10575" name="Google Shape;10575;p1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76" name="Google Shape;10576;p1373"/>
            <p:cNvGrpSpPr/>
            <p:nvPr/>
          </p:nvGrpSpPr>
          <p:grpSpPr>
            <a:xfrm>
              <a:off x="7191542" y="1"/>
              <a:ext cx="5000459" cy="1425992"/>
              <a:chOff x="7186272" y="0"/>
              <a:chExt cx="5005729" cy="1427495"/>
            </a:xfrm>
          </p:grpSpPr>
          <p:sp>
            <p:nvSpPr>
              <p:cNvPr id="10577" name="Google Shape;10577;p1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78" name="Google Shape;10578;p1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579" name="Google Shape;10579;p137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86"/>
        <p:cNvGrpSpPr/>
        <p:nvPr/>
      </p:nvGrpSpPr>
      <p:grpSpPr>
        <a:xfrm>
          <a:off x="0" y="0"/>
          <a:ext cx="0" cy="0"/>
          <a:chOff x="0" y="0"/>
          <a:chExt cx="0" cy="0"/>
        </a:xfrm>
      </p:grpSpPr>
      <p:grpSp>
        <p:nvGrpSpPr>
          <p:cNvPr id="1087" name="Google Shape;1087;p159"/>
          <p:cNvGrpSpPr/>
          <p:nvPr/>
        </p:nvGrpSpPr>
        <p:grpSpPr>
          <a:xfrm>
            <a:off x="0" y="0"/>
            <a:ext cx="12192000" cy="2148830"/>
            <a:chOff x="0" y="0"/>
            <a:chExt cx="12192000" cy="2148830"/>
          </a:xfrm>
        </p:grpSpPr>
        <p:sp>
          <p:nvSpPr>
            <p:cNvPr id="1088" name="Google Shape;1088;p1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89" name="Google Shape;1089;p1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90" name="Google Shape;1090;p1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2" name="Google Shape;1092;p1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3" name="Google Shape;1093;p1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94" name="Google Shape;1094;p15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0580"/>
        <p:cNvGrpSpPr/>
        <p:nvPr/>
      </p:nvGrpSpPr>
      <p:grpSpPr>
        <a:xfrm>
          <a:off x="0" y="0"/>
          <a:ext cx="0" cy="0"/>
          <a:chOff x="0" y="0"/>
          <a:chExt cx="0" cy="0"/>
        </a:xfrm>
      </p:grpSpPr>
      <p:sp>
        <p:nvSpPr>
          <p:cNvPr id="10581" name="Google Shape;10581;p137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82" name="Google Shape;10582;p137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0583" name="Google Shape;10583;p137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584" name="Google Shape;10584;p137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0585" name="Google Shape;10585;p137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586" name="Google Shape;10586;p137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587" name="Google Shape;10587;p137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88" name="Google Shape;10588;p137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589" name="Google Shape;10589;p137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90" name="Google Shape;10590;p137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0591" name="Google Shape;10591;p137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0592"/>
        <p:cNvGrpSpPr/>
        <p:nvPr/>
      </p:nvGrpSpPr>
      <p:grpSpPr>
        <a:xfrm>
          <a:off x="0" y="0"/>
          <a:ext cx="0" cy="0"/>
          <a:chOff x="0" y="0"/>
          <a:chExt cx="0" cy="0"/>
        </a:xfrm>
      </p:grpSpPr>
      <p:sp>
        <p:nvSpPr>
          <p:cNvPr id="10593" name="Google Shape;10593;p13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594" name="Google Shape;10594;p13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95" name="Google Shape;10595;p13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96" name="Google Shape;10596;p13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97" name="Google Shape;10597;p1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8" name="Google Shape;10598;p1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99" name="Google Shape;10599;p1375"/>
          <p:cNvGrpSpPr/>
          <p:nvPr/>
        </p:nvGrpSpPr>
        <p:grpSpPr>
          <a:xfrm>
            <a:off x="7191542" y="1"/>
            <a:ext cx="5000459" cy="1425992"/>
            <a:chOff x="7191542" y="1"/>
            <a:chExt cx="5000459" cy="1425992"/>
          </a:xfrm>
        </p:grpSpPr>
        <p:pic>
          <p:nvPicPr>
            <p:cNvPr id="10600" name="Google Shape;10600;p13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1" name="Google Shape;10601;p1375"/>
            <p:cNvGrpSpPr/>
            <p:nvPr/>
          </p:nvGrpSpPr>
          <p:grpSpPr>
            <a:xfrm>
              <a:off x="7191542" y="1"/>
              <a:ext cx="5000459" cy="1425992"/>
              <a:chOff x="7186272" y="0"/>
              <a:chExt cx="5005729" cy="1427495"/>
            </a:xfrm>
          </p:grpSpPr>
          <p:sp>
            <p:nvSpPr>
              <p:cNvPr id="10602" name="Google Shape;10602;p1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03" name="Google Shape;10603;p1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604" name="Google Shape;10604;p137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605"/>
        <p:cNvGrpSpPr/>
        <p:nvPr/>
      </p:nvGrpSpPr>
      <p:grpSpPr>
        <a:xfrm>
          <a:off x="0" y="0"/>
          <a:ext cx="0" cy="0"/>
          <a:chOff x="0" y="0"/>
          <a:chExt cx="0" cy="0"/>
        </a:xfrm>
      </p:grpSpPr>
      <p:sp>
        <p:nvSpPr>
          <p:cNvPr id="10606" name="Google Shape;10606;p3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07" name="Google Shape;10607;p3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8" name="Google Shape;10608;p3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09" name="Google Shape;10609;p354"/>
          <p:cNvGrpSpPr/>
          <p:nvPr/>
        </p:nvGrpSpPr>
        <p:grpSpPr>
          <a:xfrm>
            <a:off x="7191542" y="1"/>
            <a:ext cx="5000459" cy="1425992"/>
            <a:chOff x="7191542" y="1"/>
            <a:chExt cx="5000459" cy="1425992"/>
          </a:xfrm>
        </p:grpSpPr>
        <p:pic>
          <p:nvPicPr>
            <p:cNvPr id="10610" name="Google Shape;10610;p3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1" name="Google Shape;10611;p354"/>
            <p:cNvGrpSpPr/>
            <p:nvPr/>
          </p:nvGrpSpPr>
          <p:grpSpPr>
            <a:xfrm>
              <a:off x="7191542" y="1"/>
              <a:ext cx="5000459" cy="1425992"/>
              <a:chOff x="7186272" y="0"/>
              <a:chExt cx="5005729" cy="1427495"/>
            </a:xfrm>
          </p:grpSpPr>
          <p:sp>
            <p:nvSpPr>
              <p:cNvPr id="10612" name="Google Shape;10612;p3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13" name="Google Shape;10613;p3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614"/>
        <p:cNvGrpSpPr/>
        <p:nvPr/>
      </p:nvGrpSpPr>
      <p:grpSpPr>
        <a:xfrm>
          <a:off x="0" y="0"/>
          <a:ext cx="0" cy="0"/>
          <a:chOff x="0" y="0"/>
          <a:chExt cx="0" cy="0"/>
        </a:xfrm>
      </p:grpSpPr>
      <p:sp>
        <p:nvSpPr>
          <p:cNvPr id="10615" name="Google Shape;10615;p13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16" name="Google Shape;10616;p13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17" name="Google Shape;10617;p13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18" name="Google Shape;10618;p13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19" name="Google Shape;10619;p1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20" name="Google Shape;10620;p1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21" name="Google Shape;10621;p1376"/>
          <p:cNvGrpSpPr/>
          <p:nvPr/>
        </p:nvGrpSpPr>
        <p:grpSpPr>
          <a:xfrm>
            <a:off x="7191542" y="1"/>
            <a:ext cx="5000459" cy="1425992"/>
            <a:chOff x="7191542" y="1"/>
            <a:chExt cx="5000459" cy="1425992"/>
          </a:xfrm>
        </p:grpSpPr>
        <p:pic>
          <p:nvPicPr>
            <p:cNvPr id="10622" name="Google Shape;10622;p13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3" name="Google Shape;10623;p1376"/>
            <p:cNvGrpSpPr/>
            <p:nvPr/>
          </p:nvGrpSpPr>
          <p:grpSpPr>
            <a:xfrm>
              <a:off x="7191542" y="1"/>
              <a:ext cx="5000459" cy="1425992"/>
              <a:chOff x="7186272" y="0"/>
              <a:chExt cx="5005729" cy="1427495"/>
            </a:xfrm>
          </p:grpSpPr>
          <p:sp>
            <p:nvSpPr>
              <p:cNvPr id="10624" name="Google Shape;10624;p1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25" name="Google Shape;10625;p1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626" name="Google Shape;10626;p13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0627"/>
        <p:cNvGrpSpPr/>
        <p:nvPr/>
      </p:nvGrpSpPr>
      <p:grpSpPr>
        <a:xfrm>
          <a:off x="0" y="0"/>
          <a:ext cx="0" cy="0"/>
          <a:chOff x="0" y="0"/>
          <a:chExt cx="0" cy="0"/>
        </a:xfrm>
      </p:grpSpPr>
      <p:sp>
        <p:nvSpPr>
          <p:cNvPr id="10628" name="Google Shape;10628;p13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29" name="Google Shape;10629;p13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30" name="Google Shape;10630;p13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1" name="Google Shape;10631;p13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32" name="Google Shape;10632;p1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33" name="Google Shape;10633;p1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34" name="Google Shape;10634;p1377"/>
          <p:cNvGrpSpPr/>
          <p:nvPr/>
        </p:nvGrpSpPr>
        <p:grpSpPr>
          <a:xfrm>
            <a:off x="7191542" y="1"/>
            <a:ext cx="5000459" cy="1425992"/>
            <a:chOff x="7191542" y="1"/>
            <a:chExt cx="5000459" cy="1425992"/>
          </a:xfrm>
        </p:grpSpPr>
        <p:pic>
          <p:nvPicPr>
            <p:cNvPr id="10635" name="Google Shape;10635;p1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36" name="Google Shape;10636;p1377"/>
            <p:cNvGrpSpPr/>
            <p:nvPr/>
          </p:nvGrpSpPr>
          <p:grpSpPr>
            <a:xfrm>
              <a:off x="7191542" y="1"/>
              <a:ext cx="5000459" cy="1425992"/>
              <a:chOff x="7186272" y="0"/>
              <a:chExt cx="5005729" cy="1427495"/>
            </a:xfrm>
          </p:grpSpPr>
          <p:sp>
            <p:nvSpPr>
              <p:cNvPr id="10637" name="Google Shape;10637;p1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38" name="Google Shape;10638;p1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639" name="Google Shape;10639;p13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0640"/>
        <p:cNvGrpSpPr/>
        <p:nvPr/>
      </p:nvGrpSpPr>
      <p:grpSpPr>
        <a:xfrm>
          <a:off x="0" y="0"/>
          <a:ext cx="0" cy="0"/>
          <a:chOff x="0" y="0"/>
          <a:chExt cx="0" cy="0"/>
        </a:xfrm>
      </p:grpSpPr>
      <p:sp>
        <p:nvSpPr>
          <p:cNvPr id="10641" name="Google Shape;10641;p1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42" name="Google Shape;10642;p1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3" name="Google Shape;10643;p1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4" name="Google Shape;10644;p1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45" name="Google Shape;10645;p1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46" name="Google Shape;10646;p1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47" name="Google Shape;10647;p1114"/>
          <p:cNvGrpSpPr/>
          <p:nvPr/>
        </p:nvGrpSpPr>
        <p:grpSpPr>
          <a:xfrm>
            <a:off x="7191542" y="1"/>
            <a:ext cx="5000459" cy="1425992"/>
            <a:chOff x="7191542" y="1"/>
            <a:chExt cx="5000459" cy="1425992"/>
          </a:xfrm>
        </p:grpSpPr>
        <p:pic>
          <p:nvPicPr>
            <p:cNvPr id="10648" name="Google Shape;10648;p1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49" name="Google Shape;10649;p1114"/>
            <p:cNvGrpSpPr/>
            <p:nvPr/>
          </p:nvGrpSpPr>
          <p:grpSpPr>
            <a:xfrm>
              <a:off x="7191542" y="1"/>
              <a:ext cx="5000459" cy="1425992"/>
              <a:chOff x="7186272" y="0"/>
              <a:chExt cx="5005729" cy="1427495"/>
            </a:xfrm>
          </p:grpSpPr>
          <p:sp>
            <p:nvSpPr>
              <p:cNvPr id="10650" name="Google Shape;10650;p1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51" name="Google Shape;10651;p1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652" name="Google Shape;10652;p1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0653"/>
        <p:cNvGrpSpPr/>
        <p:nvPr/>
      </p:nvGrpSpPr>
      <p:grpSpPr>
        <a:xfrm>
          <a:off x="0" y="0"/>
          <a:ext cx="0" cy="0"/>
          <a:chOff x="0" y="0"/>
          <a:chExt cx="0" cy="0"/>
        </a:xfrm>
      </p:grpSpPr>
      <p:sp>
        <p:nvSpPr>
          <p:cNvPr id="10654" name="Google Shape;10654;p13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55" name="Google Shape;10655;p13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6" name="Google Shape;10656;p13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57" name="Google Shape;10657;p13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58" name="Google Shape;10658;p1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59" name="Google Shape;10659;p1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60" name="Google Shape;10660;p1378"/>
          <p:cNvGrpSpPr/>
          <p:nvPr/>
        </p:nvGrpSpPr>
        <p:grpSpPr>
          <a:xfrm>
            <a:off x="7191542" y="1"/>
            <a:ext cx="5000459" cy="1425992"/>
            <a:chOff x="7191542" y="1"/>
            <a:chExt cx="5000459" cy="1425992"/>
          </a:xfrm>
        </p:grpSpPr>
        <p:pic>
          <p:nvPicPr>
            <p:cNvPr id="10661" name="Google Shape;10661;p1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62" name="Google Shape;10662;p1378"/>
            <p:cNvGrpSpPr/>
            <p:nvPr/>
          </p:nvGrpSpPr>
          <p:grpSpPr>
            <a:xfrm>
              <a:off x="7191542" y="1"/>
              <a:ext cx="5000459" cy="1425992"/>
              <a:chOff x="7186272" y="0"/>
              <a:chExt cx="5005729" cy="1427495"/>
            </a:xfrm>
          </p:grpSpPr>
          <p:sp>
            <p:nvSpPr>
              <p:cNvPr id="10663" name="Google Shape;10663;p1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664" name="Google Shape;10664;p1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665" name="Google Shape;10665;p13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666"/>
        <p:cNvGrpSpPr/>
        <p:nvPr/>
      </p:nvGrpSpPr>
      <p:grpSpPr>
        <a:xfrm>
          <a:off x="0" y="0"/>
          <a:ext cx="0" cy="0"/>
          <a:chOff x="0" y="0"/>
          <a:chExt cx="0" cy="0"/>
        </a:xfrm>
      </p:grpSpPr>
      <p:sp>
        <p:nvSpPr>
          <p:cNvPr id="10667" name="Google Shape;10667;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68" name="Google Shape;10668;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69" name="Google Shape;10669;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70" name="Google Shape;10670;p779"/>
          <p:cNvSpPr>
            <a:spLocks noGrp="1"/>
          </p:cNvSpPr>
          <p:nvPr>
            <p:ph type="pic" idx="2"/>
          </p:nvPr>
        </p:nvSpPr>
        <p:spPr>
          <a:xfrm>
            <a:off x="7118684" y="233915"/>
            <a:ext cx="5073316" cy="5943600"/>
          </a:xfrm>
          <a:prstGeom prst="rect">
            <a:avLst/>
          </a:prstGeom>
          <a:noFill/>
          <a:ln>
            <a:noFill/>
          </a:ln>
        </p:spPr>
      </p:sp>
      <p:grpSp>
        <p:nvGrpSpPr>
          <p:cNvPr id="10671" name="Google Shape;10671;p779"/>
          <p:cNvGrpSpPr/>
          <p:nvPr/>
        </p:nvGrpSpPr>
        <p:grpSpPr>
          <a:xfrm>
            <a:off x="0" y="5020348"/>
            <a:ext cx="12192000" cy="1837653"/>
            <a:chOff x="0" y="5020348"/>
            <a:chExt cx="12192000" cy="1837653"/>
          </a:xfrm>
        </p:grpSpPr>
        <p:sp>
          <p:nvSpPr>
            <p:cNvPr id="10672" name="Google Shape;10672;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73" name="Google Shape;10673;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674" name="Google Shape;10674;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675"/>
        <p:cNvGrpSpPr/>
        <p:nvPr/>
      </p:nvGrpSpPr>
      <p:grpSpPr>
        <a:xfrm>
          <a:off x="0" y="0"/>
          <a:ext cx="0" cy="0"/>
          <a:chOff x="0" y="0"/>
          <a:chExt cx="0" cy="0"/>
        </a:xfrm>
      </p:grpSpPr>
      <p:grpSp>
        <p:nvGrpSpPr>
          <p:cNvPr id="10676" name="Google Shape;10676;p816"/>
          <p:cNvGrpSpPr/>
          <p:nvPr/>
        </p:nvGrpSpPr>
        <p:grpSpPr>
          <a:xfrm>
            <a:off x="0" y="5020347"/>
            <a:ext cx="12192000" cy="1837653"/>
            <a:chOff x="0" y="5020347"/>
            <a:chExt cx="12192000" cy="1837653"/>
          </a:xfrm>
        </p:grpSpPr>
        <p:sp>
          <p:nvSpPr>
            <p:cNvPr id="10677" name="Google Shape;10677;p8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78" name="Google Shape;10678;p8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79" name="Google Shape;10679;p8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680" name="Google Shape;10680;p8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681" name="Google Shape;10681;p8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82" name="Google Shape;10682;p8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683"/>
        <p:cNvGrpSpPr/>
        <p:nvPr/>
      </p:nvGrpSpPr>
      <p:grpSpPr>
        <a:xfrm>
          <a:off x="0" y="0"/>
          <a:ext cx="0" cy="0"/>
          <a:chOff x="0" y="0"/>
          <a:chExt cx="0" cy="0"/>
        </a:xfrm>
      </p:grpSpPr>
      <p:sp>
        <p:nvSpPr>
          <p:cNvPr id="10684" name="Google Shape;10684;p78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85" name="Google Shape;10685;p7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686" name="Google Shape;10686;p783"/>
          <p:cNvGrpSpPr/>
          <p:nvPr/>
        </p:nvGrpSpPr>
        <p:grpSpPr>
          <a:xfrm>
            <a:off x="0" y="5379426"/>
            <a:ext cx="2807368" cy="753891"/>
            <a:chOff x="0" y="5379426"/>
            <a:chExt cx="2807368" cy="753891"/>
          </a:xfrm>
        </p:grpSpPr>
        <p:sp>
          <p:nvSpPr>
            <p:cNvPr id="10687" name="Google Shape;10687;p7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88" name="Google Shape;10688;p7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689" name="Google Shape;10689;p783"/>
          <p:cNvSpPr>
            <a:spLocks noGrp="1"/>
          </p:cNvSpPr>
          <p:nvPr>
            <p:ph type="pic" idx="2"/>
          </p:nvPr>
        </p:nvSpPr>
        <p:spPr>
          <a:xfrm>
            <a:off x="2807368" y="457202"/>
            <a:ext cx="8915400" cy="5943598"/>
          </a:xfrm>
          <a:prstGeom prst="rect">
            <a:avLst/>
          </a:prstGeom>
          <a:noFill/>
          <a:ln>
            <a:noFill/>
          </a:ln>
        </p:spPr>
      </p:sp>
      <p:pic>
        <p:nvPicPr>
          <p:cNvPr id="10690" name="Google Shape;10690;p78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95"/>
        <p:cNvGrpSpPr/>
        <p:nvPr/>
      </p:nvGrpSpPr>
      <p:grpSpPr>
        <a:xfrm>
          <a:off x="0" y="0"/>
          <a:ext cx="0" cy="0"/>
          <a:chOff x="0" y="0"/>
          <a:chExt cx="0" cy="0"/>
        </a:xfrm>
      </p:grpSpPr>
      <p:sp>
        <p:nvSpPr>
          <p:cNvPr id="1096" name="Google Shape;1096;p1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7" name="Google Shape;1097;p1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8" name="Google Shape;1098;p1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9" name="Google Shape;1099;p160"/>
          <p:cNvSpPr>
            <a:spLocks noGrp="1"/>
          </p:cNvSpPr>
          <p:nvPr>
            <p:ph type="pic" idx="2"/>
          </p:nvPr>
        </p:nvSpPr>
        <p:spPr>
          <a:xfrm>
            <a:off x="7118684" y="233915"/>
            <a:ext cx="5073316" cy="5943600"/>
          </a:xfrm>
          <a:prstGeom prst="rect">
            <a:avLst/>
          </a:prstGeom>
          <a:noFill/>
          <a:ln>
            <a:noFill/>
          </a:ln>
        </p:spPr>
      </p:sp>
      <p:grpSp>
        <p:nvGrpSpPr>
          <p:cNvPr id="1100" name="Google Shape;1100;p160"/>
          <p:cNvGrpSpPr/>
          <p:nvPr/>
        </p:nvGrpSpPr>
        <p:grpSpPr>
          <a:xfrm>
            <a:off x="0" y="5020348"/>
            <a:ext cx="12192000" cy="1837653"/>
            <a:chOff x="0" y="5020348"/>
            <a:chExt cx="12192000" cy="1837653"/>
          </a:xfrm>
        </p:grpSpPr>
        <p:sp>
          <p:nvSpPr>
            <p:cNvPr id="1101" name="Google Shape;1101;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2" name="Google Shape;1102;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3" name="Google Shape;1103;p1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0691"/>
        <p:cNvGrpSpPr/>
        <p:nvPr/>
      </p:nvGrpSpPr>
      <p:grpSpPr>
        <a:xfrm>
          <a:off x="0" y="0"/>
          <a:ext cx="0" cy="0"/>
          <a:chOff x="0" y="0"/>
          <a:chExt cx="0" cy="0"/>
        </a:xfrm>
      </p:grpSpPr>
      <p:sp>
        <p:nvSpPr>
          <p:cNvPr id="10692" name="Google Shape;10692;p13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693" name="Google Shape;10693;p13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94" name="Google Shape;10694;p13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95" name="Google Shape;10695;p13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96" name="Google Shape;10696;p1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97" name="Google Shape;10697;p1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98" name="Google Shape;10698;p1379"/>
          <p:cNvGrpSpPr/>
          <p:nvPr/>
        </p:nvGrpSpPr>
        <p:grpSpPr>
          <a:xfrm>
            <a:off x="7191542" y="1"/>
            <a:ext cx="5000459" cy="1425992"/>
            <a:chOff x="7191542" y="1"/>
            <a:chExt cx="5000459" cy="1425992"/>
          </a:xfrm>
        </p:grpSpPr>
        <p:pic>
          <p:nvPicPr>
            <p:cNvPr id="10699" name="Google Shape;10699;p1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00" name="Google Shape;10700;p1379"/>
            <p:cNvGrpSpPr/>
            <p:nvPr/>
          </p:nvGrpSpPr>
          <p:grpSpPr>
            <a:xfrm>
              <a:off x="7191542" y="1"/>
              <a:ext cx="5000459" cy="1425992"/>
              <a:chOff x="7186272" y="0"/>
              <a:chExt cx="5005729" cy="1427495"/>
            </a:xfrm>
          </p:grpSpPr>
          <p:sp>
            <p:nvSpPr>
              <p:cNvPr id="10701" name="Google Shape;10701;p1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02" name="Google Shape;10702;p1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703" name="Google Shape;10703;p13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704"/>
        <p:cNvGrpSpPr/>
        <p:nvPr/>
      </p:nvGrpSpPr>
      <p:grpSpPr>
        <a:xfrm>
          <a:off x="0" y="0"/>
          <a:ext cx="0" cy="0"/>
          <a:chOff x="0" y="0"/>
          <a:chExt cx="0" cy="0"/>
        </a:xfrm>
      </p:grpSpPr>
      <p:grpSp>
        <p:nvGrpSpPr>
          <p:cNvPr id="10705" name="Google Shape;10705;p793"/>
          <p:cNvGrpSpPr/>
          <p:nvPr/>
        </p:nvGrpSpPr>
        <p:grpSpPr>
          <a:xfrm>
            <a:off x="7191542" y="1"/>
            <a:ext cx="5000459" cy="1425992"/>
            <a:chOff x="7191542" y="1"/>
            <a:chExt cx="5000459" cy="1425992"/>
          </a:xfrm>
        </p:grpSpPr>
        <p:pic>
          <p:nvPicPr>
            <p:cNvPr id="10706" name="Google Shape;10706;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07" name="Google Shape;10707;p793"/>
            <p:cNvGrpSpPr/>
            <p:nvPr/>
          </p:nvGrpSpPr>
          <p:grpSpPr>
            <a:xfrm>
              <a:off x="7191542" y="1"/>
              <a:ext cx="5000459" cy="1425992"/>
              <a:chOff x="7186272" y="0"/>
              <a:chExt cx="5005729" cy="1427495"/>
            </a:xfrm>
          </p:grpSpPr>
          <p:sp>
            <p:nvSpPr>
              <p:cNvPr id="10708" name="Google Shape;10708;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09" name="Google Shape;10709;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710" name="Google Shape;10710;p7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11" name="Google Shape;10711;p7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12" name="Google Shape;10712;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713" name="Google Shape;10713;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14" name="Google Shape;10714;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0715"/>
        <p:cNvGrpSpPr/>
        <p:nvPr/>
      </p:nvGrpSpPr>
      <p:grpSpPr>
        <a:xfrm>
          <a:off x="0" y="0"/>
          <a:ext cx="0" cy="0"/>
          <a:chOff x="0" y="0"/>
          <a:chExt cx="0" cy="0"/>
        </a:xfrm>
      </p:grpSpPr>
      <p:sp>
        <p:nvSpPr>
          <p:cNvPr id="10716" name="Google Shape;10716;p8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17" name="Google Shape;10717;p81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718" name="Google Shape;10718;p810"/>
          <p:cNvGrpSpPr/>
          <p:nvPr/>
        </p:nvGrpSpPr>
        <p:grpSpPr>
          <a:xfrm>
            <a:off x="7191542" y="1"/>
            <a:ext cx="5000459" cy="1425992"/>
            <a:chOff x="7191542" y="1"/>
            <a:chExt cx="5000459" cy="1425992"/>
          </a:xfrm>
        </p:grpSpPr>
        <p:pic>
          <p:nvPicPr>
            <p:cNvPr id="10719" name="Google Shape;10719;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20" name="Google Shape;10720;p810"/>
            <p:cNvGrpSpPr/>
            <p:nvPr/>
          </p:nvGrpSpPr>
          <p:grpSpPr>
            <a:xfrm>
              <a:off x="7191542" y="1"/>
              <a:ext cx="5000459" cy="1425992"/>
              <a:chOff x="7186272" y="0"/>
              <a:chExt cx="5005729" cy="1427495"/>
            </a:xfrm>
          </p:grpSpPr>
          <p:sp>
            <p:nvSpPr>
              <p:cNvPr id="10721" name="Google Shape;10721;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22" name="Google Shape;10722;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723" name="Google Shape;10723;p81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24" name="Google Shape;10724;p81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25" name="Google Shape;10725;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6" name="Google Shape;10726;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0727"/>
        <p:cNvGrpSpPr/>
        <p:nvPr/>
      </p:nvGrpSpPr>
      <p:grpSpPr>
        <a:xfrm>
          <a:off x="0" y="0"/>
          <a:ext cx="0" cy="0"/>
          <a:chOff x="0" y="0"/>
          <a:chExt cx="0" cy="0"/>
        </a:xfrm>
      </p:grpSpPr>
      <p:grpSp>
        <p:nvGrpSpPr>
          <p:cNvPr id="10728" name="Google Shape;10728;p126"/>
          <p:cNvGrpSpPr/>
          <p:nvPr/>
        </p:nvGrpSpPr>
        <p:grpSpPr>
          <a:xfrm>
            <a:off x="7191542" y="1"/>
            <a:ext cx="5000459" cy="1425992"/>
            <a:chOff x="7191542" y="1"/>
            <a:chExt cx="5000459" cy="1425992"/>
          </a:xfrm>
        </p:grpSpPr>
        <p:pic>
          <p:nvPicPr>
            <p:cNvPr id="10729" name="Google Shape;1072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30" name="Google Shape;10730;p126"/>
            <p:cNvGrpSpPr/>
            <p:nvPr/>
          </p:nvGrpSpPr>
          <p:grpSpPr>
            <a:xfrm>
              <a:off x="7191542" y="1"/>
              <a:ext cx="5000459" cy="1425992"/>
              <a:chOff x="7186272" y="0"/>
              <a:chExt cx="5005729" cy="1427495"/>
            </a:xfrm>
          </p:grpSpPr>
          <p:sp>
            <p:nvSpPr>
              <p:cNvPr id="10731" name="Google Shape;1073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32" name="Google Shape;1073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733" name="Google Shape;1073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34" name="Google Shape;1073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35" name="Google Shape;1073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6" name="Google Shape;1073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37" name="Google Shape;1073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8" name="Google Shape;1073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39" name="Google Shape;1073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40" name="Google Shape;1074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0741"/>
        <p:cNvGrpSpPr/>
        <p:nvPr/>
      </p:nvGrpSpPr>
      <p:grpSpPr>
        <a:xfrm>
          <a:off x="0" y="0"/>
          <a:ext cx="0" cy="0"/>
          <a:chOff x="0" y="0"/>
          <a:chExt cx="0" cy="0"/>
        </a:xfrm>
      </p:grpSpPr>
      <p:grpSp>
        <p:nvGrpSpPr>
          <p:cNvPr id="10742" name="Google Shape;10742;p1380"/>
          <p:cNvGrpSpPr/>
          <p:nvPr/>
        </p:nvGrpSpPr>
        <p:grpSpPr>
          <a:xfrm>
            <a:off x="7191542" y="1"/>
            <a:ext cx="5000459" cy="1425992"/>
            <a:chOff x="7191542" y="1"/>
            <a:chExt cx="5000459" cy="1425992"/>
          </a:xfrm>
        </p:grpSpPr>
        <p:pic>
          <p:nvPicPr>
            <p:cNvPr id="10743" name="Google Shape;10743;p1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44" name="Google Shape;10744;p1380"/>
            <p:cNvGrpSpPr/>
            <p:nvPr/>
          </p:nvGrpSpPr>
          <p:grpSpPr>
            <a:xfrm>
              <a:off x="7191542" y="1"/>
              <a:ext cx="5000459" cy="1425992"/>
              <a:chOff x="7186272" y="0"/>
              <a:chExt cx="5005729" cy="1427495"/>
            </a:xfrm>
          </p:grpSpPr>
          <p:sp>
            <p:nvSpPr>
              <p:cNvPr id="10745" name="Google Shape;10745;p1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46" name="Google Shape;10746;p1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747" name="Google Shape;10747;p13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48" name="Google Shape;10748;p13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49" name="Google Shape;10749;p1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0" name="Google Shape;10750;p13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0751"/>
        <p:cNvGrpSpPr/>
        <p:nvPr/>
      </p:nvGrpSpPr>
      <p:grpSpPr>
        <a:xfrm>
          <a:off x="0" y="0"/>
          <a:ext cx="0" cy="0"/>
          <a:chOff x="0" y="0"/>
          <a:chExt cx="0" cy="0"/>
        </a:xfrm>
      </p:grpSpPr>
      <p:grpSp>
        <p:nvGrpSpPr>
          <p:cNvPr id="10752" name="Google Shape;10752;p128"/>
          <p:cNvGrpSpPr/>
          <p:nvPr/>
        </p:nvGrpSpPr>
        <p:grpSpPr>
          <a:xfrm>
            <a:off x="0" y="0"/>
            <a:ext cx="12192000" cy="2148830"/>
            <a:chOff x="0" y="0"/>
            <a:chExt cx="12192000" cy="2148830"/>
          </a:xfrm>
        </p:grpSpPr>
        <p:sp>
          <p:nvSpPr>
            <p:cNvPr id="10753" name="Google Shape;1075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54" name="Google Shape;1075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755" name="Google Shape;1075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56" name="Google Shape;1075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7" name="Google Shape;1075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58" name="Google Shape;1075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759" name="Google Shape;1075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0760"/>
        <p:cNvGrpSpPr/>
        <p:nvPr/>
      </p:nvGrpSpPr>
      <p:grpSpPr>
        <a:xfrm>
          <a:off x="0" y="0"/>
          <a:ext cx="0" cy="0"/>
          <a:chOff x="0" y="0"/>
          <a:chExt cx="0" cy="0"/>
        </a:xfrm>
      </p:grpSpPr>
      <p:sp>
        <p:nvSpPr>
          <p:cNvPr id="10761" name="Google Shape;10761;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62" name="Google Shape;10762;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63" name="Google Shape;10763;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64" name="Google Shape;10764;p781"/>
          <p:cNvGrpSpPr/>
          <p:nvPr/>
        </p:nvGrpSpPr>
        <p:grpSpPr>
          <a:xfrm>
            <a:off x="7191542" y="1"/>
            <a:ext cx="5000459" cy="1425992"/>
            <a:chOff x="7191542" y="1"/>
            <a:chExt cx="5000459" cy="1425992"/>
          </a:xfrm>
        </p:grpSpPr>
        <p:pic>
          <p:nvPicPr>
            <p:cNvPr id="10765" name="Google Shape;10765;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66" name="Google Shape;10766;p781"/>
            <p:cNvGrpSpPr/>
            <p:nvPr/>
          </p:nvGrpSpPr>
          <p:grpSpPr>
            <a:xfrm>
              <a:off x="7191542" y="1"/>
              <a:ext cx="5000459" cy="1425992"/>
              <a:chOff x="7186272" y="0"/>
              <a:chExt cx="5005729" cy="1427495"/>
            </a:xfrm>
          </p:grpSpPr>
          <p:sp>
            <p:nvSpPr>
              <p:cNvPr id="10767" name="Google Shape;10767;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768" name="Google Shape;10768;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69"/>
        <p:cNvGrpSpPr/>
        <p:nvPr/>
      </p:nvGrpSpPr>
      <p:grpSpPr>
        <a:xfrm>
          <a:off x="0" y="0"/>
          <a:ext cx="0" cy="0"/>
          <a:chOff x="0" y="0"/>
          <a:chExt cx="0" cy="0"/>
        </a:xfrm>
      </p:grpSpPr>
      <p:sp>
        <p:nvSpPr>
          <p:cNvPr id="10770" name="Google Shape;10770;p138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71" name="Google Shape;10771;p138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72" name="Google Shape;10772;p138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73" name="Google Shape;10773;p1381"/>
          <p:cNvSpPr>
            <a:spLocks noGrp="1"/>
          </p:cNvSpPr>
          <p:nvPr>
            <p:ph type="pic" idx="2"/>
          </p:nvPr>
        </p:nvSpPr>
        <p:spPr>
          <a:xfrm>
            <a:off x="7118684" y="233915"/>
            <a:ext cx="5073316" cy="5943600"/>
          </a:xfrm>
          <a:prstGeom prst="rect">
            <a:avLst/>
          </a:prstGeom>
          <a:noFill/>
          <a:ln>
            <a:noFill/>
          </a:ln>
        </p:spPr>
      </p:sp>
      <p:grpSp>
        <p:nvGrpSpPr>
          <p:cNvPr id="10774" name="Google Shape;10774;p1381"/>
          <p:cNvGrpSpPr/>
          <p:nvPr/>
        </p:nvGrpSpPr>
        <p:grpSpPr>
          <a:xfrm>
            <a:off x="0" y="5020348"/>
            <a:ext cx="12192000" cy="1837653"/>
            <a:chOff x="0" y="5020348"/>
            <a:chExt cx="12192000" cy="1837653"/>
          </a:xfrm>
        </p:grpSpPr>
        <p:sp>
          <p:nvSpPr>
            <p:cNvPr id="10775" name="Google Shape;10775;p13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76" name="Google Shape;10776;p13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777" name="Google Shape;10777;p13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778"/>
        <p:cNvGrpSpPr/>
        <p:nvPr/>
      </p:nvGrpSpPr>
      <p:grpSpPr>
        <a:xfrm>
          <a:off x="0" y="0"/>
          <a:ext cx="0" cy="0"/>
          <a:chOff x="0" y="0"/>
          <a:chExt cx="0" cy="0"/>
        </a:xfrm>
      </p:grpSpPr>
      <p:grpSp>
        <p:nvGrpSpPr>
          <p:cNvPr id="10779" name="Google Shape;10779;p123"/>
          <p:cNvGrpSpPr/>
          <p:nvPr/>
        </p:nvGrpSpPr>
        <p:grpSpPr>
          <a:xfrm>
            <a:off x="0" y="5020347"/>
            <a:ext cx="12192000" cy="1837653"/>
            <a:chOff x="0" y="5020347"/>
            <a:chExt cx="12192000" cy="1837653"/>
          </a:xfrm>
        </p:grpSpPr>
        <p:sp>
          <p:nvSpPr>
            <p:cNvPr id="10780" name="Google Shape;10780;p1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81" name="Google Shape;10781;p1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82" name="Google Shape;10782;p1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783" name="Google Shape;10783;p1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84" name="Google Shape;10784;p1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85" name="Google Shape;10785;p1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0786"/>
        <p:cNvGrpSpPr/>
        <p:nvPr/>
      </p:nvGrpSpPr>
      <p:grpSpPr>
        <a:xfrm>
          <a:off x="0" y="0"/>
          <a:ext cx="0" cy="0"/>
          <a:chOff x="0" y="0"/>
          <a:chExt cx="0" cy="0"/>
        </a:xfrm>
      </p:grpSpPr>
      <p:sp>
        <p:nvSpPr>
          <p:cNvPr id="10787" name="Google Shape;10787;p13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88" name="Google Shape;10788;p13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89" name="Google Shape;10789;p1382"/>
          <p:cNvGrpSpPr/>
          <p:nvPr/>
        </p:nvGrpSpPr>
        <p:grpSpPr>
          <a:xfrm>
            <a:off x="0" y="5379426"/>
            <a:ext cx="2807368" cy="753891"/>
            <a:chOff x="0" y="5379426"/>
            <a:chExt cx="2807368" cy="753891"/>
          </a:xfrm>
        </p:grpSpPr>
        <p:sp>
          <p:nvSpPr>
            <p:cNvPr id="10790" name="Google Shape;10790;p13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91" name="Google Shape;10791;p13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792" name="Google Shape;10792;p1382"/>
          <p:cNvSpPr>
            <a:spLocks noGrp="1"/>
          </p:cNvSpPr>
          <p:nvPr>
            <p:ph type="pic" idx="2"/>
          </p:nvPr>
        </p:nvSpPr>
        <p:spPr>
          <a:xfrm>
            <a:off x="2807368" y="457202"/>
            <a:ext cx="8915400" cy="5943598"/>
          </a:xfrm>
          <a:prstGeom prst="rect">
            <a:avLst/>
          </a:prstGeom>
          <a:noFill/>
          <a:ln>
            <a:noFill/>
          </a:ln>
        </p:spPr>
      </p:sp>
      <p:pic>
        <p:nvPicPr>
          <p:cNvPr id="10793" name="Google Shape;10793;p13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104"/>
        <p:cNvGrpSpPr/>
        <p:nvPr/>
      </p:nvGrpSpPr>
      <p:grpSpPr>
        <a:xfrm>
          <a:off x="0" y="0"/>
          <a:ext cx="0" cy="0"/>
          <a:chOff x="0" y="0"/>
          <a:chExt cx="0" cy="0"/>
        </a:xfrm>
      </p:grpSpPr>
      <p:grpSp>
        <p:nvGrpSpPr>
          <p:cNvPr id="1105" name="Google Shape;1105;p161"/>
          <p:cNvGrpSpPr/>
          <p:nvPr/>
        </p:nvGrpSpPr>
        <p:grpSpPr>
          <a:xfrm>
            <a:off x="0" y="5020347"/>
            <a:ext cx="12192000" cy="1837653"/>
            <a:chOff x="0" y="5020347"/>
            <a:chExt cx="12192000" cy="1837653"/>
          </a:xfrm>
        </p:grpSpPr>
        <p:sp>
          <p:nvSpPr>
            <p:cNvPr id="1106" name="Google Shape;1106;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7" name="Google Shape;1107;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8" name="Google Shape;1108;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9" name="Google Shape;1109;p1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0" name="Google Shape;1110;p1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1" name="Google Shape;1111;p1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0794"/>
        <p:cNvGrpSpPr/>
        <p:nvPr/>
      </p:nvGrpSpPr>
      <p:grpSpPr>
        <a:xfrm>
          <a:off x="0" y="0"/>
          <a:ext cx="0" cy="0"/>
          <a:chOff x="0" y="0"/>
          <a:chExt cx="0" cy="0"/>
        </a:xfrm>
      </p:grpSpPr>
      <p:sp>
        <p:nvSpPr>
          <p:cNvPr id="10795" name="Google Shape;10795;p13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796" name="Google Shape;10796;p13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97" name="Google Shape;10797;p13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98" name="Google Shape;10798;p1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799" name="Google Shape;10799;p1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00" name="Google Shape;10800;p1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01" name="Google Shape;10801;p1383"/>
          <p:cNvGrpSpPr/>
          <p:nvPr/>
        </p:nvGrpSpPr>
        <p:grpSpPr>
          <a:xfrm>
            <a:off x="7191542" y="1"/>
            <a:ext cx="5000459" cy="1425992"/>
            <a:chOff x="7191542" y="1"/>
            <a:chExt cx="5000459" cy="1425992"/>
          </a:xfrm>
        </p:grpSpPr>
        <p:pic>
          <p:nvPicPr>
            <p:cNvPr id="10802" name="Google Shape;10802;p1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03" name="Google Shape;10803;p1383"/>
            <p:cNvGrpSpPr/>
            <p:nvPr/>
          </p:nvGrpSpPr>
          <p:grpSpPr>
            <a:xfrm>
              <a:off x="7191542" y="1"/>
              <a:ext cx="5000459" cy="1425992"/>
              <a:chOff x="7186272" y="0"/>
              <a:chExt cx="5005729" cy="1427495"/>
            </a:xfrm>
          </p:grpSpPr>
          <p:sp>
            <p:nvSpPr>
              <p:cNvPr id="10804" name="Google Shape;10804;p1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05" name="Google Shape;10805;p1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806" name="Google Shape;10806;p13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0807"/>
        <p:cNvGrpSpPr/>
        <p:nvPr/>
      </p:nvGrpSpPr>
      <p:grpSpPr>
        <a:xfrm>
          <a:off x="0" y="0"/>
          <a:ext cx="0" cy="0"/>
          <a:chOff x="0" y="0"/>
          <a:chExt cx="0" cy="0"/>
        </a:xfrm>
      </p:grpSpPr>
      <p:grpSp>
        <p:nvGrpSpPr>
          <p:cNvPr id="10808" name="Google Shape;10808;p124"/>
          <p:cNvGrpSpPr/>
          <p:nvPr/>
        </p:nvGrpSpPr>
        <p:grpSpPr>
          <a:xfrm>
            <a:off x="7191542" y="1"/>
            <a:ext cx="5000459" cy="1425992"/>
            <a:chOff x="7191542" y="1"/>
            <a:chExt cx="5000459" cy="1425992"/>
          </a:xfrm>
        </p:grpSpPr>
        <p:pic>
          <p:nvPicPr>
            <p:cNvPr id="10809" name="Google Shape;10809;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10" name="Google Shape;10810;p124"/>
            <p:cNvGrpSpPr/>
            <p:nvPr/>
          </p:nvGrpSpPr>
          <p:grpSpPr>
            <a:xfrm>
              <a:off x="7191542" y="1"/>
              <a:ext cx="5000459" cy="1425992"/>
              <a:chOff x="7186272" y="0"/>
              <a:chExt cx="5005729" cy="1427495"/>
            </a:xfrm>
          </p:grpSpPr>
          <p:sp>
            <p:nvSpPr>
              <p:cNvPr id="10811" name="Google Shape;10811;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12" name="Google Shape;10812;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813" name="Google Shape;10813;p1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14" name="Google Shape;10814;p1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15" name="Google Shape;10815;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16" name="Google Shape;10816;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17" name="Google Shape;10817;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0818"/>
        <p:cNvGrpSpPr/>
        <p:nvPr/>
      </p:nvGrpSpPr>
      <p:grpSpPr>
        <a:xfrm>
          <a:off x="0" y="0"/>
          <a:ext cx="0" cy="0"/>
          <a:chOff x="0" y="0"/>
          <a:chExt cx="0" cy="0"/>
        </a:xfrm>
      </p:grpSpPr>
      <p:sp>
        <p:nvSpPr>
          <p:cNvPr id="10819" name="Google Shape;10819;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20" name="Google Shape;10820;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821" name="Google Shape;10821;p125"/>
          <p:cNvGrpSpPr/>
          <p:nvPr/>
        </p:nvGrpSpPr>
        <p:grpSpPr>
          <a:xfrm>
            <a:off x="7191542" y="1"/>
            <a:ext cx="5000459" cy="1425992"/>
            <a:chOff x="7191542" y="1"/>
            <a:chExt cx="5000459" cy="1425992"/>
          </a:xfrm>
        </p:grpSpPr>
        <p:pic>
          <p:nvPicPr>
            <p:cNvPr id="10822" name="Google Shape;10822;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3" name="Google Shape;10823;p125"/>
            <p:cNvGrpSpPr/>
            <p:nvPr/>
          </p:nvGrpSpPr>
          <p:grpSpPr>
            <a:xfrm>
              <a:off x="7191542" y="1"/>
              <a:ext cx="5000459" cy="1425992"/>
              <a:chOff x="7186272" y="0"/>
              <a:chExt cx="5005729" cy="1427495"/>
            </a:xfrm>
          </p:grpSpPr>
          <p:sp>
            <p:nvSpPr>
              <p:cNvPr id="10824" name="Google Shape;10824;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25" name="Google Shape;10825;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826" name="Google Shape;10826;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7" name="Google Shape;10827;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28" name="Google Shape;10828;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29" name="Google Shape;1082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0830"/>
        <p:cNvGrpSpPr/>
        <p:nvPr/>
      </p:nvGrpSpPr>
      <p:grpSpPr>
        <a:xfrm>
          <a:off x="0" y="0"/>
          <a:ext cx="0" cy="0"/>
          <a:chOff x="0" y="0"/>
          <a:chExt cx="0" cy="0"/>
        </a:xfrm>
      </p:grpSpPr>
      <p:grpSp>
        <p:nvGrpSpPr>
          <p:cNvPr id="10831" name="Google Shape;10831;p948"/>
          <p:cNvGrpSpPr/>
          <p:nvPr/>
        </p:nvGrpSpPr>
        <p:grpSpPr>
          <a:xfrm>
            <a:off x="7191542" y="1"/>
            <a:ext cx="5000459" cy="1425992"/>
            <a:chOff x="7191542" y="1"/>
            <a:chExt cx="5000459" cy="1425992"/>
          </a:xfrm>
        </p:grpSpPr>
        <p:pic>
          <p:nvPicPr>
            <p:cNvPr id="10832" name="Google Shape;10832;p9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33" name="Google Shape;10833;p948"/>
            <p:cNvGrpSpPr/>
            <p:nvPr/>
          </p:nvGrpSpPr>
          <p:grpSpPr>
            <a:xfrm>
              <a:off x="7191542" y="1"/>
              <a:ext cx="5000459" cy="1425992"/>
              <a:chOff x="7186272" y="0"/>
              <a:chExt cx="5005729" cy="1427495"/>
            </a:xfrm>
          </p:grpSpPr>
          <p:sp>
            <p:nvSpPr>
              <p:cNvPr id="10834" name="Google Shape;10834;p9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35" name="Google Shape;10835;p9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836" name="Google Shape;10836;p9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37" name="Google Shape;10837;p9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38" name="Google Shape;10838;p9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39" name="Google Shape;10839;p9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40" name="Google Shape;10840;p9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1" name="Google Shape;10841;p9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42" name="Google Shape;10842;p9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43" name="Google Shape;10843;p9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0844"/>
        <p:cNvGrpSpPr/>
        <p:nvPr/>
      </p:nvGrpSpPr>
      <p:grpSpPr>
        <a:xfrm>
          <a:off x="0" y="0"/>
          <a:ext cx="0" cy="0"/>
          <a:chOff x="0" y="0"/>
          <a:chExt cx="0" cy="0"/>
        </a:xfrm>
      </p:grpSpPr>
      <p:grpSp>
        <p:nvGrpSpPr>
          <p:cNvPr id="10845" name="Google Shape;10845;p949"/>
          <p:cNvGrpSpPr/>
          <p:nvPr/>
        </p:nvGrpSpPr>
        <p:grpSpPr>
          <a:xfrm>
            <a:off x="7191542" y="1"/>
            <a:ext cx="5000459" cy="1425992"/>
            <a:chOff x="7191542" y="1"/>
            <a:chExt cx="5000459" cy="1425992"/>
          </a:xfrm>
        </p:grpSpPr>
        <p:pic>
          <p:nvPicPr>
            <p:cNvPr id="10846" name="Google Shape;10846;p9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47" name="Google Shape;10847;p949"/>
            <p:cNvGrpSpPr/>
            <p:nvPr/>
          </p:nvGrpSpPr>
          <p:grpSpPr>
            <a:xfrm>
              <a:off x="7191542" y="1"/>
              <a:ext cx="5000459" cy="1425992"/>
              <a:chOff x="7186272" y="0"/>
              <a:chExt cx="5005729" cy="1427495"/>
            </a:xfrm>
          </p:grpSpPr>
          <p:sp>
            <p:nvSpPr>
              <p:cNvPr id="10848" name="Google Shape;10848;p9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49" name="Google Shape;10849;p9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850" name="Google Shape;10850;p9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51" name="Google Shape;10851;p9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52" name="Google Shape;10852;p9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53" name="Google Shape;10853;p9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0854"/>
        <p:cNvGrpSpPr/>
        <p:nvPr/>
      </p:nvGrpSpPr>
      <p:grpSpPr>
        <a:xfrm>
          <a:off x="0" y="0"/>
          <a:ext cx="0" cy="0"/>
          <a:chOff x="0" y="0"/>
          <a:chExt cx="0" cy="0"/>
        </a:xfrm>
      </p:grpSpPr>
      <p:grpSp>
        <p:nvGrpSpPr>
          <p:cNvPr id="10855" name="Google Shape;10855;p950"/>
          <p:cNvGrpSpPr/>
          <p:nvPr/>
        </p:nvGrpSpPr>
        <p:grpSpPr>
          <a:xfrm>
            <a:off x="0" y="0"/>
            <a:ext cx="12192000" cy="2148830"/>
            <a:chOff x="0" y="0"/>
            <a:chExt cx="12192000" cy="2148830"/>
          </a:xfrm>
        </p:grpSpPr>
        <p:sp>
          <p:nvSpPr>
            <p:cNvPr id="10856" name="Google Shape;10856;p9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57" name="Google Shape;10857;p9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858" name="Google Shape;10858;p9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859" name="Google Shape;10859;p9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0" name="Google Shape;10860;p9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861" name="Google Shape;10861;p95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862" name="Google Shape;10862;p9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0863"/>
        <p:cNvGrpSpPr/>
        <p:nvPr/>
      </p:nvGrpSpPr>
      <p:grpSpPr>
        <a:xfrm>
          <a:off x="0" y="0"/>
          <a:ext cx="0" cy="0"/>
          <a:chOff x="0" y="0"/>
          <a:chExt cx="0" cy="0"/>
        </a:xfrm>
      </p:grpSpPr>
      <p:sp>
        <p:nvSpPr>
          <p:cNvPr id="10864" name="Google Shape;10864;p13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65" name="Google Shape;10865;p1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66" name="Google Shape;10866;p1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67" name="Google Shape;10867;p1384"/>
          <p:cNvGrpSpPr/>
          <p:nvPr/>
        </p:nvGrpSpPr>
        <p:grpSpPr>
          <a:xfrm>
            <a:off x="7191542" y="1"/>
            <a:ext cx="5000459" cy="1425992"/>
            <a:chOff x="7191542" y="1"/>
            <a:chExt cx="5000459" cy="1425992"/>
          </a:xfrm>
        </p:grpSpPr>
        <p:pic>
          <p:nvPicPr>
            <p:cNvPr id="10868" name="Google Shape;10868;p13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69" name="Google Shape;10869;p1384"/>
            <p:cNvGrpSpPr/>
            <p:nvPr/>
          </p:nvGrpSpPr>
          <p:grpSpPr>
            <a:xfrm>
              <a:off x="7191542" y="1"/>
              <a:ext cx="5000459" cy="1425992"/>
              <a:chOff x="7186272" y="0"/>
              <a:chExt cx="5005729" cy="1427495"/>
            </a:xfrm>
          </p:grpSpPr>
          <p:sp>
            <p:nvSpPr>
              <p:cNvPr id="10870" name="Google Shape;10870;p1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71" name="Google Shape;10871;p1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0872"/>
        <p:cNvGrpSpPr/>
        <p:nvPr/>
      </p:nvGrpSpPr>
      <p:grpSpPr>
        <a:xfrm>
          <a:off x="0" y="0"/>
          <a:ext cx="0" cy="0"/>
          <a:chOff x="0" y="0"/>
          <a:chExt cx="0" cy="0"/>
        </a:xfrm>
      </p:grpSpPr>
      <p:sp>
        <p:nvSpPr>
          <p:cNvPr id="10873" name="Google Shape;10873;p13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874" name="Google Shape;10874;p13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75" name="Google Shape;10875;p13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76" name="Google Shape;10876;p13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77" name="Google Shape;10877;p1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8" name="Google Shape;10878;p1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79" name="Google Shape;10879;p1385"/>
          <p:cNvGrpSpPr/>
          <p:nvPr/>
        </p:nvGrpSpPr>
        <p:grpSpPr>
          <a:xfrm>
            <a:off x="7191542" y="1"/>
            <a:ext cx="5000459" cy="1425992"/>
            <a:chOff x="7191542" y="1"/>
            <a:chExt cx="5000459" cy="1425992"/>
          </a:xfrm>
        </p:grpSpPr>
        <p:pic>
          <p:nvPicPr>
            <p:cNvPr id="10880" name="Google Shape;10880;p1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81" name="Google Shape;10881;p1385"/>
            <p:cNvGrpSpPr/>
            <p:nvPr/>
          </p:nvGrpSpPr>
          <p:grpSpPr>
            <a:xfrm>
              <a:off x="7191542" y="1"/>
              <a:ext cx="5000459" cy="1425992"/>
              <a:chOff x="7186272" y="0"/>
              <a:chExt cx="5005729" cy="1427495"/>
            </a:xfrm>
          </p:grpSpPr>
          <p:sp>
            <p:nvSpPr>
              <p:cNvPr id="10882" name="Google Shape;10882;p1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83" name="Google Shape;10883;p1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884" name="Google Shape;10884;p13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0885"/>
        <p:cNvGrpSpPr/>
        <p:nvPr/>
      </p:nvGrpSpPr>
      <p:grpSpPr>
        <a:xfrm>
          <a:off x="0" y="0"/>
          <a:ext cx="0" cy="0"/>
          <a:chOff x="0" y="0"/>
          <a:chExt cx="0" cy="0"/>
        </a:xfrm>
      </p:grpSpPr>
      <p:sp>
        <p:nvSpPr>
          <p:cNvPr id="10886" name="Google Shape;10886;p13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887" name="Google Shape;10887;p13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8" name="Google Shape;10888;p1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9" name="Google Shape;10889;p13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90" name="Google Shape;10890;p1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91" name="Google Shape;10891;p1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92" name="Google Shape;10892;p1386"/>
          <p:cNvGrpSpPr/>
          <p:nvPr/>
        </p:nvGrpSpPr>
        <p:grpSpPr>
          <a:xfrm>
            <a:off x="7191542" y="1"/>
            <a:ext cx="5000459" cy="1425992"/>
            <a:chOff x="7191542" y="1"/>
            <a:chExt cx="5000459" cy="1425992"/>
          </a:xfrm>
        </p:grpSpPr>
        <p:pic>
          <p:nvPicPr>
            <p:cNvPr id="10893" name="Google Shape;10893;p1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94" name="Google Shape;10894;p1386"/>
            <p:cNvGrpSpPr/>
            <p:nvPr/>
          </p:nvGrpSpPr>
          <p:grpSpPr>
            <a:xfrm>
              <a:off x="7191542" y="1"/>
              <a:ext cx="5000459" cy="1425992"/>
              <a:chOff x="7186272" y="0"/>
              <a:chExt cx="5005729" cy="1427495"/>
            </a:xfrm>
          </p:grpSpPr>
          <p:sp>
            <p:nvSpPr>
              <p:cNvPr id="10895" name="Google Shape;10895;p1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896" name="Google Shape;10896;p1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897" name="Google Shape;10897;p13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898"/>
        <p:cNvGrpSpPr/>
        <p:nvPr/>
      </p:nvGrpSpPr>
      <p:grpSpPr>
        <a:xfrm>
          <a:off x="0" y="0"/>
          <a:ext cx="0" cy="0"/>
          <a:chOff x="0" y="0"/>
          <a:chExt cx="0" cy="0"/>
        </a:xfrm>
      </p:grpSpPr>
      <p:sp>
        <p:nvSpPr>
          <p:cNvPr id="10899" name="Google Shape;10899;p13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00" name="Google Shape;10900;p13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1" name="Google Shape;10901;p13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02" name="Google Shape;10902;p13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03" name="Google Shape;10903;p1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04" name="Google Shape;10904;p1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05" name="Google Shape;10905;p1387"/>
          <p:cNvGrpSpPr/>
          <p:nvPr/>
        </p:nvGrpSpPr>
        <p:grpSpPr>
          <a:xfrm>
            <a:off x="7191542" y="1"/>
            <a:ext cx="5000459" cy="1425992"/>
            <a:chOff x="7191542" y="1"/>
            <a:chExt cx="5000459" cy="1425992"/>
          </a:xfrm>
        </p:grpSpPr>
        <p:pic>
          <p:nvPicPr>
            <p:cNvPr id="10906" name="Google Shape;10906;p1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7" name="Google Shape;10907;p1387"/>
            <p:cNvGrpSpPr/>
            <p:nvPr/>
          </p:nvGrpSpPr>
          <p:grpSpPr>
            <a:xfrm>
              <a:off x="7191542" y="1"/>
              <a:ext cx="5000459" cy="1425992"/>
              <a:chOff x="7186272" y="0"/>
              <a:chExt cx="5005729" cy="1427495"/>
            </a:xfrm>
          </p:grpSpPr>
          <p:sp>
            <p:nvSpPr>
              <p:cNvPr id="10908" name="Google Shape;10908;p1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09" name="Google Shape;10909;p1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910" name="Google Shape;10910;p13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12"/>
        <p:cNvGrpSpPr/>
        <p:nvPr/>
      </p:nvGrpSpPr>
      <p:grpSpPr>
        <a:xfrm>
          <a:off x="0" y="0"/>
          <a:ext cx="0" cy="0"/>
          <a:chOff x="0" y="0"/>
          <a:chExt cx="0" cy="0"/>
        </a:xfrm>
      </p:grpSpPr>
      <p:sp>
        <p:nvSpPr>
          <p:cNvPr id="1113" name="Google Shape;1113;p1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4" name="Google Shape;1114;p1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5" name="Google Shape;1115;p162"/>
          <p:cNvGrpSpPr/>
          <p:nvPr/>
        </p:nvGrpSpPr>
        <p:grpSpPr>
          <a:xfrm>
            <a:off x="0" y="5379426"/>
            <a:ext cx="2807368" cy="753891"/>
            <a:chOff x="0" y="5379426"/>
            <a:chExt cx="2807368" cy="753891"/>
          </a:xfrm>
        </p:grpSpPr>
        <p:sp>
          <p:nvSpPr>
            <p:cNvPr id="1116" name="Google Shape;1116;p1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7" name="Google Shape;1117;p1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18" name="Google Shape;1118;p162"/>
          <p:cNvSpPr>
            <a:spLocks noGrp="1"/>
          </p:cNvSpPr>
          <p:nvPr>
            <p:ph type="pic" idx="2"/>
          </p:nvPr>
        </p:nvSpPr>
        <p:spPr>
          <a:xfrm>
            <a:off x="2807368" y="457202"/>
            <a:ext cx="8915400" cy="5943598"/>
          </a:xfrm>
          <a:prstGeom prst="rect">
            <a:avLst/>
          </a:prstGeom>
          <a:noFill/>
          <a:ln>
            <a:noFill/>
          </a:ln>
        </p:spPr>
      </p:sp>
      <p:pic>
        <p:nvPicPr>
          <p:cNvPr id="1119" name="Google Shape;1119;p1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0911"/>
        <p:cNvGrpSpPr/>
        <p:nvPr/>
      </p:nvGrpSpPr>
      <p:grpSpPr>
        <a:xfrm>
          <a:off x="0" y="0"/>
          <a:ext cx="0" cy="0"/>
          <a:chOff x="0" y="0"/>
          <a:chExt cx="0" cy="0"/>
        </a:xfrm>
      </p:grpSpPr>
      <p:sp>
        <p:nvSpPr>
          <p:cNvPr id="10912" name="Google Shape;10912;p8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13" name="Google Shape;10913;p8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14" name="Google Shape;10914;p8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15" name="Google Shape;10915;p883"/>
          <p:cNvSpPr>
            <a:spLocks noGrp="1"/>
          </p:cNvSpPr>
          <p:nvPr>
            <p:ph type="pic" idx="2"/>
          </p:nvPr>
        </p:nvSpPr>
        <p:spPr>
          <a:xfrm>
            <a:off x="7118684" y="233915"/>
            <a:ext cx="5073316" cy="5943600"/>
          </a:xfrm>
          <a:prstGeom prst="rect">
            <a:avLst/>
          </a:prstGeom>
          <a:noFill/>
          <a:ln>
            <a:noFill/>
          </a:ln>
        </p:spPr>
      </p:sp>
      <p:grpSp>
        <p:nvGrpSpPr>
          <p:cNvPr id="10916" name="Google Shape;10916;p883"/>
          <p:cNvGrpSpPr/>
          <p:nvPr/>
        </p:nvGrpSpPr>
        <p:grpSpPr>
          <a:xfrm>
            <a:off x="0" y="5020348"/>
            <a:ext cx="12192000" cy="1837653"/>
            <a:chOff x="0" y="5020348"/>
            <a:chExt cx="12192000" cy="1837653"/>
          </a:xfrm>
        </p:grpSpPr>
        <p:sp>
          <p:nvSpPr>
            <p:cNvPr id="10917" name="Google Shape;10917;p8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18" name="Google Shape;10918;p8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919" name="Google Shape;10919;p8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0920"/>
        <p:cNvGrpSpPr/>
        <p:nvPr/>
      </p:nvGrpSpPr>
      <p:grpSpPr>
        <a:xfrm>
          <a:off x="0" y="0"/>
          <a:ext cx="0" cy="0"/>
          <a:chOff x="0" y="0"/>
          <a:chExt cx="0" cy="0"/>
        </a:xfrm>
      </p:grpSpPr>
      <p:grpSp>
        <p:nvGrpSpPr>
          <p:cNvPr id="10921" name="Google Shape;10921;p884"/>
          <p:cNvGrpSpPr/>
          <p:nvPr/>
        </p:nvGrpSpPr>
        <p:grpSpPr>
          <a:xfrm>
            <a:off x="0" y="5020347"/>
            <a:ext cx="12192000" cy="1837653"/>
            <a:chOff x="0" y="5020347"/>
            <a:chExt cx="12192000" cy="1837653"/>
          </a:xfrm>
        </p:grpSpPr>
        <p:sp>
          <p:nvSpPr>
            <p:cNvPr id="10922" name="Google Shape;10922;p8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23" name="Google Shape;10923;p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24" name="Google Shape;10924;p8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925" name="Google Shape;10925;p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926" name="Google Shape;10926;p8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27" name="Google Shape;10927;p8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0928"/>
        <p:cNvGrpSpPr/>
        <p:nvPr/>
      </p:nvGrpSpPr>
      <p:grpSpPr>
        <a:xfrm>
          <a:off x="0" y="0"/>
          <a:ext cx="0" cy="0"/>
          <a:chOff x="0" y="0"/>
          <a:chExt cx="0" cy="0"/>
        </a:xfrm>
      </p:grpSpPr>
      <p:sp>
        <p:nvSpPr>
          <p:cNvPr id="10929" name="Google Shape;10929;p8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30" name="Google Shape;10930;p8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31" name="Google Shape;10931;p885"/>
          <p:cNvGrpSpPr/>
          <p:nvPr/>
        </p:nvGrpSpPr>
        <p:grpSpPr>
          <a:xfrm>
            <a:off x="0" y="5379426"/>
            <a:ext cx="2807368" cy="753891"/>
            <a:chOff x="0" y="5379426"/>
            <a:chExt cx="2807368" cy="753891"/>
          </a:xfrm>
        </p:grpSpPr>
        <p:sp>
          <p:nvSpPr>
            <p:cNvPr id="10932" name="Google Shape;10932;p8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33" name="Google Shape;10933;p8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934" name="Google Shape;10934;p885"/>
          <p:cNvSpPr>
            <a:spLocks noGrp="1"/>
          </p:cNvSpPr>
          <p:nvPr>
            <p:ph type="pic" idx="2"/>
          </p:nvPr>
        </p:nvSpPr>
        <p:spPr>
          <a:xfrm>
            <a:off x="2807368" y="457202"/>
            <a:ext cx="8915400" cy="5943598"/>
          </a:xfrm>
          <a:prstGeom prst="rect">
            <a:avLst/>
          </a:prstGeom>
          <a:noFill/>
          <a:ln>
            <a:noFill/>
          </a:ln>
        </p:spPr>
      </p:sp>
      <p:pic>
        <p:nvPicPr>
          <p:cNvPr id="10935" name="Google Shape;10935;p8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0936"/>
        <p:cNvGrpSpPr/>
        <p:nvPr/>
      </p:nvGrpSpPr>
      <p:grpSpPr>
        <a:xfrm>
          <a:off x="0" y="0"/>
          <a:ext cx="0" cy="0"/>
          <a:chOff x="0" y="0"/>
          <a:chExt cx="0" cy="0"/>
        </a:xfrm>
      </p:grpSpPr>
      <p:sp>
        <p:nvSpPr>
          <p:cNvPr id="10937" name="Google Shape;10937;p13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38" name="Google Shape;10938;p13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9" name="Google Shape;10939;p1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40" name="Google Shape;10940;p13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41" name="Google Shape;10941;p1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42" name="Google Shape;10942;p1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43" name="Google Shape;10943;p1388"/>
          <p:cNvGrpSpPr/>
          <p:nvPr/>
        </p:nvGrpSpPr>
        <p:grpSpPr>
          <a:xfrm>
            <a:off x="7191542" y="1"/>
            <a:ext cx="5000459" cy="1425992"/>
            <a:chOff x="7191542" y="1"/>
            <a:chExt cx="5000459" cy="1425992"/>
          </a:xfrm>
        </p:grpSpPr>
        <p:pic>
          <p:nvPicPr>
            <p:cNvPr id="10944" name="Google Shape;10944;p1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45" name="Google Shape;10945;p1388"/>
            <p:cNvGrpSpPr/>
            <p:nvPr/>
          </p:nvGrpSpPr>
          <p:grpSpPr>
            <a:xfrm>
              <a:off x="7191542" y="1"/>
              <a:ext cx="5000459" cy="1425992"/>
              <a:chOff x="7186272" y="0"/>
              <a:chExt cx="5005729" cy="1427495"/>
            </a:xfrm>
          </p:grpSpPr>
          <p:sp>
            <p:nvSpPr>
              <p:cNvPr id="10946" name="Google Shape;10946;p1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47" name="Google Shape;10947;p1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948" name="Google Shape;10948;p138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0949"/>
        <p:cNvGrpSpPr/>
        <p:nvPr/>
      </p:nvGrpSpPr>
      <p:grpSpPr>
        <a:xfrm>
          <a:off x="0" y="0"/>
          <a:ext cx="0" cy="0"/>
          <a:chOff x="0" y="0"/>
          <a:chExt cx="0" cy="0"/>
        </a:xfrm>
      </p:grpSpPr>
      <p:sp>
        <p:nvSpPr>
          <p:cNvPr id="10950" name="Google Shape;10950;p13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951" name="Google Shape;10951;p13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52" name="Google Shape;10952;p1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53" name="Google Shape;10953;p13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54" name="Google Shape;10954;p1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55" name="Google Shape;10955;p1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56" name="Google Shape;10956;p1389"/>
          <p:cNvGrpSpPr/>
          <p:nvPr/>
        </p:nvGrpSpPr>
        <p:grpSpPr>
          <a:xfrm>
            <a:off x="7191542" y="1"/>
            <a:ext cx="5000459" cy="1425992"/>
            <a:chOff x="7191542" y="1"/>
            <a:chExt cx="5000459" cy="1425992"/>
          </a:xfrm>
        </p:grpSpPr>
        <p:pic>
          <p:nvPicPr>
            <p:cNvPr id="10957" name="Google Shape;10957;p1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58" name="Google Shape;10958;p1389"/>
            <p:cNvGrpSpPr/>
            <p:nvPr/>
          </p:nvGrpSpPr>
          <p:grpSpPr>
            <a:xfrm>
              <a:off x="7191542" y="1"/>
              <a:ext cx="5000459" cy="1425992"/>
              <a:chOff x="7186272" y="0"/>
              <a:chExt cx="5005729" cy="1427495"/>
            </a:xfrm>
          </p:grpSpPr>
          <p:sp>
            <p:nvSpPr>
              <p:cNvPr id="10959" name="Google Shape;10959;p1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60" name="Google Shape;10960;p1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961" name="Google Shape;10961;p13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0962"/>
        <p:cNvGrpSpPr/>
        <p:nvPr/>
      </p:nvGrpSpPr>
      <p:grpSpPr>
        <a:xfrm>
          <a:off x="0" y="0"/>
          <a:ext cx="0" cy="0"/>
          <a:chOff x="0" y="0"/>
          <a:chExt cx="0" cy="0"/>
        </a:xfrm>
      </p:grpSpPr>
      <p:grpSp>
        <p:nvGrpSpPr>
          <p:cNvPr id="10963" name="Google Shape;10963;p887"/>
          <p:cNvGrpSpPr/>
          <p:nvPr/>
        </p:nvGrpSpPr>
        <p:grpSpPr>
          <a:xfrm>
            <a:off x="7191542" y="1"/>
            <a:ext cx="5000459" cy="1425992"/>
            <a:chOff x="7191542" y="1"/>
            <a:chExt cx="5000459" cy="1425992"/>
          </a:xfrm>
        </p:grpSpPr>
        <p:pic>
          <p:nvPicPr>
            <p:cNvPr id="10964" name="Google Shape;10964;p8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65" name="Google Shape;10965;p887"/>
            <p:cNvGrpSpPr/>
            <p:nvPr/>
          </p:nvGrpSpPr>
          <p:grpSpPr>
            <a:xfrm>
              <a:off x="7191542" y="1"/>
              <a:ext cx="5000459" cy="1425992"/>
              <a:chOff x="7186272" y="0"/>
              <a:chExt cx="5005729" cy="1427495"/>
            </a:xfrm>
          </p:grpSpPr>
          <p:sp>
            <p:nvSpPr>
              <p:cNvPr id="10966" name="Google Shape;10966;p8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67" name="Google Shape;10967;p8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968" name="Google Shape;10968;p8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69" name="Google Shape;10969;p8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0" name="Google Shape;10970;p8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71" name="Google Shape;10971;p8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72" name="Google Shape;10972;p8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0973"/>
        <p:cNvGrpSpPr/>
        <p:nvPr/>
      </p:nvGrpSpPr>
      <p:grpSpPr>
        <a:xfrm>
          <a:off x="0" y="0"/>
          <a:ext cx="0" cy="0"/>
          <a:chOff x="0" y="0"/>
          <a:chExt cx="0" cy="0"/>
        </a:xfrm>
      </p:grpSpPr>
      <p:sp>
        <p:nvSpPr>
          <p:cNvPr id="10974" name="Google Shape;10974;p8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5" name="Google Shape;10975;p8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976" name="Google Shape;10976;p888"/>
          <p:cNvGrpSpPr/>
          <p:nvPr/>
        </p:nvGrpSpPr>
        <p:grpSpPr>
          <a:xfrm>
            <a:off x="7191542" y="1"/>
            <a:ext cx="5000459" cy="1425992"/>
            <a:chOff x="7191542" y="1"/>
            <a:chExt cx="5000459" cy="1425992"/>
          </a:xfrm>
        </p:grpSpPr>
        <p:pic>
          <p:nvPicPr>
            <p:cNvPr id="10977" name="Google Shape;10977;p8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78" name="Google Shape;10978;p888"/>
            <p:cNvGrpSpPr/>
            <p:nvPr/>
          </p:nvGrpSpPr>
          <p:grpSpPr>
            <a:xfrm>
              <a:off x="7191542" y="1"/>
              <a:ext cx="5000459" cy="1425992"/>
              <a:chOff x="7186272" y="0"/>
              <a:chExt cx="5005729" cy="1427495"/>
            </a:xfrm>
          </p:grpSpPr>
          <p:sp>
            <p:nvSpPr>
              <p:cNvPr id="10979" name="Google Shape;10979;p8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80" name="Google Shape;10980;p8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981" name="Google Shape;10981;p8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2" name="Google Shape;10982;p8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983" name="Google Shape;10983;p8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84" name="Google Shape;10984;p8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0985"/>
        <p:cNvGrpSpPr/>
        <p:nvPr/>
      </p:nvGrpSpPr>
      <p:grpSpPr>
        <a:xfrm>
          <a:off x="0" y="0"/>
          <a:ext cx="0" cy="0"/>
          <a:chOff x="0" y="0"/>
          <a:chExt cx="0" cy="0"/>
        </a:xfrm>
      </p:grpSpPr>
      <p:grpSp>
        <p:nvGrpSpPr>
          <p:cNvPr id="10986" name="Google Shape;10986;p889"/>
          <p:cNvGrpSpPr/>
          <p:nvPr/>
        </p:nvGrpSpPr>
        <p:grpSpPr>
          <a:xfrm>
            <a:off x="7191542" y="1"/>
            <a:ext cx="5000459" cy="1425992"/>
            <a:chOff x="7191542" y="1"/>
            <a:chExt cx="5000459" cy="1425992"/>
          </a:xfrm>
        </p:grpSpPr>
        <p:pic>
          <p:nvPicPr>
            <p:cNvPr id="10987" name="Google Shape;10987;p8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88" name="Google Shape;10988;p889"/>
            <p:cNvGrpSpPr/>
            <p:nvPr/>
          </p:nvGrpSpPr>
          <p:grpSpPr>
            <a:xfrm>
              <a:off x="7191542" y="1"/>
              <a:ext cx="5000459" cy="1425992"/>
              <a:chOff x="7186272" y="0"/>
              <a:chExt cx="5005729" cy="1427495"/>
            </a:xfrm>
          </p:grpSpPr>
          <p:sp>
            <p:nvSpPr>
              <p:cNvPr id="10989" name="Google Shape;10989;p8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990" name="Google Shape;10990;p8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991" name="Google Shape;10991;p8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92" name="Google Shape;10992;p8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993" name="Google Shape;10993;p8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94" name="Google Shape;10994;p8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995" name="Google Shape;10995;p8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96" name="Google Shape;10996;p8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997" name="Google Shape;10997;p8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98" name="Google Shape;10998;p8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0999"/>
        <p:cNvGrpSpPr/>
        <p:nvPr/>
      </p:nvGrpSpPr>
      <p:grpSpPr>
        <a:xfrm>
          <a:off x="0" y="0"/>
          <a:ext cx="0" cy="0"/>
          <a:chOff x="0" y="0"/>
          <a:chExt cx="0" cy="0"/>
        </a:xfrm>
      </p:grpSpPr>
      <p:grpSp>
        <p:nvGrpSpPr>
          <p:cNvPr id="11000" name="Google Shape;11000;p890"/>
          <p:cNvGrpSpPr/>
          <p:nvPr/>
        </p:nvGrpSpPr>
        <p:grpSpPr>
          <a:xfrm>
            <a:off x="7191542" y="1"/>
            <a:ext cx="5000459" cy="1425992"/>
            <a:chOff x="7191542" y="1"/>
            <a:chExt cx="5000459" cy="1425992"/>
          </a:xfrm>
        </p:grpSpPr>
        <p:pic>
          <p:nvPicPr>
            <p:cNvPr id="11001" name="Google Shape;11001;p8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02" name="Google Shape;11002;p890"/>
            <p:cNvGrpSpPr/>
            <p:nvPr/>
          </p:nvGrpSpPr>
          <p:grpSpPr>
            <a:xfrm>
              <a:off x="7191542" y="1"/>
              <a:ext cx="5000459" cy="1425992"/>
              <a:chOff x="7186272" y="0"/>
              <a:chExt cx="5005729" cy="1427495"/>
            </a:xfrm>
          </p:grpSpPr>
          <p:sp>
            <p:nvSpPr>
              <p:cNvPr id="11003" name="Google Shape;11003;p8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04" name="Google Shape;11004;p8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005" name="Google Shape;11005;p8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06" name="Google Shape;11006;p8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07" name="Google Shape;11007;p8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8" name="Google Shape;11008;p8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1009"/>
        <p:cNvGrpSpPr/>
        <p:nvPr/>
      </p:nvGrpSpPr>
      <p:grpSpPr>
        <a:xfrm>
          <a:off x="0" y="0"/>
          <a:ext cx="0" cy="0"/>
          <a:chOff x="0" y="0"/>
          <a:chExt cx="0" cy="0"/>
        </a:xfrm>
      </p:grpSpPr>
      <p:grpSp>
        <p:nvGrpSpPr>
          <p:cNvPr id="11010" name="Google Shape;11010;p891"/>
          <p:cNvGrpSpPr/>
          <p:nvPr/>
        </p:nvGrpSpPr>
        <p:grpSpPr>
          <a:xfrm>
            <a:off x="0" y="0"/>
            <a:ext cx="12192000" cy="2148830"/>
            <a:chOff x="0" y="0"/>
            <a:chExt cx="12192000" cy="2148830"/>
          </a:xfrm>
        </p:grpSpPr>
        <p:sp>
          <p:nvSpPr>
            <p:cNvPr id="11011" name="Google Shape;11011;p8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12" name="Google Shape;11012;p8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013" name="Google Shape;11013;p8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14" name="Google Shape;11014;p8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15" name="Google Shape;11015;p8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016" name="Google Shape;11016;p8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017" name="Google Shape;11017;p8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20"/>
        <p:cNvGrpSpPr/>
        <p:nvPr/>
      </p:nvGrpSpPr>
      <p:grpSpPr>
        <a:xfrm>
          <a:off x="0" y="0"/>
          <a:ext cx="0" cy="0"/>
          <a:chOff x="0" y="0"/>
          <a:chExt cx="0" cy="0"/>
        </a:xfrm>
      </p:grpSpPr>
      <p:sp>
        <p:nvSpPr>
          <p:cNvPr id="1121" name="Google Shape;1121;p1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2" name="Google Shape;1122;p1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7" name="Google Shape;1127;p163"/>
          <p:cNvGrpSpPr/>
          <p:nvPr/>
        </p:nvGrpSpPr>
        <p:grpSpPr>
          <a:xfrm>
            <a:off x="7191542" y="1"/>
            <a:ext cx="5000459" cy="1425992"/>
            <a:chOff x="7191542" y="1"/>
            <a:chExt cx="5000459" cy="1425992"/>
          </a:xfrm>
        </p:grpSpPr>
        <p:pic>
          <p:nvPicPr>
            <p:cNvPr id="1128" name="Google Shape;1128;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9" name="Google Shape;1129;p163"/>
            <p:cNvGrpSpPr/>
            <p:nvPr/>
          </p:nvGrpSpPr>
          <p:grpSpPr>
            <a:xfrm>
              <a:off x="7191542" y="1"/>
              <a:ext cx="5000459" cy="1425992"/>
              <a:chOff x="7186272" y="0"/>
              <a:chExt cx="5005729" cy="1427495"/>
            </a:xfrm>
          </p:grpSpPr>
          <p:sp>
            <p:nvSpPr>
              <p:cNvPr id="1130" name="Google Shape;1130;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1" name="Google Shape;1131;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32" name="Google Shape;1132;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1018"/>
        <p:cNvGrpSpPr/>
        <p:nvPr/>
      </p:nvGrpSpPr>
      <p:grpSpPr>
        <a:xfrm>
          <a:off x="0" y="0"/>
          <a:ext cx="0" cy="0"/>
          <a:chOff x="0" y="0"/>
          <a:chExt cx="0" cy="0"/>
        </a:xfrm>
      </p:grpSpPr>
      <p:sp>
        <p:nvSpPr>
          <p:cNvPr id="11019" name="Google Shape;11019;p8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20" name="Google Shape;11020;p8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21" name="Google Shape;11021;p8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22" name="Google Shape;11022;p892"/>
          <p:cNvGrpSpPr/>
          <p:nvPr/>
        </p:nvGrpSpPr>
        <p:grpSpPr>
          <a:xfrm>
            <a:off x="7191542" y="1"/>
            <a:ext cx="5000459" cy="1425992"/>
            <a:chOff x="7191542" y="1"/>
            <a:chExt cx="5000459" cy="1425992"/>
          </a:xfrm>
        </p:grpSpPr>
        <p:pic>
          <p:nvPicPr>
            <p:cNvPr id="11023" name="Google Shape;11023;p8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24" name="Google Shape;11024;p892"/>
            <p:cNvGrpSpPr/>
            <p:nvPr/>
          </p:nvGrpSpPr>
          <p:grpSpPr>
            <a:xfrm>
              <a:off x="7191542" y="1"/>
              <a:ext cx="5000459" cy="1425992"/>
              <a:chOff x="7186272" y="0"/>
              <a:chExt cx="5005729" cy="1427495"/>
            </a:xfrm>
          </p:grpSpPr>
          <p:sp>
            <p:nvSpPr>
              <p:cNvPr id="11025" name="Google Shape;11025;p8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26" name="Google Shape;11026;p8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1027"/>
        <p:cNvGrpSpPr/>
        <p:nvPr/>
      </p:nvGrpSpPr>
      <p:grpSpPr>
        <a:xfrm>
          <a:off x="0" y="0"/>
          <a:ext cx="0" cy="0"/>
          <a:chOff x="0" y="0"/>
          <a:chExt cx="0" cy="0"/>
        </a:xfrm>
      </p:grpSpPr>
      <p:sp>
        <p:nvSpPr>
          <p:cNvPr id="11028" name="Google Shape;11028;p13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29" name="Google Shape;11029;p13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30" name="Google Shape;11030;p13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031" name="Google Shape;11031;p1390"/>
          <p:cNvSpPr>
            <a:spLocks noGrp="1"/>
          </p:cNvSpPr>
          <p:nvPr>
            <p:ph type="pic" idx="2"/>
          </p:nvPr>
        </p:nvSpPr>
        <p:spPr>
          <a:xfrm>
            <a:off x="7118684" y="233915"/>
            <a:ext cx="5073316" cy="5943600"/>
          </a:xfrm>
          <a:prstGeom prst="rect">
            <a:avLst/>
          </a:prstGeom>
          <a:noFill/>
          <a:ln>
            <a:noFill/>
          </a:ln>
        </p:spPr>
      </p:sp>
      <p:grpSp>
        <p:nvGrpSpPr>
          <p:cNvPr id="11032" name="Google Shape;11032;p1390"/>
          <p:cNvGrpSpPr/>
          <p:nvPr/>
        </p:nvGrpSpPr>
        <p:grpSpPr>
          <a:xfrm>
            <a:off x="0" y="5020348"/>
            <a:ext cx="12192000" cy="1837653"/>
            <a:chOff x="0" y="5020348"/>
            <a:chExt cx="12192000" cy="1837653"/>
          </a:xfrm>
        </p:grpSpPr>
        <p:sp>
          <p:nvSpPr>
            <p:cNvPr id="11033" name="Google Shape;11033;p13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34" name="Google Shape;11034;p13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035" name="Google Shape;11035;p13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1036"/>
        <p:cNvGrpSpPr/>
        <p:nvPr/>
      </p:nvGrpSpPr>
      <p:grpSpPr>
        <a:xfrm>
          <a:off x="0" y="0"/>
          <a:ext cx="0" cy="0"/>
          <a:chOff x="0" y="0"/>
          <a:chExt cx="0" cy="0"/>
        </a:xfrm>
      </p:grpSpPr>
      <p:grpSp>
        <p:nvGrpSpPr>
          <p:cNvPr id="11037" name="Google Shape;11037;p1391"/>
          <p:cNvGrpSpPr/>
          <p:nvPr/>
        </p:nvGrpSpPr>
        <p:grpSpPr>
          <a:xfrm>
            <a:off x="0" y="5020347"/>
            <a:ext cx="12192000" cy="1837653"/>
            <a:chOff x="0" y="5020347"/>
            <a:chExt cx="12192000" cy="1837653"/>
          </a:xfrm>
        </p:grpSpPr>
        <p:sp>
          <p:nvSpPr>
            <p:cNvPr id="11038" name="Google Shape;11038;p13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39" name="Google Shape;11039;p13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40" name="Google Shape;11040;p13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041" name="Google Shape;11041;p13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042" name="Google Shape;11042;p13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43" name="Google Shape;11043;p13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1044"/>
        <p:cNvGrpSpPr/>
        <p:nvPr/>
      </p:nvGrpSpPr>
      <p:grpSpPr>
        <a:xfrm>
          <a:off x="0" y="0"/>
          <a:ext cx="0" cy="0"/>
          <a:chOff x="0" y="0"/>
          <a:chExt cx="0" cy="0"/>
        </a:xfrm>
      </p:grpSpPr>
      <p:sp>
        <p:nvSpPr>
          <p:cNvPr id="11045" name="Google Shape;11045;p91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6" name="Google Shape;11046;p9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47" name="Google Shape;11047;p912"/>
          <p:cNvGrpSpPr/>
          <p:nvPr/>
        </p:nvGrpSpPr>
        <p:grpSpPr>
          <a:xfrm>
            <a:off x="0" y="5379426"/>
            <a:ext cx="2807368" cy="753891"/>
            <a:chOff x="0" y="5379426"/>
            <a:chExt cx="2807368" cy="753891"/>
          </a:xfrm>
        </p:grpSpPr>
        <p:sp>
          <p:nvSpPr>
            <p:cNvPr id="11048" name="Google Shape;11048;p9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49" name="Google Shape;11049;p9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050" name="Google Shape;11050;p912"/>
          <p:cNvSpPr>
            <a:spLocks noGrp="1"/>
          </p:cNvSpPr>
          <p:nvPr>
            <p:ph type="pic" idx="2"/>
          </p:nvPr>
        </p:nvSpPr>
        <p:spPr>
          <a:xfrm>
            <a:off x="2807368" y="457202"/>
            <a:ext cx="8915400" cy="5943598"/>
          </a:xfrm>
          <a:prstGeom prst="rect">
            <a:avLst/>
          </a:prstGeom>
          <a:noFill/>
          <a:ln>
            <a:noFill/>
          </a:ln>
        </p:spPr>
      </p:sp>
      <p:pic>
        <p:nvPicPr>
          <p:cNvPr id="11051" name="Google Shape;11051;p91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1052"/>
        <p:cNvGrpSpPr/>
        <p:nvPr/>
      </p:nvGrpSpPr>
      <p:grpSpPr>
        <a:xfrm>
          <a:off x="0" y="0"/>
          <a:ext cx="0" cy="0"/>
          <a:chOff x="0" y="0"/>
          <a:chExt cx="0" cy="0"/>
        </a:xfrm>
      </p:grpSpPr>
      <p:sp>
        <p:nvSpPr>
          <p:cNvPr id="11053" name="Google Shape;11053;p13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054" name="Google Shape;11054;p13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55" name="Google Shape;11055;p13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56" name="Google Shape;11056;p13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57" name="Google Shape;11057;p1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58" name="Google Shape;11058;p1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59" name="Google Shape;11059;p1392"/>
          <p:cNvGrpSpPr/>
          <p:nvPr/>
        </p:nvGrpSpPr>
        <p:grpSpPr>
          <a:xfrm>
            <a:off x="7191542" y="1"/>
            <a:ext cx="5000459" cy="1425992"/>
            <a:chOff x="7191542" y="1"/>
            <a:chExt cx="5000459" cy="1425992"/>
          </a:xfrm>
        </p:grpSpPr>
        <p:pic>
          <p:nvPicPr>
            <p:cNvPr id="11060" name="Google Shape;11060;p1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1" name="Google Shape;11061;p1392"/>
            <p:cNvGrpSpPr/>
            <p:nvPr/>
          </p:nvGrpSpPr>
          <p:grpSpPr>
            <a:xfrm>
              <a:off x="7191542" y="1"/>
              <a:ext cx="5000459" cy="1425992"/>
              <a:chOff x="7186272" y="0"/>
              <a:chExt cx="5005729" cy="1427495"/>
            </a:xfrm>
          </p:grpSpPr>
          <p:sp>
            <p:nvSpPr>
              <p:cNvPr id="11062" name="Google Shape;11062;p1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63" name="Google Shape;11063;p1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064" name="Google Shape;11064;p13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1065"/>
        <p:cNvGrpSpPr/>
        <p:nvPr/>
      </p:nvGrpSpPr>
      <p:grpSpPr>
        <a:xfrm>
          <a:off x="0" y="0"/>
          <a:ext cx="0" cy="0"/>
          <a:chOff x="0" y="0"/>
          <a:chExt cx="0" cy="0"/>
        </a:xfrm>
      </p:grpSpPr>
      <p:grpSp>
        <p:nvGrpSpPr>
          <p:cNvPr id="11066" name="Google Shape;11066;p1393"/>
          <p:cNvGrpSpPr/>
          <p:nvPr/>
        </p:nvGrpSpPr>
        <p:grpSpPr>
          <a:xfrm>
            <a:off x="7191542" y="1"/>
            <a:ext cx="5000459" cy="1425992"/>
            <a:chOff x="7191542" y="1"/>
            <a:chExt cx="5000459" cy="1425992"/>
          </a:xfrm>
        </p:grpSpPr>
        <p:pic>
          <p:nvPicPr>
            <p:cNvPr id="11067" name="Google Shape;11067;p13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8" name="Google Shape;11068;p1393"/>
            <p:cNvGrpSpPr/>
            <p:nvPr/>
          </p:nvGrpSpPr>
          <p:grpSpPr>
            <a:xfrm>
              <a:off x="7191542" y="1"/>
              <a:ext cx="5000459" cy="1425992"/>
              <a:chOff x="7186272" y="0"/>
              <a:chExt cx="5005729" cy="1427495"/>
            </a:xfrm>
          </p:grpSpPr>
          <p:sp>
            <p:nvSpPr>
              <p:cNvPr id="11069" name="Google Shape;11069;p1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70" name="Google Shape;11070;p1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071" name="Google Shape;11071;p1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2" name="Google Shape;11072;p13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3" name="Google Shape;11073;p13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74" name="Google Shape;11074;p1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75" name="Google Shape;11075;p1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1076"/>
        <p:cNvGrpSpPr/>
        <p:nvPr/>
      </p:nvGrpSpPr>
      <p:grpSpPr>
        <a:xfrm>
          <a:off x="0" y="0"/>
          <a:ext cx="0" cy="0"/>
          <a:chOff x="0" y="0"/>
          <a:chExt cx="0" cy="0"/>
        </a:xfrm>
      </p:grpSpPr>
      <p:sp>
        <p:nvSpPr>
          <p:cNvPr id="11077" name="Google Shape;11077;p13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8" name="Google Shape;11078;p13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079" name="Google Shape;11079;p1394"/>
          <p:cNvGrpSpPr/>
          <p:nvPr/>
        </p:nvGrpSpPr>
        <p:grpSpPr>
          <a:xfrm>
            <a:off x="7191542" y="1"/>
            <a:ext cx="5000459" cy="1425992"/>
            <a:chOff x="7191542" y="1"/>
            <a:chExt cx="5000459" cy="1425992"/>
          </a:xfrm>
        </p:grpSpPr>
        <p:pic>
          <p:nvPicPr>
            <p:cNvPr id="11080" name="Google Shape;11080;p1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81" name="Google Shape;11081;p1394"/>
            <p:cNvGrpSpPr/>
            <p:nvPr/>
          </p:nvGrpSpPr>
          <p:grpSpPr>
            <a:xfrm>
              <a:off x="7191542" y="1"/>
              <a:ext cx="5000459" cy="1425992"/>
              <a:chOff x="7186272" y="0"/>
              <a:chExt cx="5005729" cy="1427495"/>
            </a:xfrm>
          </p:grpSpPr>
          <p:sp>
            <p:nvSpPr>
              <p:cNvPr id="11082" name="Google Shape;11082;p1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83" name="Google Shape;11083;p1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084" name="Google Shape;11084;p13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85" name="Google Shape;11085;p13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86" name="Google Shape;11086;p1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87" name="Google Shape;11087;p1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1088"/>
        <p:cNvGrpSpPr/>
        <p:nvPr/>
      </p:nvGrpSpPr>
      <p:grpSpPr>
        <a:xfrm>
          <a:off x="0" y="0"/>
          <a:ext cx="0" cy="0"/>
          <a:chOff x="0" y="0"/>
          <a:chExt cx="0" cy="0"/>
        </a:xfrm>
      </p:grpSpPr>
      <p:grpSp>
        <p:nvGrpSpPr>
          <p:cNvPr id="11089" name="Google Shape;11089;p1395"/>
          <p:cNvGrpSpPr/>
          <p:nvPr/>
        </p:nvGrpSpPr>
        <p:grpSpPr>
          <a:xfrm>
            <a:off x="7191542" y="1"/>
            <a:ext cx="5000459" cy="1425992"/>
            <a:chOff x="7191542" y="1"/>
            <a:chExt cx="5000459" cy="1425992"/>
          </a:xfrm>
        </p:grpSpPr>
        <p:pic>
          <p:nvPicPr>
            <p:cNvPr id="11090" name="Google Shape;11090;p13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91" name="Google Shape;11091;p1395"/>
            <p:cNvGrpSpPr/>
            <p:nvPr/>
          </p:nvGrpSpPr>
          <p:grpSpPr>
            <a:xfrm>
              <a:off x="7191542" y="1"/>
              <a:ext cx="5000459" cy="1425992"/>
              <a:chOff x="7186272" y="0"/>
              <a:chExt cx="5005729" cy="1427495"/>
            </a:xfrm>
          </p:grpSpPr>
          <p:sp>
            <p:nvSpPr>
              <p:cNvPr id="11092" name="Google Shape;11092;p13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093" name="Google Shape;11093;p13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094" name="Google Shape;11094;p13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95" name="Google Shape;11095;p13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96" name="Google Shape;11096;p13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7" name="Google Shape;11097;p13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98" name="Google Shape;11098;p13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9" name="Google Shape;11099;p13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00" name="Google Shape;11100;p13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01" name="Google Shape;11101;p13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1102"/>
        <p:cNvGrpSpPr/>
        <p:nvPr/>
      </p:nvGrpSpPr>
      <p:grpSpPr>
        <a:xfrm>
          <a:off x="0" y="0"/>
          <a:ext cx="0" cy="0"/>
          <a:chOff x="0" y="0"/>
          <a:chExt cx="0" cy="0"/>
        </a:xfrm>
      </p:grpSpPr>
      <p:grpSp>
        <p:nvGrpSpPr>
          <p:cNvPr id="11103" name="Google Shape;11103;p1396"/>
          <p:cNvGrpSpPr/>
          <p:nvPr/>
        </p:nvGrpSpPr>
        <p:grpSpPr>
          <a:xfrm>
            <a:off x="7191542" y="1"/>
            <a:ext cx="5000459" cy="1425992"/>
            <a:chOff x="7191542" y="1"/>
            <a:chExt cx="5000459" cy="1425992"/>
          </a:xfrm>
        </p:grpSpPr>
        <p:pic>
          <p:nvPicPr>
            <p:cNvPr id="11104" name="Google Shape;11104;p13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5" name="Google Shape;11105;p1396"/>
            <p:cNvGrpSpPr/>
            <p:nvPr/>
          </p:nvGrpSpPr>
          <p:grpSpPr>
            <a:xfrm>
              <a:off x="7191542" y="1"/>
              <a:ext cx="5000459" cy="1425992"/>
              <a:chOff x="7186272" y="0"/>
              <a:chExt cx="5005729" cy="1427495"/>
            </a:xfrm>
          </p:grpSpPr>
          <p:sp>
            <p:nvSpPr>
              <p:cNvPr id="11106" name="Google Shape;11106;p13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07" name="Google Shape;11107;p13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108" name="Google Shape;11108;p13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9" name="Google Shape;11109;p13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10" name="Google Shape;11110;p13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11" name="Google Shape;11111;p13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1112"/>
        <p:cNvGrpSpPr/>
        <p:nvPr/>
      </p:nvGrpSpPr>
      <p:grpSpPr>
        <a:xfrm>
          <a:off x="0" y="0"/>
          <a:ext cx="0" cy="0"/>
          <a:chOff x="0" y="0"/>
          <a:chExt cx="0" cy="0"/>
        </a:xfrm>
      </p:grpSpPr>
      <p:grpSp>
        <p:nvGrpSpPr>
          <p:cNvPr id="11113" name="Google Shape;11113;p1397"/>
          <p:cNvGrpSpPr/>
          <p:nvPr/>
        </p:nvGrpSpPr>
        <p:grpSpPr>
          <a:xfrm>
            <a:off x="0" y="0"/>
            <a:ext cx="12192000" cy="2148830"/>
            <a:chOff x="0" y="0"/>
            <a:chExt cx="12192000" cy="2148830"/>
          </a:xfrm>
        </p:grpSpPr>
        <p:sp>
          <p:nvSpPr>
            <p:cNvPr id="11114" name="Google Shape;11114;p13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15" name="Google Shape;11115;p13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116" name="Google Shape;11116;p13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117" name="Google Shape;11117;p13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18" name="Google Shape;11118;p13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119" name="Google Shape;11119;p13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120" name="Google Shape;11120;p13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33"/>
        <p:cNvGrpSpPr/>
        <p:nvPr/>
      </p:nvGrpSpPr>
      <p:grpSpPr>
        <a:xfrm>
          <a:off x="0" y="0"/>
          <a:ext cx="0" cy="0"/>
          <a:chOff x="0" y="0"/>
          <a:chExt cx="0" cy="0"/>
        </a:xfrm>
      </p:grpSpPr>
      <p:sp>
        <p:nvSpPr>
          <p:cNvPr id="1134" name="Google Shape;1134;p1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35" name="Google Shape;1135;p1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6" name="Google Shape;1136;p1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 name="Google Shape;1137;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8" name="Google Shape;1138;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9" name="Google Shape;113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0" name="Google Shape;1140;p164"/>
          <p:cNvGrpSpPr/>
          <p:nvPr/>
        </p:nvGrpSpPr>
        <p:grpSpPr>
          <a:xfrm>
            <a:off x="7191542" y="1"/>
            <a:ext cx="5000459" cy="1425992"/>
            <a:chOff x="7191542" y="1"/>
            <a:chExt cx="5000459" cy="1425992"/>
          </a:xfrm>
        </p:grpSpPr>
        <p:pic>
          <p:nvPicPr>
            <p:cNvPr id="1141" name="Google Shape;1141;p1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2" name="Google Shape;1142;p164"/>
            <p:cNvGrpSpPr/>
            <p:nvPr/>
          </p:nvGrpSpPr>
          <p:grpSpPr>
            <a:xfrm>
              <a:off x="7191542" y="1"/>
              <a:ext cx="5000459" cy="1425992"/>
              <a:chOff x="7186272" y="0"/>
              <a:chExt cx="5005729" cy="1427495"/>
            </a:xfrm>
          </p:grpSpPr>
          <p:sp>
            <p:nvSpPr>
              <p:cNvPr id="1143" name="Google Shape;1143;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45" name="Google Shape;1145;p1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1121"/>
        <p:cNvGrpSpPr/>
        <p:nvPr/>
      </p:nvGrpSpPr>
      <p:grpSpPr>
        <a:xfrm>
          <a:off x="0" y="0"/>
          <a:ext cx="0" cy="0"/>
          <a:chOff x="0" y="0"/>
          <a:chExt cx="0" cy="0"/>
        </a:xfrm>
      </p:grpSpPr>
      <p:sp>
        <p:nvSpPr>
          <p:cNvPr id="11122" name="Google Shape;11122;p1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23" name="Google Shape;11123;p1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24" name="Google Shape;11124;p1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25" name="Google Shape;11125;p1398"/>
          <p:cNvGrpSpPr/>
          <p:nvPr/>
        </p:nvGrpSpPr>
        <p:grpSpPr>
          <a:xfrm>
            <a:off x="7191542" y="1"/>
            <a:ext cx="5000459" cy="1425992"/>
            <a:chOff x="7191542" y="1"/>
            <a:chExt cx="5000459" cy="1425992"/>
          </a:xfrm>
        </p:grpSpPr>
        <p:pic>
          <p:nvPicPr>
            <p:cNvPr id="11126" name="Google Shape;11126;p1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27" name="Google Shape;11127;p1398"/>
            <p:cNvGrpSpPr/>
            <p:nvPr/>
          </p:nvGrpSpPr>
          <p:grpSpPr>
            <a:xfrm>
              <a:off x="7191542" y="1"/>
              <a:ext cx="5000459" cy="1425992"/>
              <a:chOff x="7186272" y="0"/>
              <a:chExt cx="5005729" cy="1427495"/>
            </a:xfrm>
          </p:grpSpPr>
          <p:sp>
            <p:nvSpPr>
              <p:cNvPr id="11128" name="Google Shape;11128;p1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29" name="Google Shape;11129;p1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1130"/>
        <p:cNvGrpSpPr/>
        <p:nvPr/>
      </p:nvGrpSpPr>
      <p:grpSpPr>
        <a:xfrm>
          <a:off x="0" y="0"/>
          <a:ext cx="0" cy="0"/>
          <a:chOff x="0" y="0"/>
          <a:chExt cx="0" cy="0"/>
        </a:xfrm>
      </p:grpSpPr>
      <p:sp>
        <p:nvSpPr>
          <p:cNvPr id="11131" name="Google Shape;11131;p11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132" name="Google Shape;11132;p11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3" name="Google Shape;11133;p11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34" name="Google Shape;11134;p11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35" name="Google Shape;11135;p1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36" name="Google Shape;11136;p1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37" name="Google Shape;11137;p1118"/>
          <p:cNvGrpSpPr/>
          <p:nvPr/>
        </p:nvGrpSpPr>
        <p:grpSpPr>
          <a:xfrm>
            <a:off x="7191542" y="1"/>
            <a:ext cx="5000459" cy="1425992"/>
            <a:chOff x="7191542" y="1"/>
            <a:chExt cx="5000459" cy="1425992"/>
          </a:xfrm>
        </p:grpSpPr>
        <p:pic>
          <p:nvPicPr>
            <p:cNvPr id="11138" name="Google Shape;11138;p1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39" name="Google Shape;11139;p1118"/>
            <p:cNvGrpSpPr/>
            <p:nvPr/>
          </p:nvGrpSpPr>
          <p:grpSpPr>
            <a:xfrm>
              <a:off x="7191542" y="1"/>
              <a:ext cx="5000459" cy="1425992"/>
              <a:chOff x="7186272" y="0"/>
              <a:chExt cx="5005729" cy="1427495"/>
            </a:xfrm>
          </p:grpSpPr>
          <p:sp>
            <p:nvSpPr>
              <p:cNvPr id="11140" name="Google Shape;11140;p1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41" name="Google Shape;11141;p1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142" name="Google Shape;11142;p111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1143"/>
        <p:cNvGrpSpPr/>
        <p:nvPr/>
      </p:nvGrpSpPr>
      <p:grpSpPr>
        <a:xfrm>
          <a:off x="0" y="0"/>
          <a:ext cx="0" cy="0"/>
          <a:chOff x="0" y="0"/>
          <a:chExt cx="0" cy="0"/>
        </a:xfrm>
      </p:grpSpPr>
      <p:sp>
        <p:nvSpPr>
          <p:cNvPr id="11144" name="Google Shape;11144;p77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45" name="Google Shape;11145;p77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1146" name="Google Shape;11146;p77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1147" name="Google Shape;11147;p77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1148" name="Google Shape;11148;p77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1149" name="Google Shape;11149;p77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50" name="Google Shape;11150;p77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51" name="Google Shape;11151;p77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152" name="Google Shape;11152;p77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53" name="Google Shape;11153;p77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154" name="Google Shape;11154;p77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1155"/>
        <p:cNvGrpSpPr/>
        <p:nvPr/>
      </p:nvGrpSpPr>
      <p:grpSpPr>
        <a:xfrm>
          <a:off x="0" y="0"/>
          <a:ext cx="0" cy="0"/>
          <a:chOff x="0" y="0"/>
          <a:chExt cx="0" cy="0"/>
        </a:xfrm>
      </p:grpSpPr>
      <p:sp>
        <p:nvSpPr>
          <p:cNvPr id="11156" name="Google Shape;11156;p13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157" name="Google Shape;11157;p13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58" name="Google Shape;11158;p13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9" name="Google Shape;11159;p13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60" name="Google Shape;11160;p1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1" name="Google Shape;11161;p1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62" name="Google Shape;11162;p1399"/>
          <p:cNvGrpSpPr/>
          <p:nvPr/>
        </p:nvGrpSpPr>
        <p:grpSpPr>
          <a:xfrm>
            <a:off x="7191542" y="1"/>
            <a:ext cx="5000459" cy="1425992"/>
            <a:chOff x="7191542" y="1"/>
            <a:chExt cx="5000459" cy="1425992"/>
          </a:xfrm>
        </p:grpSpPr>
        <p:pic>
          <p:nvPicPr>
            <p:cNvPr id="11163" name="Google Shape;11163;p1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64" name="Google Shape;11164;p1399"/>
            <p:cNvGrpSpPr/>
            <p:nvPr/>
          </p:nvGrpSpPr>
          <p:grpSpPr>
            <a:xfrm>
              <a:off x="7191542" y="1"/>
              <a:ext cx="5000459" cy="1425992"/>
              <a:chOff x="7186272" y="0"/>
              <a:chExt cx="5005729" cy="1427495"/>
            </a:xfrm>
          </p:grpSpPr>
          <p:sp>
            <p:nvSpPr>
              <p:cNvPr id="11165" name="Google Shape;11165;p1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66" name="Google Shape;11166;p1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167" name="Google Shape;11167;p139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1168"/>
        <p:cNvGrpSpPr/>
        <p:nvPr/>
      </p:nvGrpSpPr>
      <p:grpSpPr>
        <a:xfrm>
          <a:off x="0" y="0"/>
          <a:ext cx="0" cy="0"/>
          <a:chOff x="0" y="0"/>
          <a:chExt cx="0" cy="0"/>
        </a:xfrm>
      </p:grpSpPr>
      <p:sp>
        <p:nvSpPr>
          <p:cNvPr id="11169" name="Google Shape;11169;p14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170" name="Google Shape;11170;p14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71" name="Google Shape;11171;p1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2" name="Google Shape;11172;p1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73" name="Google Shape;11173;p1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4" name="Google Shape;11174;p1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75" name="Google Shape;11175;p1400"/>
          <p:cNvGrpSpPr/>
          <p:nvPr/>
        </p:nvGrpSpPr>
        <p:grpSpPr>
          <a:xfrm>
            <a:off x="7191542" y="1"/>
            <a:ext cx="5000459" cy="1425992"/>
            <a:chOff x="7191542" y="1"/>
            <a:chExt cx="5000459" cy="1425992"/>
          </a:xfrm>
        </p:grpSpPr>
        <p:pic>
          <p:nvPicPr>
            <p:cNvPr id="11176" name="Google Shape;11176;p1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77" name="Google Shape;11177;p1400"/>
            <p:cNvGrpSpPr/>
            <p:nvPr/>
          </p:nvGrpSpPr>
          <p:grpSpPr>
            <a:xfrm>
              <a:off x="7191542" y="1"/>
              <a:ext cx="5000459" cy="1425992"/>
              <a:chOff x="7186272" y="0"/>
              <a:chExt cx="5005729" cy="1427495"/>
            </a:xfrm>
          </p:grpSpPr>
          <p:sp>
            <p:nvSpPr>
              <p:cNvPr id="11178" name="Google Shape;11178;p1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179" name="Google Shape;11179;p1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180" name="Google Shape;11180;p14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181"/>
        <p:cNvGrpSpPr/>
        <p:nvPr/>
      </p:nvGrpSpPr>
      <p:grpSpPr>
        <a:xfrm>
          <a:off x="0" y="0"/>
          <a:ext cx="0" cy="0"/>
          <a:chOff x="0" y="0"/>
          <a:chExt cx="0" cy="0"/>
        </a:xfrm>
      </p:grpSpPr>
      <p:sp>
        <p:nvSpPr>
          <p:cNvPr id="11182" name="Google Shape;11182;p3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83" name="Google Shape;11183;p3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84" name="Google Shape;11184;p3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185" name="Google Shape;11185;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86" name="Google Shape;11186;p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187"/>
        <p:cNvGrpSpPr/>
        <p:nvPr/>
      </p:nvGrpSpPr>
      <p:grpSpPr>
        <a:xfrm>
          <a:off x="0" y="0"/>
          <a:ext cx="0" cy="0"/>
          <a:chOff x="0" y="0"/>
          <a:chExt cx="0" cy="0"/>
        </a:xfrm>
      </p:grpSpPr>
      <p:sp>
        <p:nvSpPr>
          <p:cNvPr id="11188" name="Google Shape;11188;p27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9" name="Google Shape;11189;p27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0" name="Google Shape;11190;p2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191" name="Google Shape;11191;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92" name="Google Shape;11192;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193" name="Google Shape;11193;p27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194" name="Google Shape;11194;p27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195" name="Google Shape;11195;p27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196" name="Google Shape;11196;p27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1197"/>
        <p:cNvGrpSpPr/>
        <p:nvPr/>
      </p:nvGrpSpPr>
      <p:grpSpPr>
        <a:xfrm>
          <a:off x="0" y="0"/>
          <a:ext cx="0" cy="0"/>
          <a:chOff x="0" y="0"/>
          <a:chExt cx="0" cy="0"/>
        </a:xfrm>
      </p:grpSpPr>
      <p:sp>
        <p:nvSpPr>
          <p:cNvPr id="11198" name="Google Shape;11198;p3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99" name="Google Shape;11199;p3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0" name="Google Shape;11200;p3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201" name="Google Shape;11201;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02" name="Google Shape;11202;p3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203" name="Google Shape;11203;p3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04" name="Google Shape;11204;p3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05" name="Google Shape;11205;p3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06" name="Google Shape;11206;p3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207"/>
        <p:cNvGrpSpPr/>
        <p:nvPr/>
      </p:nvGrpSpPr>
      <p:grpSpPr>
        <a:xfrm>
          <a:off x="0" y="0"/>
          <a:ext cx="0" cy="0"/>
          <a:chOff x="0" y="0"/>
          <a:chExt cx="0" cy="0"/>
        </a:xfrm>
      </p:grpSpPr>
      <p:sp>
        <p:nvSpPr>
          <p:cNvPr id="11208" name="Google Shape;11208;p3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09" name="Google Shape;11209;p3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10" name="Google Shape;11210;p3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11" name="Google Shape;11211;p3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12" name="Google Shape;11212;p3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1213"/>
        <p:cNvGrpSpPr/>
        <p:nvPr/>
      </p:nvGrpSpPr>
      <p:grpSpPr>
        <a:xfrm>
          <a:off x="0" y="0"/>
          <a:ext cx="0" cy="0"/>
          <a:chOff x="0" y="0"/>
          <a:chExt cx="0" cy="0"/>
        </a:xfrm>
      </p:grpSpPr>
      <p:sp>
        <p:nvSpPr>
          <p:cNvPr id="11214" name="Google Shape;11214;p3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215" name="Google Shape;11215;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216" name="Google Shape;11216;p3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17" name="Google Shape;11217;p3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18" name="Google Shape;11218;p3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46"/>
        <p:cNvGrpSpPr/>
        <p:nvPr/>
      </p:nvGrpSpPr>
      <p:grpSpPr>
        <a:xfrm>
          <a:off x="0" y="0"/>
          <a:ext cx="0" cy="0"/>
          <a:chOff x="0" y="0"/>
          <a:chExt cx="0" cy="0"/>
        </a:xfrm>
      </p:grpSpPr>
      <p:grpSp>
        <p:nvGrpSpPr>
          <p:cNvPr id="1147" name="Google Shape;1147;p165"/>
          <p:cNvGrpSpPr/>
          <p:nvPr/>
        </p:nvGrpSpPr>
        <p:grpSpPr>
          <a:xfrm>
            <a:off x="7191542" y="1"/>
            <a:ext cx="5000459" cy="1425992"/>
            <a:chOff x="7191542" y="1"/>
            <a:chExt cx="5000459" cy="1425992"/>
          </a:xfrm>
        </p:grpSpPr>
        <p:pic>
          <p:nvPicPr>
            <p:cNvPr id="1148" name="Google Shape;1148;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9" name="Google Shape;1149;p165"/>
            <p:cNvGrpSpPr/>
            <p:nvPr/>
          </p:nvGrpSpPr>
          <p:grpSpPr>
            <a:xfrm>
              <a:off x="7191542" y="1"/>
              <a:ext cx="5000459" cy="1425992"/>
              <a:chOff x="7186272" y="0"/>
              <a:chExt cx="5005729" cy="1427495"/>
            </a:xfrm>
          </p:grpSpPr>
          <p:sp>
            <p:nvSpPr>
              <p:cNvPr id="1150" name="Google Shape;1150;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1" name="Google Shape;1151;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2" name="Google Shape;1152;p1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3" name="Google Shape;1153;p1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 name="Google Shape;1154;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5" name="Google Shape;1155;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6" name="Google Shape;1156;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219"/>
        <p:cNvGrpSpPr/>
        <p:nvPr/>
      </p:nvGrpSpPr>
      <p:grpSpPr>
        <a:xfrm>
          <a:off x="0" y="0"/>
          <a:ext cx="0" cy="0"/>
          <a:chOff x="0" y="0"/>
          <a:chExt cx="0" cy="0"/>
        </a:xfrm>
      </p:grpSpPr>
      <p:sp>
        <p:nvSpPr>
          <p:cNvPr id="11220" name="Google Shape;11220;p3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21" name="Google Shape;11221;p3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22" name="Google Shape;11222;p3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23" name="Google Shape;11223;p3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24" name="Google Shape;11224;p3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25" name="Google Shape;11225;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1226"/>
        <p:cNvGrpSpPr/>
        <p:nvPr/>
      </p:nvGrpSpPr>
      <p:grpSpPr>
        <a:xfrm>
          <a:off x="0" y="0"/>
          <a:ext cx="0" cy="0"/>
          <a:chOff x="0" y="0"/>
          <a:chExt cx="0" cy="0"/>
        </a:xfrm>
      </p:grpSpPr>
      <p:sp>
        <p:nvSpPr>
          <p:cNvPr id="11227" name="Google Shape;11227;p3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28" name="Google Shape;11228;p3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29" name="Google Shape;11229;p3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230" name="Google Shape;11230;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1" name="Google Shape;11231;p3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232" name="Google Shape;11232;p3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33" name="Google Shape;11233;p3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34" name="Google Shape;11234;p3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35" name="Google Shape;11235;p3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1236"/>
        <p:cNvGrpSpPr/>
        <p:nvPr/>
      </p:nvGrpSpPr>
      <p:grpSpPr>
        <a:xfrm>
          <a:off x="0" y="0"/>
          <a:ext cx="0" cy="0"/>
          <a:chOff x="0" y="0"/>
          <a:chExt cx="0" cy="0"/>
        </a:xfrm>
      </p:grpSpPr>
      <p:sp>
        <p:nvSpPr>
          <p:cNvPr id="11237" name="Google Shape;11237;p3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8" name="Google Shape;11238;p3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39" name="Google Shape;11239;p3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40" name="Google Shape;11240;p3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41" name="Google Shape;11241;p3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1242"/>
        <p:cNvGrpSpPr/>
        <p:nvPr/>
      </p:nvGrpSpPr>
      <p:grpSpPr>
        <a:xfrm>
          <a:off x="0" y="0"/>
          <a:ext cx="0" cy="0"/>
          <a:chOff x="0" y="0"/>
          <a:chExt cx="0" cy="0"/>
        </a:xfrm>
      </p:grpSpPr>
      <p:sp>
        <p:nvSpPr>
          <p:cNvPr id="11243" name="Google Shape;11243;p3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244" name="Google Shape;11244;p3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245" name="Google Shape;11245;p3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46" name="Google Shape;11246;p3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47" name="Google Shape;11247;p3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1248"/>
        <p:cNvGrpSpPr/>
        <p:nvPr/>
      </p:nvGrpSpPr>
      <p:grpSpPr>
        <a:xfrm>
          <a:off x="0" y="0"/>
          <a:ext cx="0" cy="0"/>
          <a:chOff x="0" y="0"/>
          <a:chExt cx="0" cy="0"/>
        </a:xfrm>
      </p:grpSpPr>
      <p:sp>
        <p:nvSpPr>
          <p:cNvPr id="11249" name="Google Shape;11249;p3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50" name="Google Shape;11250;p3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51" name="Google Shape;11251;p3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2" name="Google Shape;11252;p3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3" name="Google Shape;11253;p3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54" name="Google Shape;11254;p3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1255"/>
        <p:cNvGrpSpPr/>
        <p:nvPr/>
      </p:nvGrpSpPr>
      <p:grpSpPr>
        <a:xfrm>
          <a:off x="0" y="0"/>
          <a:ext cx="0" cy="0"/>
          <a:chOff x="0" y="0"/>
          <a:chExt cx="0" cy="0"/>
        </a:xfrm>
      </p:grpSpPr>
      <p:sp>
        <p:nvSpPr>
          <p:cNvPr id="11256" name="Google Shape;11256;p140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57" name="Google Shape;11257;p140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58" name="Google Shape;11258;p14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259" name="Google Shape;11259;p14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60" name="Google Shape;11260;p14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261" name="Google Shape;11261;p140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62" name="Google Shape;11262;p140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63" name="Google Shape;11263;p140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64" name="Google Shape;11264;p140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1265"/>
        <p:cNvGrpSpPr/>
        <p:nvPr/>
      </p:nvGrpSpPr>
      <p:grpSpPr>
        <a:xfrm>
          <a:off x="0" y="0"/>
          <a:ext cx="0" cy="0"/>
          <a:chOff x="0" y="0"/>
          <a:chExt cx="0" cy="0"/>
        </a:xfrm>
      </p:grpSpPr>
      <p:sp>
        <p:nvSpPr>
          <p:cNvPr id="11266" name="Google Shape;11266;p14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7" name="Google Shape;11267;p14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8" name="Google Shape;11268;p14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269" name="Google Shape;11269;p1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70" name="Google Shape;11270;p1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271" name="Google Shape;11271;p14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72" name="Google Shape;11272;p14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73" name="Google Shape;11273;p14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74" name="Google Shape;11274;p140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1275"/>
        <p:cNvGrpSpPr/>
        <p:nvPr/>
      </p:nvGrpSpPr>
      <p:grpSpPr>
        <a:xfrm>
          <a:off x="0" y="0"/>
          <a:ext cx="0" cy="0"/>
          <a:chOff x="0" y="0"/>
          <a:chExt cx="0" cy="0"/>
        </a:xfrm>
      </p:grpSpPr>
      <p:sp>
        <p:nvSpPr>
          <p:cNvPr id="11276" name="Google Shape;11276;p14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7" name="Google Shape;11277;p14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78" name="Google Shape;11278;p14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279" name="Google Shape;11279;p14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80" name="Google Shape;11280;p14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281" name="Google Shape;11281;p14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82" name="Google Shape;11282;p14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283" name="Google Shape;11283;p14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84" name="Google Shape;11284;p14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1285"/>
        <p:cNvGrpSpPr/>
        <p:nvPr/>
      </p:nvGrpSpPr>
      <p:grpSpPr>
        <a:xfrm>
          <a:off x="0" y="0"/>
          <a:ext cx="0" cy="0"/>
          <a:chOff x="0" y="0"/>
          <a:chExt cx="0" cy="0"/>
        </a:xfrm>
      </p:grpSpPr>
      <p:sp>
        <p:nvSpPr>
          <p:cNvPr id="11286" name="Google Shape;11286;p14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87" name="Google Shape;11287;p14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88" name="Google Shape;11288;p14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89" name="Google Shape;11289;p14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290" name="Google Shape;11290;p14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1291"/>
        <p:cNvGrpSpPr/>
        <p:nvPr/>
      </p:nvGrpSpPr>
      <p:grpSpPr>
        <a:xfrm>
          <a:off x="0" y="0"/>
          <a:ext cx="0" cy="0"/>
          <a:chOff x="0" y="0"/>
          <a:chExt cx="0" cy="0"/>
        </a:xfrm>
      </p:grpSpPr>
      <p:sp>
        <p:nvSpPr>
          <p:cNvPr id="11292" name="Google Shape;11292;p14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293" name="Google Shape;11293;p14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294" name="Google Shape;11294;p14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95" name="Google Shape;11295;p14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96" name="Google Shape;11296;p14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57"/>
        <p:cNvGrpSpPr/>
        <p:nvPr/>
      </p:nvGrpSpPr>
      <p:grpSpPr>
        <a:xfrm>
          <a:off x="0" y="0"/>
          <a:ext cx="0" cy="0"/>
          <a:chOff x="0" y="0"/>
          <a:chExt cx="0" cy="0"/>
        </a:xfrm>
      </p:grpSpPr>
      <p:sp>
        <p:nvSpPr>
          <p:cNvPr id="1158" name="Google Shape;1158;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9" name="Google Shape;1159;p1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66"/>
          <p:cNvGrpSpPr/>
          <p:nvPr/>
        </p:nvGrpSpPr>
        <p:grpSpPr>
          <a:xfrm>
            <a:off x="7191542" y="1"/>
            <a:ext cx="5000459" cy="1425992"/>
            <a:chOff x="7191542" y="1"/>
            <a:chExt cx="5000459" cy="1425992"/>
          </a:xfrm>
        </p:grpSpPr>
        <p:pic>
          <p:nvPicPr>
            <p:cNvPr id="1161" name="Google Shape;1161;p1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 name="Google Shape;1162;p166"/>
            <p:cNvGrpSpPr/>
            <p:nvPr/>
          </p:nvGrpSpPr>
          <p:grpSpPr>
            <a:xfrm>
              <a:off x="7191542" y="1"/>
              <a:ext cx="5000459" cy="1425992"/>
              <a:chOff x="7186272" y="0"/>
              <a:chExt cx="5005729" cy="1427495"/>
            </a:xfrm>
          </p:grpSpPr>
          <p:sp>
            <p:nvSpPr>
              <p:cNvPr id="1163" name="Google Shape;1163;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4" name="Google Shape;1164;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5" name="Google Shape;1165;p1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 name="Google Shape;1166;p1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7" name="Google Shape;1167;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 name="Google Shape;1168;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1297"/>
        <p:cNvGrpSpPr/>
        <p:nvPr/>
      </p:nvGrpSpPr>
      <p:grpSpPr>
        <a:xfrm>
          <a:off x="0" y="0"/>
          <a:ext cx="0" cy="0"/>
          <a:chOff x="0" y="0"/>
          <a:chExt cx="0" cy="0"/>
        </a:xfrm>
      </p:grpSpPr>
      <p:sp>
        <p:nvSpPr>
          <p:cNvPr id="11298" name="Google Shape;11298;p14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299" name="Google Shape;11299;p14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00" name="Google Shape;11300;p14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1" name="Google Shape;11301;p14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2" name="Google Shape;11302;p14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03" name="Google Shape;11303;p14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1304"/>
        <p:cNvGrpSpPr/>
        <p:nvPr/>
      </p:nvGrpSpPr>
      <p:grpSpPr>
        <a:xfrm>
          <a:off x="0" y="0"/>
          <a:ext cx="0" cy="0"/>
          <a:chOff x="0" y="0"/>
          <a:chExt cx="0" cy="0"/>
        </a:xfrm>
      </p:grpSpPr>
      <p:sp>
        <p:nvSpPr>
          <p:cNvPr id="11305" name="Google Shape;11305;p140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6" name="Google Shape;11306;p140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7" name="Google Shape;11307;p14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08" name="Google Shape;11308;p1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09" name="Google Shape;11309;p1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10" name="Google Shape;11310;p140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11" name="Google Shape;11311;p140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12" name="Google Shape;11312;p140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13" name="Google Shape;11313;p140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1314"/>
        <p:cNvGrpSpPr/>
        <p:nvPr/>
      </p:nvGrpSpPr>
      <p:grpSpPr>
        <a:xfrm>
          <a:off x="0" y="0"/>
          <a:ext cx="0" cy="0"/>
          <a:chOff x="0" y="0"/>
          <a:chExt cx="0" cy="0"/>
        </a:xfrm>
      </p:grpSpPr>
      <p:sp>
        <p:nvSpPr>
          <p:cNvPr id="11315" name="Google Shape;11315;p14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16" name="Google Shape;11316;p14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17" name="Google Shape;11317;p14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18" name="Google Shape;11318;p14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19" name="Google Shape;11319;p14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1320"/>
        <p:cNvGrpSpPr/>
        <p:nvPr/>
      </p:nvGrpSpPr>
      <p:grpSpPr>
        <a:xfrm>
          <a:off x="0" y="0"/>
          <a:ext cx="0" cy="0"/>
          <a:chOff x="0" y="0"/>
          <a:chExt cx="0" cy="0"/>
        </a:xfrm>
      </p:grpSpPr>
      <p:sp>
        <p:nvSpPr>
          <p:cNvPr id="11321" name="Google Shape;11321;p14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22" name="Google Shape;11322;p140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23" name="Google Shape;11323;p14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24" name="Google Shape;11324;p14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25" name="Google Shape;11325;p14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1326"/>
        <p:cNvGrpSpPr/>
        <p:nvPr/>
      </p:nvGrpSpPr>
      <p:grpSpPr>
        <a:xfrm>
          <a:off x="0" y="0"/>
          <a:ext cx="0" cy="0"/>
          <a:chOff x="0" y="0"/>
          <a:chExt cx="0" cy="0"/>
        </a:xfrm>
      </p:grpSpPr>
      <p:sp>
        <p:nvSpPr>
          <p:cNvPr id="11327" name="Google Shape;11327;p14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28" name="Google Shape;11328;p14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29" name="Google Shape;11329;p14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0" name="Google Shape;11330;p14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1" name="Google Shape;11331;p14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2" name="Google Shape;11332;p14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1333"/>
        <p:cNvGrpSpPr/>
        <p:nvPr/>
      </p:nvGrpSpPr>
      <p:grpSpPr>
        <a:xfrm>
          <a:off x="0" y="0"/>
          <a:ext cx="0" cy="0"/>
          <a:chOff x="0" y="0"/>
          <a:chExt cx="0" cy="0"/>
        </a:xfrm>
      </p:grpSpPr>
      <p:sp>
        <p:nvSpPr>
          <p:cNvPr id="11334" name="Google Shape;11334;p9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5" name="Google Shape;11335;p9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36" name="Google Shape;11336;p9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37" name="Google Shape;11337;p9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8" name="Google Shape;11338;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39" name="Google Shape;11339;p9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0" name="Google Shape;11340;p9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1" name="Google Shape;11341;p9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42" name="Google Shape;11342;p9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1343"/>
        <p:cNvGrpSpPr/>
        <p:nvPr/>
      </p:nvGrpSpPr>
      <p:grpSpPr>
        <a:xfrm>
          <a:off x="0" y="0"/>
          <a:ext cx="0" cy="0"/>
          <a:chOff x="0" y="0"/>
          <a:chExt cx="0" cy="0"/>
        </a:xfrm>
      </p:grpSpPr>
      <p:sp>
        <p:nvSpPr>
          <p:cNvPr id="11344" name="Google Shape;11344;p141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45" name="Google Shape;11345;p14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46" name="Google Shape;11346;p141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47" name="Google Shape;11347;p141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48" name="Google Shape;11348;p141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1349"/>
        <p:cNvGrpSpPr/>
        <p:nvPr/>
      </p:nvGrpSpPr>
      <p:grpSpPr>
        <a:xfrm>
          <a:off x="0" y="0"/>
          <a:ext cx="0" cy="0"/>
          <a:chOff x="0" y="0"/>
          <a:chExt cx="0" cy="0"/>
        </a:xfrm>
      </p:grpSpPr>
      <p:sp>
        <p:nvSpPr>
          <p:cNvPr id="11350" name="Google Shape;11350;p14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51" name="Google Shape;11351;p141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52" name="Google Shape;11352;p141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53" name="Google Shape;11353;p141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4" name="Google Shape;11354;p141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1355"/>
        <p:cNvGrpSpPr/>
        <p:nvPr/>
      </p:nvGrpSpPr>
      <p:grpSpPr>
        <a:xfrm>
          <a:off x="0" y="0"/>
          <a:ext cx="0" cy="0"/>
          <a:chOff x="0" y="0"/>
          <a:chExt cx="0" cy="0"/>
        </a:xfrm>
      </p:grpSpPr>
      <p:sp>
        <p:nvSpPr>
          <p:cNvPr id="11356" name="Google Shape;11356;p14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57" name="Google Shape;11357;p141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58" name="Google Shape;11358;p141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59" name="Google Shape;11359;p141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0" name="Google Shape;11360;p141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61" name="Google Shape;11361;p141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1362"/>
        <p:cNvGrpSpPr/>
        <p:nvPr/>
      </p:nvGrpSpPr>
      <p:grpSpPr>
        <a:xfrm>
          <a:off x="0" y="0"/>
          <a:ext cx="0" cy="0"/>
          <a:chOff x="0" y="0"/>
          <a:chExt cx="0" cy="0"/>
        </a:xfrm>
      </p:grpSpPr>
      <p:sp>
        <p:nvSpPr>
          <p:cNvPr id="11363" name="Google Shape;11363;p8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4" name="Google Shape;11364;p8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5" name="Google Shape;11365;p8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6" name="Google Shape;11366;p8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67" name="Google Shape;11367;p87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33"/>
        <p:cNvGrpSpPr/>
        <p:nvPr/>
      </p:nvGrpSpPr>
      <p:grpSpPr>
        <a:xfrm>
          <a:off x="0" y="0"/>
          <a:ext cx="0" cy="0"/>
          <a:chOff x="0" y="0"/>
          <a:chExt cx="0" cy="0"/>
        </a:xfrm>
      </p:grpSpPr>
      <p:sp>
        <p:nvSpPr>
          <p:cNvPr id="134" name="Google Shape;134;p6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 name="Google Shape;135;p6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6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7" name="Google Shape;137;p68"/>
          <p:cNvSpPr>
            <a:spLocks noGrp="1"/>
          </p:cNvSpPr>
          <p:nvPr>
            <p:ph type="pic" idx="2"/>
          </p:nvPr>
        </p:nvSpPr>
        <p:spPr>
          <a:xfrm>
            <a:off x="7118684" y="233915"/>
            <a:ext cx="5073316" cy="5943600"/>
          </a:xfrm>
          <a:prstGeom prst="rect">
            <a:avLst/>
          </a:prstGeom>
          <a:noFill/>
          <a:ln>
            <a:noFill/>
          </a:ln>
        </p:spPr>
      </p:sp>
      <p:grpSp>
        <p:nvGrpSpPr>
          <p:cNvPr id="138" name="Google Shape;138;p68"/>
          <p:cNvGrpSpPr/>
          <p:nvPr/>
        </p:nvGrpSpPr>
        <p:grpSpPr>
          <a:xfrm>
            <a:off x="0" y="5020348"/>
            <a:ext cx="12192000" cy="1837653"/>
            <a:chOff x="0" y="5020348"/>
            <a:chExt cx="12192000" cy="1837653"/>
          </a:xfrm>
        </p:grpSpPr>
        <p:sp>
          <p:nvSpPr>
            <p:cNvPr id="139" name="Google Shape;139;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0" name="Google Shape;140;p6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1" name="Google Shape;141;p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69"/>
        <p:cNvGrpSpPr/>
        <p:nvPr/>
      </p:nvGrpSpPr>
      <p:grpSpPr>
        <a:xfrm>
          <a:off x="0" y="0"/>
          <a:ext cx="0" cy="0"/>
          <a:chOff x="0" y="0"/>
          <a:chExt cx="0" cy="0"/>
        </a:xfrm>
      </p:grpSpPr>
      <p:grpSp>
        <p:nvGrpSpPr>
          <p:cNvPr id="1170" name="Google Shape;1170;p167"/>
          <p:cNvGrpSpPr/>
          <p:nvPr/>
        </p:nvGrpSpPr>
        <p:grpSpPr>
          <a:xfrm>
            <a:off x="7191542" y="1"/>
            <a:ext cx="5000459" cy="1425992"/>
            <a:chOff x="7191542" y="1"/>
            <a:chExt cx="5000459" cy="1425992"/>
          </a:xfrm>
        </p:grpSpPr>
        <p:pic>
          <p:nvPicPr>
            <p:cNvPr id="1171" name="Google Shape;1171;p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 name="Google Shape;1172;p167"/>
            <p:cNvGrpSpPr/>
            <p:nvPr/>
          </p:nvGrpSpPr>
          <p:grpSpPr>
            <a:xfrm>
              <a:off x="7191542" y="1"/>
              <a:ext cx="5000459" cy="1425992"/>
              <a:chOff x="7186272" y="0"/>
              <a:chExt cx="5005729" cy="1427495"/>
            </a:xfrm>
          </p:grpSpPr>
          <p:sp>
            <p:nvSpPr>
              <p:cNvPr id="1173" name="Google Shape;1173;p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4" name="Google Shape;1174;p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5" name="Google Shape;1175;p1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6" name="Google Shape;1176;p1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7" name="Google Shape;1177;p1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 name="Google Shape;1178;p1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9" name="Google Shape;1179;p1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 name="Google Shape;1180;p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1368"/>
        <p:cNvGrpSpPr/>
        <p:nvPr/>
      </p:nvGrpSpPr>
      <p:grpSpPr>
        <a:xfrm>
          <a:off x="0" y="0"/>
          <a:ext cx="0" cy="0"/>
          <a:chOff x="0" y="0"/>
          <a:chExt cx="0" cy="0"/>
        </a:xfrm>
      </p:grpSpPr>
      <p:sp>
        <p:nvSpPr>
          <p:cNvPr id="11369" name="Google Shape;11369;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70" name="Google Shape;11370;p87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71" name="Google Shape;11371;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2" name="Google Shape;11372;p8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3" name="Google Shape;11373;p8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1374"/>
        <p:cNvGrpSpPr/>
        <p:nvPr/>
      </p:nvGrpSpPr>
      <p:grpSpPr>
        <a:xfrm>
          <a:off x="0" y="0"/>
          <a:ext cx="0" cy="0"/>
          <a:chOff x="0" y="0"/>
          <a:chExt cx="0" cy="0"/>
        </a:xfrm>
      </p:grpSpPr>
      <p:sp>
        <p:nvSpPr>
          <p:cNvPr id="11375" name="Google Shape;11375;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6" name="Google Shape;11376;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7" name="Google Shape;11377;p8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8" name="Google Shape;11378;p8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9" name="Google Shape;11379;p8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80" name="Google Shape;11380;p8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1381"/>
        <p:cNvGrpSpPr/>
        <p:nvPr/>
      </p:nvGrpSpPr>
      <p:grpSpPr>
        <a:xfrm>
          <a:off x="0" y="0"/>
          <a:ext cx="0" cy="0"/>
          <a:chOff x="0" y="0"/>
          <a:chExt cx="0" cy="0"/>
        </a:xfrm>
      </p:grpSpPr>
      <p:sp>
        <p:nvSpPr>
          <p:cNvPr id="11382" name="Google Shape;11382;p10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83" name="Google Shape;11383;p10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84" name="Google Shape;11384;p10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85" name="Google Shape;11385;p10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6" name="Google Shape;11386;p10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1387"/>
        <p:cNvGrpSpPr/>
        <p:nvPr/>
      </p:nvGrpSpPr>
      <p:grpSpPr>
        <a:xfrm>
          <a:off x="0" y="0"/>
          <a:ext cx="0" cy="0"/>
          <a:chOff x="0" y="0"/>
          <a:chExt cx="0" cy="0"/>
        </a:xfrm>
      </p:grpSpPr>
      <p:sp>
        <p:nvSpPr>
          <p:cNvPr id="11388" name="Google Shape;11388;p10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89" name="Google Shape;11389;p10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90" name="Google Shape;11390;p10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1" name="Google Shape;11391;p10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92" name="Google Shape;11392;p10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1393"/>
        <p:cNvGrpSpPr/>
        <p:nvPr/>
      </p:nvGrpSpPr>
      <p:grpSpPr>
        <a:xfrm>
          <a:off x="0" y="0"/>
          <a:ext cx="0" cy="0"/>
          <a:chOff x="0" y="0"/>
          <a:chExt cx="0" cy="0"/>
        </a:xfrm>
      </p:grpSpPr>
      <p:sp>
        <p:nvSpPr>
          <p:cNvPr id="11394" name="Google Shape;11394;p3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5" name="Google Shape;11395;p3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6" name="Google Shape;11396;p35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7" name="Google Shape;11397;p35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98" name="Google Shape;11398;p35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99" name="Google Shape;11399;p3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1400"/>
        <p:cNvGrpSpPr/>
        <p:nvPr/>
      </p:nvGrpSpPr>
      <p:grpSpPr>
        <a:xfrm>
          <a:off x="0" y="0"/>
          <a:ext cx="0" cy="0"/>
          <a:chOff x="0" y="0"/>
          <a:chExt cx="0" cy="0"/>
        </a:xfrm>
      </p:grpSpPr>
      <p:sp>
        <p:nvSpPr>
          <p:cNvPr id="11401" name="Google Shape;11401;p10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02" name="Google Shape;11402;p10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03" name="Google Shape;11403;p10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404" name="Google Shape;11404;p1025"/>
          <p:cNvSpPr>
            <a:spLocks noGrp="1"/>
          </p:cNvSpPr>
          <p:nvPr>
            <p:ph type="pic" idx="2"/>
          </p:nvPr>
        </p:nvSpPr>
        <p:spPr>
          <a:xfrm>
            <a:off x="7118684" y="233915"/>
            <a:ext cx="5073316" cy="5943600"/>
          </a:xfrm>
          <a:prstGeom prst="rect">
            <a:avLst/>
          </a:prstGeom>
          <a:noFill/>
          <a:ln>
            <a:noFill/>
          </a:ln>
        </p:spPr>
      </p:sp>
      <p:grpSp>
        <p:nvGrpSpPr>
          <p:cNvPr id="11405" name="Google Shape;11405;p1025"/>
          <p:cNvGrpSpPr/>
          <p:nvPr/>
        </p:nvGrpSpPr>
        <p:grpSpPr>
          <a:xfrm>
            <a:off x="0" y="5020348"/>
            <a:ext cx="12192000" cy="1837653"/>
            <a:chOff x="0" y="5020348"/>
            <a:chExt cx="12192000" cy="1837653"/>
          </a:xfrm>
        </p:grpSpPr>
        <p:sp>
          <p:nvSpPr>
            <p:cNvPr id="11406" name="Google Shape;11406;p10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07" name="Google Shape;11407;p10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408" name="Google Shape;11408;p10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1409"/>
        <p:cNvGrpSpPr/>
        <p:nvPr/>
      </p:nvGrpSpPr>
      <p:grpSpPr>
        <a:xfrm>
          <a:off x="0" y="0"/>
          <a:ext cx="0" cy="0"/>
          <a:chOff x="0" y="0"/>
          <a:chExt cx="0" cy="0"/>
        </a:xfrm>
      </p:grpSpPr>
      <p:grpSp>
        <p:nvGrpSpPr>
          <p:cNvPr id="11410" name="Google Shape;11410;p1026"/>
          <p:cNvGrpSpPr/>
          <p:nvPr/>
        </p:nvGrpSpPr>
        <p:grpSpPr>
          <a:xfrm>
            <a:off x="0" y="5020347"/>
            <a:ext cx="12192000" cy="1837653"/>
            <a:chOff x="0" y="5020347"/>
            <a:chExt cx="12192000" cy="1837653"/>
          </a:xfrm>
        </p:grpSpPr>
        <p:sp>
          <p:nvSpPr>
            <p:cNvPr id="11411" name="Google Shape;11411;p10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12" name="Google Shape;11412;p10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13" name="Google Shape;11413;p10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414" name="Google Shape;11414;p10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415" name="Google Shape;11415;p10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16" name="Google Shape;11416;p10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1417"/>
        <p:cNvGrpSpPr/>
        <p:nvPr/>
      </p:nvGrpSpPr>
      <p:grpSpPr>
        <a:xfrm>
          <a:off x="0" y="0"/>
          <a:ext cx="0" cy="0"/>
          <a:chOff x="0" y="0"/>
          <a:chExt cx="0" cy="0"/>
        </a:xfrm>
      </p:grpSpPr>
      <p:sp>
        <p:nvSpPr>
          <p:cNvPr id="11418" name="Google Shape;11418;p8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419" name="Google Shape;11419;p8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420" name="Google Shape;11420;p808"/>
          <p:cNvGrpSpPr/>
          <p:nvPr/>
        </p:nvGrpSpPr>
        <p:grpSpPr>
          <a:xfrm>
            <a:off x="0" y="5379426"/>
            <a:ext cx="2807368" cy="753891"/>
            <a:chOff x="0" y="5379426"/>
            <a:chExt cx="2807368" cy="753891"/>
          </a:xfrm>
        </p:grpSpPr>
        <p:sp>
          <p:nvSpPr>
            <p:cNvPr id="11421" name="Google Shape;11421;p8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22" name="Google Shape;11422;p8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423" name="Google Shape;11423;p808"/>
          <p:cNvSpPr>
            <a:spLocks noGrp="1"/>
          </p:cNvSpPr>
          <p:nvPr>
            <p:ph type="pic" idx="2"/>
          </p:nvPr>
        </p:nvSpPr>
        <p:spPr>
          <a:xfrm>
            <a:off x="2807368" y="457202"/>
            <a:ext cx="8915400" cy="5943598"/>
          </a:xfrm>
          <a:prstGeom prst="rect">
            <a:avLst/>
          </a:prstGeom>
          <a:noFill/>
          <a:ln>
            <a:noFill/>
          </a:ln>
        </p:spPr>
      </p:sp>
      <p:pic>
        <p:nvPicPr>
          <p:cNvPr id="11424" name="Google Shape;11424;p8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1425"/>
        <p:cNvGrpSpPr/>
        <p:nvPr/>
      </p:nvGrpSpPr>
      <p:grpSpPr>
        <a:xfrm>
          <a:off x="0" y="0"/>
          <a:ext cx="0" cy="0"/>
          <a:chOff x="0" y="0"/>
          <a:chExt cx="0" cy="0"/>
        </a:xfrm>
      </p:grpSpPr>
      <p:sp>
        <p:nvSpPr>
          <p:cNvPr id="11426" name="Google Shape;11426;p14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27" name="Google Shape;11427;p14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28" name="Google Shape;11428;p1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29" name="Google Shape;11429;p14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430" name="Google Shape;11430;p1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31" name="Google Shape;11431;p1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32" name="Google Shape;11432;p1414"/>
          <p:cNvGrpSpPr/>
          <p:nvPr/>
        </p:nvGrpSpPr>
        <p:grpSpPr>
          <a:xfrm>
            <a:off x="7191542" y="1"/>
            <a:ext cx="5000459" cy="1425992"/>
            <a:chOff x="7191542" y="1"/>
            <a:chExt cx="5000459" cy="1425992"/>
          </a:xfrm>
        </p:grpSpPr>
        <p:pic>
          <p:nvPicPr>
            <p:cNvPr id="11433" name="Google Shape;11433;p1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34" name="Google Shape;11434;p1414"/>
            <p:cNvGrpSpPr/>
            <p:nvPr/>
          </p:nvGrpSpPr>
          <p:grpSpPr>
            <a:xfrm>
              <a:off x="7191542" y="1"/>
              <a:ext cx="5000459" cy="1425992"/>
              <a:chOff x="7186272" y="0"/>
              <a:chExt cx="5005729" cy="1427495"/>
            </a:xfrm>
          </p:grpSpPr>
          <p:sp>
            <p:nvSpPr>
              <p:cNvPr id="11435" name="Google Shape;11435;p1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36" name="Google Shape;11436;p1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437" name="Google Shape;11437;p14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438"/>
        <p:cNvGrpSpPr/>
        <p:nvPr/>
      </p:nvGrpSpPr>
      <p:grpSpPr>
        <a:xfrm>
          <a:off x="0" y="0"/>
          <a:ext cx="0" cy="0"/>
          <a:chOff x="0" y="0"/>
          <a:chExt cx="0" cy="0"/>
        </a:xfrm>
      </p:grpSpPr>
      <p:grpSp>
        <p:nvGrpSpPr>
          <p:cNvPr id="11439" name="Google Shape;11439;p1028"/>
          <p:cNvGrpSpPr/>
          <p:nvPr/>
        </p:nvGrpSpPr>
        <p:grpSpPr>
          <a:xfrm>
            <a:off x="7191542" y="1"/>
            <a:ext cx="5000459" cy="1425992"/>
            <a:chOff x="7191542" y="1"/>
            <a:chExt cx="5000459" cy="1425992"/>
          </a:xfrm>
        </p:grpSpPr>
        <p:pic>
          <p:nvPicPr>
            <p:cNvPr id="11440" name="Google Shape;11440;p10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41" name="Google Shape;11441;p1028"/>
            <p:cNvGrpSpPr/>
            <p:nvPr/>
          </p:nvGrpSpPr>
          <p:grpSpPr>
            <a:xfrm>
              <a:off x="7191542" y="1"/>
              <a:ext cx="5000459" cy="1425992"/>
              <a:chOff x="7186272" y="0"/>
              <a:chExt cx="5005729" cy="1427495"/>
            </a:xfrm>
          </p:grpSpPr>
          <p:sp>
            <p:nvSpPr>
              <p:cNvPr id="11442" name="Google Shape;11442;p10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43" name="Google Shape;11443;p10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444" name="Google Shape;11444;p10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5" name="Google Shape;11445;p10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46" name="Google Shape;11446;p10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447" name="Google Shape;11447;p10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48" name="Google Shape;11448;p10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83"/>
        <p:cNvGrpSpPr/>
        <p:nvPr/>
      </p:nvGrpSpPr>
      <p:grpSpPr>
        <a:xfrm>
          <a:off x="0" y="0"/>
          <a:ext cx="0" cy="0"/>
          <a:chOff x="0" y="0"/>
          <a:chExt cx="0" cy="0"/>
        </a:xfrm>
      </p:grpSpPr>
      <p:grpSp>
        <p:nvGrpSpPr>
          <p:cNvPr id="1184" name="Google Shape;1184;p168"/>
          <p:cNvGrpSpPr/>
          <p:nvPr/>
        </p:nvGrpSpPr>
        <p:grpSpPr>
          <a:xfrm>
            <a:off x="7191542" y="1"/>
            <a:ext cx="5000459" cy="1425992"/>
            <a:chOff x="7191542" y="1"/>
            <a:chExt cx="5000459" cy="1425992"/>
          </a:xfrm>
        </p:grpSpPr>
        <p:pic>
          <p:nvPicPr>
            <p:cNvPr id="1185" name="Google Shape;1185;p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 name="Google Shape;1186;p168"/>
            <p:cNvGrpSpPr/>
            <p:nvPr/>
          </p:nvGrpSpPr>
          <p:grpSpPr>
            <a:xfrm>
              <a:off x="7191542" y="1"/>
              <a:ext cx="5000459" cy="1425992"/>
              <a:chOff x="7186272" y="0"/>
              <a:chExt cx="5005729" cy="1427495"/>
            </a:xfrm>
          </p:grpSpPr>
          <p:sp>
            <p:nvSpPr>
              <p:cNvPr id="1187" name="Google Shape;1187;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8" name="Google Shape;1188;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9" name="Google Shape;1189;p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0" name="Google Shape;1190;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1" name="Google Shape;1191;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2" name="Google Shape;1192;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1449"/>
        <p:cNvGrpSpPr/>
        <p:nvPr/>
      </p:nvGrpSpPr>
      <p:grpSpPr>
        <a:xfrm>
          <a:off x="0" y="0"/>
          <a:ext cx="0" cy="0"/>
          <a:chOff x="0" y="0"/>
          <a:chExt cx="0" cy="0"/>
        </a:xfrm>
      </p:grpSpPr>
      <p:sp>
        <p:nvSpPr>
          <p:cNvPr id="11450" name="Google Shape;11450;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51" name="Google Shape;11451;p81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452" name="Google Shape;11452;p815"/>
          <p:cNvGrpSpPr/>
          <p:nvPr/>
        </p:nvGrpSpPr>
        <p:grpSpPr>
          <a:xfrm>
            <a:off x="7191542" y="1"/>
            <a:ext cx="5000459" cy="1425992"/>
            <a:chOff x="7191542" y="1"/>
            <a:chExt cx="5000459" cy="1425992"/>
          </a:xfrm>
        </p:grpSpPr>
        <p:pic>
          <p:nvPicPr>
            <p:cNvPr id="11453" name="Google Shape;11453;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54" name="Google Shape;11454;p815"/>
            <p:cNvGrpSpPr/>
            <p:nvPr/>
          </p:nvGrpSpPr>
          <p:grpSpPr>
            <a:xfrm>
              <a:off x="7191542" y="1"/>
              <a:ext cx="5000459" cy="1425992"/>
              <a:chOff x="7186272" y="0"/>
              <a:chExt cx="5005729" cy="1427495"/>
            </a:xfrm>
          </p:grpSpPr>
          <p:sp>
            <p:nvSpPr>
              <p:cNvPr id="11455" name="Google Shape;11455;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56" name="Google Shape;11456;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457" name="Google Shape;11457;p81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8" name="Google Shape;11458;p81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459" name="Google Shape;11459;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60" name="Google Shape;11460;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1461"/>
        <p:cNvGrpSpPr/>
        <p:nvPr/>
      </p:nvGrpSpPr>
      <p:grpSpPr>
        <a:xfrm>
          <a:off x="0" y="0"/>
          <a:ext cx="0" cy="0"/>
          <a:chOff x="0" y="0"/>
          <a:chExt cx="0" cy="0"/>
        </a:xfrm>
      </p:grpSpPr>
      <p:grpSp>
        <p:nvGrpSpPr>
          <p:cNvPr id="11462" name="Google Shape;11462;p1029"/>
          <p:cNvGrpSpPr/>
          <p:nvPr/>
        </p:nvGrpSpPr>
        <p:grpSpPr>
          <a:xfrm>
            <a:off x="7191542" y="1"/>
            <a:ext cx="5000459" cy="1425992"/>
            <a:chOff x="7191542" y="1"/>
            <a:chExt cx="5000459" cy="1425992"/>
          </a:xfrm>
        </p:grpSpPr>
        <p:pic>
          <p:nvPicPr>
            <p:cNvPr id="11463" name="Google Shape;11463;p10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64" name="Google Shape;11464;p1029"/>
            <p:cNvGrpSpPr/>
            <p:nvPr/>
          </p:nvGrpSpPr>
          <p:grpSpPr>
            <a:xfrm>
              <a:off x="7191542" y="1"/>
              <a:ext cx="5000459" cy="1425992"/>
              <a:chOff x="7186272" y="0"/>
              <a:chExt cx="5005729" cy="1427495"/>
            </a:xfrm>
          </p:grpSpPr>
          <p:sp>
            <p:nvSpPr>
              <p:cNvPr id="11465" name="Google Shape;11465;p10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66" name="Google Shape;11466;p10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467" name="Google Shape;11467;p10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8" name="Google Shape;11468;p102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69" name="Google Shape;11469;p102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70" name="Google Shape;11470;p10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1" name="Google Shape;11471;p10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72" name="Google Shape;11472;p10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473" name="Google Shape;11473;p10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74" name="Google Shape;11474;p10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1475"/>
        <p:cNvGrpSpPr/>
        <p:nvPr/>
      </p:nvGrpSpPr>
      <p:grpSpPr>
        <a:xfrm>
          <a:off x="0" y="0"/>
          <a:ext cx="0" cy="0"/>
          <a:chOff x="0" y="0"/>
          <a:chExt cx="0" cy="0"/>
        </a:xfrm>
      </p:grpSpPr>
      <p:grpSp>
        <p:nvGrpSpPr>
          <p:cNvPr id="11476" name="Google Shape;11476;p1030"/>
          <p:cNvGrpSpPr/>
          <p:nvPr/>
        </p:nvGrpSpPr>
        <p:grpSpPr>
          <a:xfrm>
            <a:off x="7191542" y="1"/>
            <a:ext cx="5000459" cy="1425992"/>
            <a:chOff x="7191542" y="1"/>
            <a:chExt cx="5000459" cy="1425992"/>
          </a:xfrm>
        </p:grpSpPr>
        <p:pic>
          <p:nvPicPr>
            <p:cNvPr id="11477" name="Google Shape;11477;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78" name="Google Shape;11478;p1030"/>
            <p:cNvGrpSpPr/>
            <p:nvPr/>
          </p:nvGrpSpPr>
          <p:grpSpPr>
            <a:xfrm>
              <a:off x="7191542" y="1"/>
              <a:ext cx="5000459" cy="1425992"/>
              <a:chOff x="7186272" y="0"/>
              <a:chExt cx="5005729" cy="1427495"/>
            </a:xfrm>
          </p:grpSpPr>
          <p:sp>
            <p:nvSpPr>
              <p:cNvPr id="11479" name="Google Shape;11479;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80" name="Google Shape;11480;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481" name="Google Shape;11481;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82" name="Google Shape;11482;p10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483" name="Google Shape;11483;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84" name="Google Shape;11484;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1485"/>
        <p:cNvGrpSpPr/>
        <p:nvPr/>
      </p:nvGrpSpPr>
      <p:grpSpPr>
        <a:xfrm>
          <a:off x="0" y="0"/>
          <a:ext cx="0" cy="0"/>
          <a:chOff x="0" y="0"/>
          <a:chExt cx="0" cy="0"/>
        </a:xfrm>
      </p:grpSpPr>
      <p:grpSp>
        <p:nvGrpSpPr>
          <p:cNvPr id="11486" name="Google Shape;11486;p1031"/>
          <p:cNvGrpSpPr/>
          <p:nvPr/>
        </p:nvGrpSpPr>
        <p:grpSpPr>
          <a:xfrm>
            <a:off x="0" y="0"/>
            <a:ext cx="12192000" cy="2148830"/>
            <a:chOff x="0" y="0"/>
            <a:chExt cx="12192000" cy="2148830"/>
          </a:xfrm>
        </p:grpSpPr>
        <p:sp>
          <p:nvSpPr>
            <p:cNvPr id="11487" name="Google Shape;11487;p103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488" name="Google Shape;11488;p103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489" name="Google Shape;11489;p103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490" name="Google Shape;11490;p103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1" name="Google Shape;11491;p103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92" name="Google Shape;11492;p103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493" name="Google Shape;11493;p103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1494"/>
        <p:cNvGrpSpPr/>
        <p:nvPr/>
      </p:nvGrpSpPr>
      <p:grpSpPr>
        <a:xfrm>
          <a:off x="0" y="0"/>
          <a:ext cx="0" cy="0"/>
          <a:chOff x="0" y="0"/>
          <a:chExt cx="0" cy="0"/>
        </a:xfrm>
      </p:grpSpPr>
      <p:sp>
        <p:nvSpPr>
          <p:cNvPr id="11495" name="Google Shape;11495;p10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496" name="Google Shape;11496;p10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97" name="Google Shape;11497;p10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498" name="Google Shape;11498;p1032"/>
          <p:cNvGrpSpPr/>
          <p:nvPr/>
        </p:nvGrpSpPr>
        <p:grpSpPr>
          <a:xfrm>
            <a:off x="7191542" y="1"/>
            <a:ext cx="5000459" cy="1425992"/>
            <a:chOff x="7191542" y="1"/>
            <a:chExt cx="5000459" cy="1425992"/>
          </a:xfrm>
        </p:grpSpPr>
        <p:pic>
          <p:nvPicPr>
            <p:cNvPr id="11499" name="Google Shape;11499;p10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00" name="Google Shape;11500;p1032"/>
            <p:cNvGrpSpPr/>
            <p:nvPr/>
          </p:nvGrpSpPr>
          <p:grpSpPr>
            <a:xfrm>
              <a:off x="7191542" y="1"/>
              <a:ext cx="5000459" cy="1425992"/>
              <a:chOff x="7186272" y="0"/>
              <a:chExt cx="5005729" cy="1427495"/>
            </a:xfrm>
          </p:grpSpPr>
          <p:sp>
            <p:nvSpPr>
              <p:cNvPr id="11501" name="Google Shape;11501;p10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02" name="Google Shape;11502;p10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1503"/>
        <p:cNvGrpSpPr/>
        <p:nvPr/>
      </p:nvGrpSpPr>
      <p:grpSpPr>
        <a:xfrm>
          <a:off x="0" y="0"/>
          <a:ext cx="0" cy="0"/>
          <a:chOff x="0" y="0"/>
          <a:chExt cx="0" cy="0"/>
        </a:xfrm>
      </p:grpSpPr>
      <p:sp>
        <p:nvSpPr>
          <p:cNvPr id="11504" name="Google Shape;11504;p14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05" name="Google Shape;11505;p14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6" name="Google Shape;11506;p14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507" name="Google Shape;11507;p1415"/>
          <p:cNvSpPr>
            <a:spLocks noGrp="1"/>
          </p:cNvSpPr>
          <p:nvPr>
            <p:ph type="pic" idx="2"/>
          </p:nvPr>
        </p:nvSpPr>
        <p:spPr>
          <a:xfrm>
            <a:off x="7118684" y="233915"/>
            <a:ext cx="5073316" cy="5943600"/>
          </a:xfrm>
          <a:prstGeom prst="rect">
            <a:avLst/>
          </a:prstGeom>
          <a:noFill/>
          <a:ln>
            <a:noFill/>
          </a:ln>
        </p:spPr>
      </p:sp>
      <p:grpSp>
        <p:nvGrpSpPr>
          <p:cNvPr id="11508" name="Google Shape;11508;p1415"/>
          <p:cNvGrpSpPr/>
          <p:nvPr/>
        </p:nvGrpSpPr>
        <p:grpSpPr>
          <a:xfrm>
            <a:off x="0" y="5020348"/>
            <a:ext cx="12192000" cy="1837653"/>
            <a:chOff x="0" y="5020348"/>
            <a:chExt cx="12192000" cy="1837653"/>
          </a:xfrm>
        </p:grpSpPr>
        <p:sp>
          <p:nvSpPr>
            <p:cNvPr id="11509" name="Google Shape;11509;p14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10" name="Google Shape;11510;p14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11" name="Google Shape;11511;p14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1512"/>
        <p:cNvGrpSpPr/>
        <p:nvPr/>
      </p:nvGrpSpPr>
      <p:grpSpPr>
        <a:xfrm>
          <a:off x="0" y="0"/>
          <a:ext cx="0" cy="0"/>
          <a:chOff x="0" y="0"/>
          <a:chExt cx="0" cy="0"/>
        </a:xfrm>
      </p:grpSpPr>
      <p:grpSp>
        <p:nvGrpSpPr>
          <p:cNvPr id="11513" name="Google Shape;11513;p1416"/>
          <p:cNvGrpSpPr/>
          <p:nvPr/>
        </p:nvGrpSpPr>
        <p:grpSpPr>
          <a:xfrm>
            <a:off x="0" y="5020347"/>
            <a:ext cx="12192000" cy="1837653"/>
            <a:chOff x="0" y="5020347"/>
            <a:chExt cx="12192000" cy="1837653"/>
          </a:xfrm>
        </p:grpSpPr>
        <p:sp>
          <p:nvSpPr>
            <p:cNvPr id="11514" name="Google Shape;11514;p14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15" name="Google Shape;11515;p1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16" name="Google Shape;11516;p14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17" name="Google Shape;11517;p1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518" name="Google Shape;11518;p14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9" name="Google Shape;11519;p14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11520"/>
        <p:cNvGrpSpPr/>
        <p:nvPr/>
      </p:nvGrpSpPr>
      <p:grpSpPr>
        <a:xfrm>
          <a:off x="0" y="0"/>
          <a:ext cx="0" cy="0"/>
          <a:chOff x="0" y="0"/>
          <a:chExt cx="0" cy="0"/>
        </a:xfrm>
      </p:grpSpPr>
      <p:sp>
        <p:nvSpPr>
          <p:cNvPr id="11521" name="Google Shape;11521;p14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522" name="Google Shape;11522;p14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523" name="Google Shape;11523;p1417"/>
          <p:cNvGrpSpPr/>
          <p:nvPr/>
        </p:nvGrpSpPr>
        <p:grpSpPr>
          <a:xfrm>
            <a:off x="0" y="5379426"/>
            <a:ext cx="2807368" cy="753891"/>
            <a:chOff x="0" y="5379426"/>
            <a:chExt cx="2807368" cy="753891"/>
          </a:xfrm>
        </p:grpSpPr>
        <p:sp>
          <p:nvSpPr>
            <p:cNvPr id="11524" name="Google Shape;11524;p14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25" name="Google Shape;11525;p14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526" name="Google Shape;11526;p1417"/>
          <p:cNvSpPr>
            <a:spLocks noGrp="1"/>
          </p:cNvSpPr>
          <p:nvPr>
            <p:ph type="pic" idx="2"/>
          </p:nvPr>
        </p:nvSpPr>
        <p:spPr>
          <a:xfrm>
            <a:off x="2807368" y="457202"/>
            <a:ext cx="8915400" cy="5943598"/>
          </a:xfrm>
          <a:prstGeom prst="rect">
            <a:avLst/>
          </a:prstGeom>
          <a:noFill/>
          <a:ln>
            <a:noFill/>
          </a:ln>
        </p:spPr>
      </p:sp>
      <p:pic>
        <p:nvPicPr>
          <p:cNvPr id="11527" name="Google Shape;11527;p14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1528"/>
        <p:cNvGrpSpPr/>
        <p:nvPr/>
      </p:nvGrpSpPr>
      <p:grpSpPr>
        <a:xfrm>
          <a:off x="0" y="0"/>
          <a:ext cx="0" cy="0"/>
          <a:chOff x="0" y="0"/>
          <a:chExt cx="0" cy="0"/>
        </a:xfrm>
      </p:grpSpPr>
      <p:sp>
        <p:nvSpPr>
          <p:cNvPr id="11529" name="Google Shape;11529;p14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30" name="Google Shape;11530;p14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1" name="Google Shape;11531;p14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32" name="Google Shape;11532;p14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33" name="Google Shape;11533;p1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34" name="Google Shape;11534;p14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35" name="Google Shape;11535;p1418"/>
          <p:cNvGrpSpPr/>
          <p:nvPr/>
        </p:nvGrpSpPr>
        <p:grpSpPr>
          <a:xfrm>
            <a:off x="7191542" y="1"/>
            <a:ext cx="5000459" cy="1425992"/>
            <a:chOff x="7191542" y="1"/>
            <a:chExt cx="5000459" cy="1425992"/>
          </a:xfrm>
        </p:grpSpPr>
        <p:pic>
          <p:nvPicPr>
            <p:cNvPr id="11536" name="Google Shape;11536;p1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37" name="Google Shape;11537;p1418"/>
            <p:cNvGrpSpPr/>
            <p:nvPr/>
          </p:nvGrpSpPr>
          <p:grpSpPr>
            <a:xfrm>
              <a:off x="7191542" y="1"/>
              <a:ext cx="5000459" cy="1425992"/>
              <a:chOff x="7186272" y="0"/>
              <a:chExt cx="5005729" cy="1427495"/>
            </a:xfrm>
          </p:grpSpPr>
          <p:sp>
            <p:nvSpPr>
              <p:cNvPr id="11538" name="Google Shape;11538;p1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39" name="Google Shape;11539;p1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540" name="Google Shape;11540;p141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1541"/>
        <p:cNvGrpSpPr/>
        <p:nvPr/>
      </p:nvGrpSpPr>
      <p:grpSpPr>
        <a:xfrm>
          <a:off x="0" y="0"/>
          <a:ext cx="0" cy="0"/>
          <a:chOff x="0" y="0"/>
          <a:chExt cx="0" cy="0"/>
        </a:xfrm>
      </p:grpSpPr>
      <p:grpSp>
        <p:nvGrpSpPr>
          <p:cNvPr id="11542" name="Google Shape;11542;p1419"/>
          <p:cNvGrpSpPr/>
          <p:nvPr/>
        </p:nvGrpSpPr>
        <p:grpSpPr>
          <a:xfrm>
            <a:off x="7191542" y="1"/>
            <a:ext cx="5000459" cy="1425992"/>
            <a:chOff x="7191542" y="1"/>
            <a:chExt cx="5000459" cy="1425992"/>
          </a:xfrm>
        </p:grpSpPr>
        <p:pic>
          <p:nvPicPr>
            <p:cNvPr id="11543" name="Google Shape;11543;p1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44" name="Google Shape;11544;p1419"/>
            <p:cNvGrpSpPr/>
            <p:nvPr/>
          </p:nvGrpSpPr>
          <p:grpSpPr>
            <a:xfrm>
              <a:off x="7191542" y="1"/>
              <a:ext cx="5000459" cy="1425992"/>
              <a:chOff x="7186272" y="0"/>
              <a:chExt cx="5005729" cy="1427495"/>
            </a:xfrm>
          </p:grpSpPr>
          <p:sp>
            <p:nvSpPr>
              <p:cNvPr id="11545" name="Google Shape;11545;p1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46" name="Google Shape;11546;p1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547" name="Google Shape;11547;p14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8" name="Google Shape;11548;p141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9" name="Google Shape;11549;p1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50" name="Google Shape;11550;p1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51" name="Google Shape;11551;p1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93"/>
        <p:cNvGrpSpPr/>
        <p:nvPr/>
      </p:nvGrpSpPr>
      <p:grpSpPr>
        <a:xfrm>
          <a:off x="0" y="0"/>
          <a:ext cx="0" cy="0"/>
          <a:chOff x="0" y="0"/>
          <a:chExt cx="0" cy="0"/>
        </a:xfrm>
      </p:grpSpPr>
      <p:sp>
        <p:nvSpPr>
          <p:cNvPr id="1194" name="Google Shape;119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5" name="Google Shape;1195;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6" name="Google Shape;1196;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7" name="Google Shape;1197;p169"/>
          <p:cNvGrpSpPr/>
          <p:nvPr/>
        </p:nvGrpSpPr>
        <p:grpSpPr>
          <a:xfrm>
            <a:off x="7191542" y="1"/>
            <a:ext cx="5000459" cy="1425992"/>
            <a:chOff x="7191542" y="1"/>
            <a:chExt cx="5000459" cy="1425992"/>
          </a:xfrm>
        </p:grpSpPr>
        <p:pic>
          <p:nvPicPr>
            <p:cNvPr id="1198" name="Google Shape;1198;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9" name="Google Shape;1199;p169"/>
            <p:cNvGrpSpPr/>
            <p:nvPr/>
          </p:nvGrpSpPr>
          <p:grpSpPr>
            <a:xfrm>
              <a:off x="7191542" y="1"/>
              <a:ext cx="5000459" cy="1425992"/>
              <a:chOff x="7186272" y="0"/>
              <a:chExt cx="5005729" cy="1427495"/>
            </a:xfrm>
          </p:grpSpPr>
          <p:sp>
            <p:nvSpPr>
              <p:cNvPr id="1200" name="Google Shape;1200;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1" name="Google Shape;1201;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11552"/>
        <p:cNvGrpSpPr/>
        <p:nvPr/>
      </p:nvGrpSpPr>
      <p:grpSpPr>
        <a:xfrm>
          <a:off x="0" y="0"/>
          <a:ext cx="0" cy="0"/>
          <a:chOff x="0" y="0"/>
          <a:chExt cx="0" cy="0"/>
        </a:xfrm>
      </p:grpSpPr>
      <p:sp>
        <p:nvSpPr>
          <p:cNvPr id="11553" name="Google Shape;11553;p14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4" name="Google Shape;11554;p142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555" name="Google Shape;11555;p1420"/>
          <p:cNvGrpSpPr/>
          <p:nvPr/>
        </p:nvGrpSpPr>
        <p:grpSpPr>
          <a:xfrm>
            <a:off x="7191542" y="1"/>
            <a:ext cx="5000459" cy="1425992"/>
            <a:chOff x="7191542" y="1"/>
            <a:chExt cx="5000459" cy="1425992"/>
          </a:xfrm>
        </p:grpSpPr>
        <p:pic>
          <p:nvPicPr>
            <p:cNvPr id="11556" name="Google Shape;11556;p1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57" name="Google Shape;11557;p1420"/>
            <p:cNvGrpSpPr/>
            <p:nvPr/>
          </p:nvGrpSpPr>
          <p:grpSpPr>
            <a:xfrm>
              <a:off x="7191542" y="1"/>
              <a:ext cx="5000459" cy="1425992"/>
              <a:chOff x="7186272" y="0"/>
              <a:chExt cx="5005729" cy="1427495"/>
            </a:xfrm>
          </p:grpSpPr>
          <p:sp>
            <p:nvSpPr>
              <p:cNvPr id="11558" name="Google Shape;11558;p1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59" name="Google Shape;11559;p1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560" name="Google Shape;11560;p142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61" name="Google Shape;11561;p142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562" name="Google Shape;11562;p1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63" name="Google Shape;11563;p1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11564"/>
        <p:cNvGrpSpPr/>
        <p:nvPr/>
      </p:nvGrpSpPr>
      <p:grpSpPr>
        <a:xfrm>
          <a:off x="0" y="0"/>
          <a:ext cx="0" cy="0"/>
          <a:chOff x="0" y="0"/>
          <a:chExt cx="0" cy="0"/>
        </a:xfrm>
      </p:grpSpPr>
      <p:grpSp>
        <p:nvGrpSpPr>
          <p:cNvPr id="11565" name="Google Shape;11565;p1421"/>
          <p:cNvGrpSpPr/>
          <p:nvPr/>
        </p:nvGrpSpPr>
        <p:grpSpPr>
          <a:xfrm>
            <a:off x="7191542" y="1"/>
            <a:ext cx="5000459" cy="1425992"/>
            <a:chOff x="7191542" y="1"/>
            <a:chExt cx="5000459" cy="1425992"/>
          </a:xfrm>
        </p:grpSpPr>
        <p:pic>
          <p:nvPicPr>
            <p:cNvPr id="11566" name="Google Shape;11566;p1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67" name="Google Shape;11567;p1421"/>
            <p:cNvGrpSpPr/>
            <p:nvPr/>
          </p:nvGrpSpPr>
          <p:grpSpPr>
            <a:xfrm>
              <a:off x="7191542" y="1"/>
              <a:ext cx="5000459" cy="1425992"/>
              <a:chOff x="7186272" y="0"/>
              <a:chExt cx="5005729" cy="1427495"/>
            </a:xfrm>
          </p:grpSpPr>
          <p:sp>
            <p:nvSpPr>
              <p:cNvPr id="11568" name="Google Shape;11568;p1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69" name="Google Shape;11569;p1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570" name="Google Shape;11570;p14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71" name="Google Shape;11571;p142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72" name="Google Shape;11572;p142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3" name="Google Shape;11573;p142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74" name="Google Shape;11574;p142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5" name="Google Shape;11575;p14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576" name="Google Shape;11576;p1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77" name="Google Shape;11577;p14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11578"/>
        <p:cNvGrpSpPr/>
        <p:nvPr/>
      </p:nvGrpSpPr>
      <p:grpSpPr>
        <a:xfrm>
          <a:off x="0" y="0"/>
          <a:ext cx="0" cy="0"/>
          <a:chOff x="0" y="0"/>
          <a:chExt cx="0" cy="0"/>
        </a:xfrm>
      </p:grpSpPr>
      <p:grpSp>
        <p:nvGrpSpPr>
          <p:cNvPr id="11579" name="Google Shape;11579;p1422"/>
          <p:cNvGrpSpPr/>
          <p:nvPr/>
        </p:nvGrpSpPr>
        <p:grpSpPr>
          <a:xfrm>
            <a:off x="7191542" y="1"/>
            <a:ext cx="5000459" cy="1425992"/>
            <a:chOff x="7191542" y="1"/>
            <a:chExt cx="5000459" cy="1425992"/>
          </a:xfrm>
        </p:grpSpPr>
        <p:pic>
          <p:nvPicPr>
            <p:cNvPr id="11580" name="Google Shape;11580;p14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81" name="Google Shape;11581;p1422"/>
            <p:cNvGrpSpPr/>
            <p:nvPr/>
          </p:nvGrpSpPr>
          <p:grpSpPr>
            <a:xfrm>
              <a:off x="7191542" y="1"/>
              <a:ext cx="5000459" cy="1425992"/>
              <a:chOff x="7186272" y="0"/>
              <a:chExt cx="5005729" cy="1427495"/>
            </a:xfrm>
          </p:grpSpPr>
          <p:sp>
            <p:nvSpPr>
              <p:cNvPr id="11582" name="Google Shape;11582;p14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83" name="Google Shape;11583;p14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584" name="Google Shape;11584;p14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85" name="Google Shape;11585;p14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6" name="Google Shape;11586;p14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87" name="Google Shape;11587;p14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11588"/>
        <p:cNvGrpSpPr/>
        <p:nvPr/>
      </p:nvGrpSpPr>
      <p:grpSpPr>
        <a:xfrm>
          <a:off x="0" y="0"/>
          <a:ext cx="0" cy="0"/>
          <a:chOff x="0" y="0"/>
          <a:chExt cx="0" cy="0"/>
        </a:xfrm>
      </p:grpSpPr>
      <p:grpSp>
        <p:nvGrpSpPr>
          <p:cNvPr id="11589" name="Google Shape;11589;p1423"/>
          <p:cNvGrpSpPr/>
          <p:nvPr/>
        </p:nvGrpSpPr>
        <p:grpSpPr>
          <a:xfrm>
            <a:off x="0" y="0"/>
            <a:ext cx="12192000" cy="2148830"/>
            <a:chOff x="0" y="0"/>
            <a:chExt cx="12192000" cy="2148830"/>
          </a:xfrm>
        </p:grpSpPr>
        <p:sp>
          <p:nvSpPr>
            <p:cNvPr id="11590" name="Google Shape;11590;p142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91" name="Google Shape;11591;p142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592" name="Google Shape;11592;p142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93" name="Google Shape;11593;p142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4" name="Google Shape;11594;p142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95" name="Google Shape;11595;p142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596" name="Google Shape;11596;p142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1597"/>
        <p:cNvGrpSpPr/>
        <p:nvPr/>
      </p:nvGrpSpPr>
      <p:grpSpPr>
        <a:xfrm>
          <a:off x="0" y="0"/>
          <a:ext cx="0" cy="0"/>
          <a:chOff x="0" y="0"/>
          <a:chExt cx="0" cy="0"/>
        </a:xfrm>
      </p:grpSpPr>
      <p:sp>
        <p:nvSpPr>
          <p:cNvPr id="11598" name="Google Shape;11598;p14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599" name="Google Shape;11599;p1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00" name="Google Shape;11600;p1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01" name="Google Shape;11601;p1424"/>
          <p:cNvGrpSpPr/>
          <p:nvPr/>
        </p:nvGrpSpPr>
        <p:grpSpPr>
          <a:xfrm>
            <a:off x="7191542" y="1"/>
            <a:ext cx="5000459" cy="1425992"/>
            <a:chOff x="7191542" y="1"/>
            <a:chExt cx="5000459" cy="1425992"/>
          </a:xfrm>
        </p:grpSpPr>
        <p:pic>
          <p:nvPicPr>
            <p:cNvPr id="11602" name="Google Shape;11602;p1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03" name="Google Shape;11603;p1424"/>
            <p:cNvGrpSpPr/>
            <p:nvPr/>
          </p:nvGrpSpPr>
          <p:grpSpPr>
            <a:xfrm>
              <a:off x="7191542" y="1"/>
              <a:ext cx="5000459" cy="1425992"/>
              <a:chOff x="7186272" y="0"/>
              <a:chExt cx="5005729" cy="1427495"/>
            </a:xfrm>
          </p:grpSpPr>
          <p:sp>
            <p:nvSpPr>
              <p:cNvPr id="11604" name="Google Shape;11604;p1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05" name="Google Shape;11605;p1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1606"/>
        <p:cNvGrpSpPr/>
        <p:nvPr/>
      </p:nvGrpSpPr>
      <p:grpSpPr>
        <a:xfrm>
          <a:off x="0" y="0"/>
          <a:ext cx="0" cy="0"/>
          <a:chOff x="0" y="0"/>
          <a:chExt cx="0" cy="0"/>
        </a:xfrm>
      </p:grpSpPr>
      <p:sp>
        <p:nvSpPr>
          <p:cNvPr id="11607" name="Google Shape;11607;p28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608" name="Google Shape;11608;p2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1609" name="Google Shape;11609;p284"/>
          <p:cNvGrpSpPr/>
          <p:nvPr/>
        </p:nvGrpSpPr>
        <p:grpSpPr>
          <a:xfrm>
            <a:off x="0" y="0"/>
            <a:ext cx="1862667" cy="6629400"/>
            <a:chOff x="-15876" y="0"/>
            <a:chExt cx="1927803" cy="6858000"/>
          </a:xfrm>
        </p:grpSpPr>
        <p:sp>
          <p:nvSpPr>
            <p:cNvPr id="11610" name="Google Shape;11610;p28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611" name="Google Shape;11611;p28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612" name="Google Shape;11612;p28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613" name="Google Shape;11613;p28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4" name="Google Shape;11614;p28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15" name="Google Shape;11615;p28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616"/>
        <p:cNvGrpSpPr/>
        <p:nvPr/>
      </p:nvGrpSpPr>
      <p:grpSpPr>
        <a:xfrm>
          <a:off x="0" y="0"/>
          <a:ext cx="0" cy="0"/>
          <a:chOff x="0" y="0"/>
          <a:chExt cx="0" cy="0"/>
        </a:xfrm>
      </p:grpSpPr>
      <p:sp>
        <p:nvSpPr>
          <p:cNvPr id="11617" name="Google Shape;11617;p28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618" name="Google Shape;11618;p28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9" name="Google Shape;11619;p28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0" name="Google Shape;11620;p28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1" name="Google Shape;11621;p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622" name="Google Shape;11622;p28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1623"/>
        <p:cNvGrpSpPr/>
        <p:nvPr/>
      </p:nvGrpSpPr>
      <p:grpSpPr>
        <a:xfrm>
          <a:off x="0" y="0"/>
          <a:ext cx="0" cy="0"/>
          <a:chOff x="0" y="0"/>
          <a:chExt cx="0" cy="0"/>
        </a:xfrm>
      </p:grpSpPr>
      <p:grpSp>
        <p:nvGrpSpPr>
          <p:cNvPr id="11624" name="Google Shape;11624;p400"/>
          <p:cNvGrpSpPr/>
          <p:nvPr/>
        </p:nvGrpSpPr>
        <p:grpSpPr>
          <a:xfrm>
            <a:off x="7191542" y="1"/>
            <a:ext cx="5000459" cy="1425992"/>
            <a:chOff x="7191542" y="1"/>
            <a:chExt cx="5000459" cy="1425992"/>
          </a:xfrm>
        </p:grpSpPr>
        <p:pic>
          <p:nvPicPr>
            <p:cNvPr id="11625" name="Google Shape;11625;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6" name="Google Shape;11626;p400"/>
            <p:cNvGrpSpPr/>
            <p:nvPr/>
          </p:nvGrpSpPr>
          <p:grpSpPr>
            <a:xfrm>
              <a:off x="7191542" y="1"/>
              <a:ext cx="5000459" cy="1425992"/>
              <a:chOff x="7186272" y="0"/>
              <a:chExt cx="5005729" cy="1427495"/>
            </a:xfrm>
          </p:grpSpPr>
          <p:sp>
            <p:nvSpPr>
              <p:cNvPr id="11627" name="Google Shape;11627;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28" name="Google Shape;11628;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29" name="Google Shape;11629;p4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0" name="Google Shape;11630;p40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1" name="Google Shape;11631;p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32" name="Google Shape;11632;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33" name="Google Shape;11633;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634"/>
        <p:cNvGrpSpPr/>
        <p:nvPr/>
      </p:nvGrpSpPr>
      <p:grpSpPr>
        <a:xfrm>
          <a:off x="0" y="0"/>
          <a:ext cx="0" cy="0"/>
          <a:chOff x="0" y="0"/>
          <a:chExt cx="0" cy="0"/>
        </a:xfrm>
      </p:grpSpPr>
      <p:sp>
        <p:nvSpPr>
          <p:cNvPr id="11635" name="Google Shape;11635;p4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636" name="Google Shape;11636;p4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637" name="Google Shape;11637;p401"/>
          <p:cNvGrpSpPr/>
          <p:nvPr/>
        </p:nvGrpSpPr>
        <p:grpSpPr>
          <a:xfrm>
            <a:off x="0" y="5379426"/>
            <a:ext cx="2807368" cy="753891"/>
            <a:chOff x="0" y="5379426"/>
            <a:chExt cx="2807368" cy="753891"/>
          </a:xfrm>
        </p:grpSpPr>
        <p:sp>
          <p:nvSpPr>
            <p:cNvPr id="11638" name="Google Shape;11638;p4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39" name="Google Shape;11639;p4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640" name="Google Shape;11640;p401"/>
          <p:cNvSpPr>
            <a:spLocks noGrp="1"/>
          </p:cNvSpPr>
          <p:nvPr>
            <p:ph type="pic" idx="2"/>
          </p:nvPr>
        </p:nvSpPr>
        <p:spPr>
          <a:xfrm>
            <a:off x="2807368" y="457202"/>
            <a:ext cx="8915400" cy="5943598"/>
          </a:xfrm>
          <a:prstGeom prst="rect">
            <a:avLst/>
          </a:prstGeom>
          <a:noFill/>
          <a:ln>
            <a:noFill/>
          </a:ln>
        </p:spPr>
      </p:sp>
      <p:pic>
        <p:nvPicPr>
          <p:cNvPr id="11641" name="Google Shape;11641;p4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matchingName="Title and Content">
  <p:cSld name="2_Title and Content 2">
    <p:spTree>
      <p:nvGrpSpPr>
        <p:cNvPr id="1" name="Shape 11642"/>
        <p:cNvGrpSpPr/>
        <p:nvPr/>
      </p:nvGrpSpPr>
      <p:grpSpPr>
        <a:xfrm>
          <a:off x="0" y="0"/>
          <a:ext cx="0" cy="0"/>
          <a:chOff x="0" y="0"/>
          <a:chExt cx="0" cy="0"/>
        </a:xfrm>
      </p:grpSpPr>
      <p:grpSp>
        <p:nvGrpSpPr>
          <p:cNvPr id="11643" name="Google Shape;11643;p1425"/>
          <p:cNvGrpSpPr/>
          <p:nvPr/>
        </p:nvGrpSpPr>
        <p:grpSpPr>
          <a:xfrm>
            <a:off x="7191542" y="1"/>
            <a:ext cx="5000459" cy="1425992"/>
            <a:chOff x="7191542" y="1"/>
            <a:chExt cx="5000459" cy="1425992"/>
          </a:xfrm>
        </p:grpSpPr>
        <p:pic>
          <p:nvPicPr>
            <p:cNvPr id="11644" name="Google Shape;11644;p1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45" name="Google Shape;11645;p1425"/>
            <p:cNvGrpSpPr/>
            <p:nvPr/>
          </p:nvGrpSpPr>
          <p:grpSpPr>
            <a:xfrm>
              <a:off x="7191542" y="1"/>
              <a:ext cx="5000459" cy="1425992"/>
              <a:chOff x="7186272" y="0"/>
              <a:chExt cx="5005729" cy="1427495"/>
            </a:xfrm>
          </p:grpSpPr>
          <p:sp>
            <p:nvSpPr>
              <p:cNvPr id="11646" name="Google Shape;11646;p1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47" name="Google Shape;11647;p1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48" name="Google Shape;11648;p1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49" name="Google Shape;11649;p1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0" name="Google Shape;11650;p14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51" name="Google Shape;11651;p1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52" name="Google Shape;11652;p1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202"/>
        <p:cNvGrpSpPr/>
        <p:nvPr/>
      </p:nvGrpSpPr>
      <p:grpSpPr>
        <a:xfrm>
          <a:off x="0" y="0"/>
          <a:ext cx="0" cy="0"/>
          <a:chOff x="0" y="0"/>
          <a:chExt cx="0" cy="0"/>
        </a:xfrm>
      </p:grpSpPr>
      <p:sp>
        <p:nvSpPr>
          <p:cNvPr id="1203" name="Google Shape;1203;p1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4" name="Google Shape;1204;p1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5" name="Google Shape;1205;p1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 name="Google Shape;1206;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7" name="Google Shape;1207;p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 name="Google Shape;1208;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9" name="Google Shape;1209;p170"/>
          <p:cNvGrpSpPr/>
          <p:nvPr/>
        </p:nvGrpSpPr>
        <p:grpSpPr>
          <a:xfrm>
            <a:off x="7191542" y="1"/>
            <a:ext cx="5000459" cy="1425992"/>
            <a:chOff x="7191542" y="1"/>
            <a:chExt cx="5000459" cy="1425992"/>
          </a:xfrm>
        </p:grpSpPr>
        <p:pic>
          <p:nvPicPr>
            <p:cNvPr id="1210" name="Google Shape;1210;p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 name="Google Shape;1211;p170"/>
            <p:cNvGrpSpPr/>
            <p:nvPr/>
          </p:nvGrpSpPr>
          <p:grpSpPr>
            <a:xfrm>
              <a:off x="7191542" y="1"/>
              <a:ext cx="5000459" cy="1425992"/>
              <a:chOff x="7186272" y="0"/>
              <a:chExt cx="5005729" cy="1427495"/>
            </a:xfrm>
          </p:grpSpPr>
          <p:sp>
            <p:nvSpPr>
              <p:cNvPr id="1212" name="Google Shape;1212;p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3" name="Google Shape;1213;p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14" name="Google Shape;1214;p1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11653"/>
        <p:cNvGrpSpPr/>
        <p:nvPr/>
      </p:nvGrpSpPr>
      <p:grpSpPr>
        <a:xfrm>
          <a:off x="0" y="0"/>
          <a:ext cx="0" cy="0"/>
          <a:chOff x="0" y="0"/>
          <a:chExt cx="0" cy="0"/>
        </a:xfrm>
      </p:grpSpPr>
      <p:sp>
        <p:nvSpPr>
          <p:cNvPr id="11654" name="Google Shape;11654;p142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655" name="Google Shape;11655;p142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656" name="Google Shape;11656;p1426"/>
          <p:cNvGrpSpPr/>
          <p:nvPr/>
        </p:nvGrpSpPr>
        <p:grpSpPr>
          <a:xfrm>
            <a:off x="0" y="5379426"/>
            <a:ext cx="2807368" cy="753891"/>
            <a:chOff x="0" y="5379426"/>
            <a:chExt cx="2807368" cy="753891"/>
          </a:xfrm>
        </p:grpSpPr>
        <p:sp>
          <p:nvSpPr>
            <p:cNvPr id="11657" name="Google Shape;11657;p142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58" name="Google Shape;11658;p142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659" name="Google Shape;11659;p1426"/>
          <p:cNvSpPr>
            <a:spLocks noGrp="1"/>
          </p:cNvSpPr>
          <p:nvPr>
            <p:ph type="pic" idx="2"/>
          </p:nvPr>
        </p:nvSpPr>
        <p:spPr>
          <a:xfrm>
            <a:off x="2807368" y="457202"/>
            <a:ext cx="8915400" cy="5943598"/>
          </a:xfrm>
          <a:prstGeom prst="rect">
            <a:avLst/>
          </a:prstGeom>
          <a:noFill/>
          <a:ln>
            <a:noFill/>
          </a:ln>
        </p:spPr>
      </p:sp>
      <p:pic>
        <p:nvPicPr>
          <p:cNvPr id="11660" name="Google Shape;11660;p142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1661"/>
        <p:cNvGrpSpPr/>
        <p:nvPr/>
      </p:nvGrpSpPr>
      <p:grpSpPr>
        <a:xfrm>
          <a:off x="0" y="0"/>
          <a:ext cx="0" cy="0"/>
          <a:chOff x="0" y="0"/>
          <a:chExt cx="0" cy="0"/>
        </a:xfrm>
      </p:grpSpPr>
      <p:pic>
        <p:nvPicPr>
          <p:cNvPr id="11662" name="Google Shape;11662;p1427"/>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1663" name="Google Shape;11663;p1427"/>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1664" name="Google Shape;11664;p1427"/>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65" name="Google Shape;11665;p142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matchingName="2_Title and Content">
  <p:cSld name="2_Title and Content 3">
    <p:spTree>
      <p:nvGrpSpPr>
        <p:cNvPr id="1" name="Shape 11666"/>
        <p:cNvGrpSpPr/>
        <p:nvPr/>
      </p:nvGrpSpPr>
      <p:grpSpPr>
        <a:xfrm>
          <a:off x="0" y="0"/>
          <a:ext cx="0" cy="0"/>
          <a:chOff x="0" y="0"/>
          <a:chExt cx="0" cy="0"/>
        </a:xfrm>
      </p:grpSpPr>
      <p:pic>
        <p:nvPicPr>
          <p:cNvPr id="11667" name="Google Shape;11667;p1428"/>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11668" name="Google Shape;11668;p14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69" name="Google Shape;11669;p14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1670" name="Google Shape;11670;p1428"/>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11671"/>
        <p:cNvGrpSpPr/>
        <p:nvPr/>
      </p:nvGrpSpPr>
      <p:grpSpPr>
        <a:xfrm>
          <a:off x="0" y="0"/>
          <a:ext cx="0" cy="0"/>
          <a:chOff x="0" y="0"/>
          <a:chExt cx="0" cy="0"/>
        </a:xfrm>
      </p:grpSpPr>
      <p:pic>
        <p:nvPicPr>
          <p:cNvPr id="11672" name="Google Shape;11672;p142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11673" name="Google Shape;11673;p142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4" name="Google Shape;11674;p14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1675" name="Google Shape;11675;p142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11676"/>
        <p:cNvGrpSpPr/>
        <p:nvPr/>
      </p:nvGrpSpPr>
      <p:grpSpPr>
        <a:xfrm>
          <a:off x="0" y="0"/>
          <a:ext cx="0" cy="0"/>
          <a:chOff x="0" y="0"/>
          <a:chExt cx="0" cy="0"/>
        </a:xfrm>
      </p:grpSpPr>
      <p:pic>
        <p:nvPicPr>
          <p:cNvPr id="11677" name="Google Shape;11677;p143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1678" name="Google Shape;11678;p143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1679" name="Google Shape;11679;p143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80" name="Google Shape;11680;p143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1681"/>
        <p:cNvGrpSpPr/>
        <p:nvPr/>
      </p:nvGrpSpPr>
      <p:grpSpPr>
        <a:xfrm>
          <a:off x="0" y="0"/>
          <a:ext cx="0" cy="0"/>
          <a:chOff x="0" y="0"/>
          <a:chExt cx="0" cy="0"/>
        </a:xfrm>
      </p:grpSpPr>
      <p:pic>
        <p:nvPicPr>
          <p:cNvPr id="11682" name="Google Shape;11682;p143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11683" name="Google Shape;11683;p14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84" name="Google Shape;11684;p14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685" name="Google Shape;11685;p143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11686"/>
        <p:cNvGrpSpPr/>
        <p:nvPr/>
      </p:nvGrpSpPr>
      <p:grpSpPr>
        <a:xfrm>
          <a:off x="0" y="0"/>
          <a:ext cx="0" cy="0"/>
          <a:chOff x="0" y="0"/>
          <a:chExt cx="0" cy="0"/>
        </a:xfrm>
      </p:grpSpPr>
      <p:pic>
        <p:nvPicPr>
          <p:cNvPr id="11687" name="Google Shape;11687;p1432"/>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11688" name="Google Shape;11688;p1432"/>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89" name="Google Shape;11689;p1432"/>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0" name="Google Shape;11690;p143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11691"/>
        <p:cNvGrpSpPr/>
        <p:nvPr/>
      </p:nvGrpSpPr>
      <p:grpSpPr>
        <a:xfrm>
          <a:off x="0" y="0"/>
          <a:ext cx="0" cy="0"/>
          <a:chOff x="0" y="0"/>
          <a:chExt cx="0" cy="0"/>
        </a:xfrm>
      </p:grpSpPr>
      <p:pic>
        <p:nvPicPr>
          <p:cNvPr id="11692" name="Google Shape;11692;p1433"/>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11693" name="Google Shape;11693;p143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1694"/>
        <p:cNvGrpSpPr/>
        <p:nvPr/>
      </p:nvGrpSpPr>
      <p:grpSpPr>
        <a:xfrm>
          <a:off x="0" y="0"/>
          <a:ext cx="0" cy="0"/>
          <a:chOff x="0" y="0"/>
          <a:chExt cx="0" cy="0"/>
        </a:xfrm>
      </p:grpSpPr>
      <p:sp>
        <p:nvSpPr>
          <p:cNvPr id="11695" name="Google Shape;11695;p14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6" name="Google Shape;11696;p14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97" name="Google Shape;11697;p14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698" name="Google Shape;11698;p14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99" name="Google Shape;11699;p1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700" name="Google Shape;11700;p14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701" name="Google Shape;11701;p14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702" name="Google Shape;11702;p14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703" name="Google Shape;11703;p14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11704"/>
        <p:cNvGrpSpPr/>
        <p:nvPr/>
      </p:nvGrpSpPr>
      <p:grpSpPr>
        <a:xfrm>
          <a:off x="0" y="0"/>
          <a:ext cx="0" cy="0"/>
          <a:chOff x="0" y="0"/>
          <a:chExt cx="0" cy="0"/>
        </a:xfrm>
      </p:grpSpPr>
      <p:sp>
        <p:nvSpPr>
          <p:cNvPr id="11705" name="Google Shape;11705;p14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06" name="Google Shape;11706;p14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707" name="Google Shape;11707;p14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708" name="Google Shape;11708;p14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709" name="Google Shape;11709;p14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215"/>
        <p:cNvGrpSpPr/>
        <p:nvPr/>
      </p:nvGrpSpPr>
      <p:grpSpPr>
        <a:xfrm>
          <a:off x="0" y="0"/>
          <a:ext cx="0" cy="0"/>
          <a:chOff x="0" y="0"/>
          <a:chExt cx="0" cy="0"/>
        </a:xfrm>
      </p:grpSpPr>
      <p:grpSp>
        <p:nvGrpSpPr>
          <p:cNvPr id="1216" name="Google Shape;1216;p171"/>
          <p:cNvGrpSpPr/>
          <p:nvPr/>
        </p:nvGrpSpPr>
        <p:grpSpPr>
          <a:xfrm>
            <a:off x="0" y="0"/>
            <a:ext cx="12192000" cy="2148830"/>
            <a:chOff x="0" y="0"/>
            <a:chExt cx="12192000" cy="2148830"/>
          </a:xfrm>
        </p:grpSpPr>
        <p:sp>
          <p:nvSpPr>
            <p:cNvPr id="1217" name="Google Shape;1217;p1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8" name="Google Shape;1218;p1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219" name="Google Shape;1219;p1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20" name="Google Shape;1220;p1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1" name="Google Shape;1221;p1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22" name="Google Shape;1222;p1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23" name="Google Shape;1223;p1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11710"/>
        <p:cNvGrpSpPr/>
        <p:nvPr/>
      </p:nvGrpSpPr>
      <p:grpSpPr>
        <a:xfrm>
          <a:off x="0" y="0"/>
          <a:ext cx="0" cy="0"/>
          <a:chOff x="0" y="0"/>
          <a:chExt cx="0" cy="0"/>
        </a:xfrm>
      </p:grpSpPr>
      <p:sp>
        <p:nvSpPr>
          <p:cNvPr id="11711" name="Google Shape;11711;p4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712" name="Google Shape;11712;p4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713" name="Google Shape;11713;p4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714" name="Google Shape;11714;p4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15" name="Google Shape;11715;p4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11716"/>
        <p:cNvGrpSpPr/>
        <p:nvPr/>
      </p:nvGrpSpPr>
      <p:grpSpPr>
        <a:xfrm>
          <a:off x="0" y="0"/>
          <a:ext cx="0" cy="0"/>
          <a:chOff x="0" y="0"/>
          <a:chExt cx="0" cy="0"/>
        </a:xfrm>
      </p:grpSpPr>
      <p:sp>
        <p:nvSpPr>
          <p:cNvPr id="11717" name="Google Shape;11717;p40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718" name="Google Shape;11718;p40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719" name="Google Shape;11719;p40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0" name="Google Shape;11720;p40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1" name="Google Shape;11721;p40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22" name="Google Shape;11722;p40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1723"/>
        <p:cNvGrpSpPr/>
        <p:nvPr/>
      </p:nvGrpSpPr>
      <p:grpSpPr>
        <a:xfrm>
          <a:off x="0" y="0"/>
          <a:ext cx="0" cy="0"/>
          <a:chOff x="0" y="0"/>
          <a:chExt cx="0" cy="0"/>
        </a:xfrm>
      </p:grpSpPr>
      <p:sp>
        <p:nvSpPr>
          <p:cNvPr id="11724" name="Google Shape;11724;p35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725" name="Google Shape;11725;p35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26" name="Google Shape;11726;p35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7" name="Google Shape;11727;p35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8" name="Google Shape;11728;p3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29" name="Google Shape;11729;p35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730"/>
        <p:cNvGrpSpPr/>
        <p:nvPr/>
      </p:nvGrpSpPr>
      <p:grpSpPr>
        <a:xfrm>
          <a:off x="0" y="0"/>
          <a:ext cx="0" cy="0"/>
          <a:chOff x="0" y="0"/>
          <a:chExt cx="0" cy="0"/>
        </a:xfrm>
      </p:grpSpPr>
      <p:sp>
        <p:nvSpPr>
          <p:cNvPr id="11731" name="Google Shape;11731;p143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32" name="Google Shape;11732;p143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1733" name="Google Shape;11733;p143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734" name="Google Shape;11734;p14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35" name="Google Shape;11735;p14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1736"/>
        <p:cNvGrpSpPr/>
        <p:nvPr/>
      </p:nvGrpSpPr>
      <p:grpSpPr>
        <a:xfrm>
          <a:off x="0" y="0"/>
          <a:ext cx="0" cy="0"/>
          <a:chOff x="0" y="0"/>
          <a:chExt cx="0" cy="0"/>
        </a:xfrm>
      </p:grpSpPr>
      <p:sp>
        <p:nvSpPr>
          <p:cNvPr id="11737" name="Google Shape;11737;p143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38" name="Google Shape;11738;p143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1739" name="Google Shape;11739;p143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1740" name="Google Shape;11740;p14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741" name="Google Shape;11741;p14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42" name="Google Shape;11742;p14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1743"/>
        <p:cNvGrpSpPr/>
        <p:nvPr/>
      </p:nvGrpSpPr>
      <p:grpSpPr>
        <a:xfrm>
          <a:off x="0" y="0"/>
          <a:ext cx="0" cy="0"/>
          <a:chOff x="0" y="0"/>
          <a:chExt cx="0" cy="0"/>
        </a:xfrm>
      </p:grpSpPr>
      <p:sp>
        <p:nvSpPr>
          <p:cNvPr id="11744" name="Google Shape;11744;p143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745" name="Google Shape;11745;p143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746" name="Google Shape;11746;p143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47" name="Google Shape;11747;p143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748" name="Google Shape;11748;p143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49" name="Google Shape;11749;p143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50" name="Google Shape;11750;p143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751" name="Google Shape;11751;p143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1752" name="Google Shape;11752;p143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11753"/>
        <p:cNvGrpSpPr/>
        <p:nvPr/>
      </p:nvGrpSpPr>
      <p:grpSpPr>
        <a:xfrm>
          <a:off x="0" y="0"/>
          <a:ext cx="0" cy="0"/>
          <a:chOff x="0" y="0"/>
          <a:chExt cx="0" cy="0"/>
        </a:xfrm>
      </p:grpSpPr>
      <p:grpSp>
        <p:nvGrpSpPr>
          <p:cNvPr id="11754" name="Google Shape;11754;p1439"/>
          <p:cNvGrpSpPr/>
          <p:nvPr/>
        </p:nvGrpSpPr>
        <p:grpSpPr>
          <a:xfrm>
            <a:off x="7191542" y="1"/>
            <a:ext cx="5000459" cy="1425992"/>
            <a:chOff x="7191542" y="1"/>
            <a:chExt cx="5000459" cy="1425992"/>
          </a:xfrm>
        </p:grpSpPr>
        <p:pic>
          <p:nvPicPr>
            <p:cNvPr id="11755" name="Google Shape;11755;p1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56" name="Google Shape;11756;p1439"/>
            <p:cNvGrpSpPr/>
            <p:nvPr/>
          </p:nvGrpSpPr>
          <p:grpSpPr>
            <a:xfrm>
              <a:off x="7191542" y="1"/>
              <a:ext cx="5000459" cy="1425992"/>
              <a:chOff x="7186272" y="0"/>
              <a:chExt cx="5005729" cy="1427495"/>
            </a:xfrm>
          </p:grpSpPr>
          <p:sp>
            <p:nvSpPr>
              <p:cNvPr id="11757" name="Google Shape;11757;p1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58" name="Google Shape;11758;p1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59" name="Google Shape;11759;p1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60" name="Google Shape;11760;p14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1" name="Google Shape;11761;p14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62" name="Google Shape;11762;p1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63" name="Google Shape;11763;p1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11764"/>
        <p:cNvGrpSpPr/>
        <p:nvPr/>
      </p:nvGrpSpPr>
      <p:grpSpPr>
        <a:xfrm>
          <a:off x="0" y="0"/>
          <a:ext cx="0" cy="0"/>
          <a:chOff x="0" y="0"/>
          <a:chExt cx="0" cy="0"/>
        </a:xfrm>
      </p:grpSpPr>
      <p:sp>
        <p:nvSpPr>
          <p:cNvPr id="11765" name="Google Shape;11765;p14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66" name="Google Shape;11766;p14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767" name="Google Shape;11767;p1440"/>
          <p:cNvGrpSpPr/>
          <p:nvPr/>
        </p:nvGrpSpPr>
        <p:grpSpPr>
          <a:xfrm>
            <a:off x="0" y="5379426"/>
            <a:ext cx="2807368" cy="753891"/>
            <a:chOff x="0" y="5379426"/>
            <a:chExt cx="2807368" cy="753891"/>
          </a:xfrm>
        </p:grpSpPr>
        <p:sp>
          <p:nvSpPr>
            <p:cNvPr id="11768" name="Google Shape;11768;p14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9" name="Google Shape;11769;p14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770" name="Google Shape;11770;p1440"/>
          <p:cNvSpPr>
            <a:spLocks noGrp="1"/>
          </p:cNvSpPr>
          <p:nvPr>
            <p:ph type="pic" idx="2"/>
          </p:nvPr>
        </p:nvSpPr>
        <p:spPr>
          <a:xfrm>
            <a:off x="2807368" y="457202"/>
            <a:ext cx="8915400" cy="5943598"/>
          </a:xfrm>
          <a:prstGeom prst="rect">
            <a:avLst/>
          </a:prstGeom>
          <a:noFill/>
          <a:ln>
            <a:noFill/>
          </a:ln>
        </p:spPr>
      </p:sp>
      <p:pic>
        <p:nvPicPr>
          <p:cNvPr id="11771" name="Google Shape;11771;p14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1772"/>
        <p:cNvGrpSpPr/>
        <p:nvPr/>
      </p:nvGrpSpPr>
      <p:grpSpPr>
        <a:xfrm>
          <a:off x="0" y="0"/>
          <a:ext cx="0" cy="0"/>
          <a:chOff x="0" y="0"/>
          <a:chExt cx="0" cy="0"/>
        </a:xfrm>
      </p:grpSpPr>
      <p:sp>
        <p:nvSpPr>
          <p:cNvPr id="11773" name="Google Shape;11773;p14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74" name="Google Shape;11774;p14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75" name="Google Shape;11775;p14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76" name="Google Shape;11776;p14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777" name="Google Shape;11777;p1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78" name="Google Shape;11778;p1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79" name="Google Shape;11779;p1441"/>
          <p:cNvGrpSpPr/>
          <p:nvPr/>
        </p:nvGrpSpPr>
        <p:grpSpPr>
          <a:xfrm>
            <a:off x="7191542" y="1"/>
            <a:ext cx="5000459" cy="1425992"/>
            <a:chOff x="7191542" y="1"/>
            <a:chExt cx="5000459" cy="1425992"/>
          </a:xfrm>
        </p:grpSpPr>
        <p:pic>
          <p:nvPicPr>
            <p:cNvPr id="11780" name="Google Shape;11780;p1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81" name="Google Shape;11781;p1441"/>
            <p:cNvGrpSpPr/>
            <p:nvPr/>
          </p:nvGrpSpPr>
          <p:grpSpPr>
            <a:xfrm>
              <a:off x="7191542" y="1"/>
              <a:ext cx="5000459" cy="1425992"/>
              <a:chOff x="7186272" y="0"/>
              <a:chExt cx="5005729" cy="1427495"/>
            </a:xfrm>
          </p:grpSpPr>
          <p:sp>
            <p:nvSpPr>
              <p:cNvPr id="11782" name="Google Shape;11782;p1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783" name="Google Shape;11783;p1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784" name="Google Shape;11784;p14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1785"/>
        <p:cNvGrpSpPr/>
        <p:nvPr/>
      </p:nvGrpSpPr>
      <p:grpSpPr>
        <a:xfrm>
          <a:off x="0" y="0"/>
          <a:ext cx="0" cy="0"/>
          <a:chOff x="0" y="0"/>
          <a:chExt cx="0" cy="0"/>
        </a:xfrm>
      </p:grpSpPr>
      <p:sp>
        <p:nvSpPr>
          <p:cNvPr id="11786" name="Google Shape;11786;p14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787" name="Google Shape;11787;p14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788" name="Google Shape;11788;p144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9" name="Google Shape;11789;p14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790" name="Google Shape;11790;p14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91" name="Google Shape;11791;p144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92" name="Google Shape;11792;p144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793" name="Google Shape;11793;p144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1794" name="Google Shape;11794;p144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224"/>
        <p:cNvGrpSpPr/>
        <p:nvPr/>
      </p:nvGrpSpPr>
      <p:grpSpPr>
        <a:xfrm>
          <a:off x="0" y="0"/>
          <a:ext cx="0" cy="0"/>
          <a:chOff x="0" y="0"/>
          <a:chExt cx="0" cy="0"/>
        </a:xfrm>
      </p:grpSpPr>
      <p:sp>
        <p:nvSpPr>
          <p:cNvPr id="1225" name="Google Shape;1225;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6" name="Google Shape;1226;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 name="Google Shape;1227;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8" name="Google Shape;1228;p172"/>
          <p:cNvGrpSpPr/>
          <p:nvPr/>
        </p:nvGrpSpPr>
        <p:grpSpPr>
          <a:xfrm>
            <a:off x="7191542" y="1"/>
            <a:ext cx="5000459" cy="1425992"/>
            <a:chOff x="7191542" y="1"/>
            <a:chExt cx="5000459" cy="1425992"/>
          </a:xfrm>
        </p:grpSpPr>
        <p:pic>
          <p:nvPicPr>
            <p:cNvPr id="1229" name="Google Shape;1229;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 name="Google Shape;1230;p172"/>
            <p:cNvGrpSpPr/>
            <p:nvPr/>
          </p:nvGrpSpPr>
          <p:grpSpPr>
            <a:xfrm>
              <a:off x="7191542" y="1"/>
              <a:ext cx="5000459" cy="1425992"/>
              <a:chOff x="7186272" y="0"/>
              <a:chExt cx="5005729" cy="1427495"/>
            </a:xfrm>
          </p:grpSpPr>
          <p:sp>
            <p:nvSpPr>
              <p:cNvPr id="1231" name="Google Shape;1231;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2" name="Google Shape;1232;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11795"/>
        <p:cNvGrpSpPr/>
        <p:nvPr/>
      </p:nvGrpSpPr>
      <p:grpSpPr>
        <a:xfrm>
          <a:off x="0" y="0"/>
          <a:ext cx="0" cy="0"/>
          <a:chOff x="0" y="0"/>
          <a:chExt cx="0" cy="0"/>
        </a:xfrm>
      </p:grpSpPr>
      <p:sp>
        <p:nvSpPr>
          <p:cNvPr id="11796" name="Google Shape;11796;p144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797" name="Google Shape;11797;p144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798" name="Google Shape;11798;p144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9" name="Google Shape;11799;p144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800" name="Google Shape;11800;p144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01" name="Google Shape;11801;p144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802" name="Google Shape;11802;p144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803" name="Google Shape;11803;p144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1804" name="Google Shape;11804;p144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11805"/>
        <p:cNvGrpSpPr/>
        <p:nvPr/>
      </p:nvGrpSpPr>
      <p:grpSpPr>
        <a:xfrm>
          <a:off x="0" y="0"/>
          <a:ext cx="0" cy="0"/>
          <a:chOff x="0" y="0"/>
          <a:chExt cx="0" cy="0"/>
        </a:xfrm>
      </p:grpSpPr>
      <p:sp>
        <p:nvSpPr>
          <p:cNvPr id="11806" name="Google Shape;11806;p14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07" name="Google Shape;11807;p14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08" name="Google Shape;11808;p14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09" name="Google Shape;11809;p14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10" name="Google Shape;11810;p1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11" name="Google Shape;11811;p1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12" name="Google Shape;11812;p1444"/>
          <p:cNvGrpSpPr/>
          <p:nvPr/>
        </p:nvGrpSpPr>
        <p:grpSpPr>
          <a:xfrm>
            <a:off x="7191542" y="1"/>
            <a:ext cx="5000459" cy="1425992"/>
            <a:chOff x="7191542" y="1"/>
            <a:chExt cx="5000459" cy="1425992"/>
          </a:xfrm>
        </p:grpSpPr>
        <p:pic>
          <p:nvPicPr>
            <p:cNvPr id="11813" name="Google Shape;11813;p14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14" name="Google Shape;11814;p1444"/>
            <p:cNvGrpSpPr/>
            <p:nvPr/>
          </p:nvGrpSpPr>
          <p:grpSpPr>
            <a:xfrm>
              <a:off x="7191542" y="1"/>
              <a:ext cx="5000459" cy="1425992"/>
              <a:chOff x="7186272" y="0"/>
              <a:chExt cx="5005729" cy="1427495"/>
            </a:xfrm>
          </p:grpSpPr>
          <p:sp>
            <p:nvSpPr>
              <p:cNvPr id="11815" name="Google Shape;11815;p1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16" name="Google Shape;11816;p1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17" name="Google Shape;11817;p14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11818"/>
        <p:cNvGrpSpPr/>
        <p:nvPr/>
      </p:nvGrpSpPr>
      <p:grpSpPr>
        <a:xfrm>
          <a:off x="0" y="0"/>
          <a:ext cx="0" cy="0"/>
          <a:chOff x="0" y="0"/>
          <a:chExt cx="0" cy="0"/>
        </a:xfrm>
      </p:grpSpPr>
      <p:sp>
        <p:nvSpPr>
          <p:cNvPr id="11819" name="Google Shape;11819;p14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20" name="Google Shape;11820;p14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21" name="Google Shape;11821;p1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22" name="Google Shape;11822;p14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23" name="Google Shape;11823;p1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4" name="Google Shape;11824;p1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25" name="Google Shape;11825;p1445"/>
          <p:cNvGrpSpPr/>
          <p:nvPr/>
        </p:nvGrpSpPr>
        <p:grpSpPr>
          <a:xfrm>
            <a:off x="7191542" y="1"/>
            <a:ext cx="5000459" cy="1425992"/>
            <a:chOff x="7191542" y="1"/>
            <a:chExt cx="5000459" cy="1425992"/>
          </a:xfrm>
        </p:grpSpPr>
        <p:pic>
          <p:nvPicPr>
            <p:cNvPr id="11826" name="Google Shape;11826;p1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7" name="Google Shape;11827;p1445"/>
            <p:cNvGrpSpPr/>
            <p:nvPr/>
          </p:nvGrpSpPr>
          <p:grpSpPr>
            <a:xfrm>
              <a:off x="7191542" y="1"/>
              <a:ext cx="5000459" cy="1425992"/>
              <a:chOff x="7186272" y="0"/>
              <a:chExt cx="5005729" cy="1427495"/>
            </a:xfrm>
          </p:grpSpPr>
          <p:sp>
            <p:nvSpPr>
              <p:cNvPr id="11828" name="Google Shape;11828;p1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29" name="Google Shape;11829;p1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30" name="Google Shape;11830;p14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11831"/>
        <p:cNvGrpSpPr/>
        <p:nvPr/>
      </p:nvGrpSpPr>
      <p:grpSpPr>
        <a:xfrm>
          <a:off x="0" y="0"/>
          <a:ext cx="0" cy="0"/>
          <a:chOff x="0" y="0"/>
          <a:chExt cx="0" cy="0"/>
        </a:xfrm>
      </p:grpSpPr>
      <p:sp>
        <p:nvSpPr>
          <p:cNvPr id="11832" name="Google Shape;11832;p9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33" name="Google Shape;11833;p9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34" name="Google Shape;11834;p9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5" name="Google Shape;11835;p9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36" name="Google Shape;11836;p9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37" name="Google Shape;11837;p9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38" name="Google Shape;11838;p902"/>
          <p:cNvGrpSpPr/>
          <p:nvPr/>
        </p:nvGrpSpPr>
        <p:grpSpPr>
          <a:xfrm>
            <a:off x="7191542" y="1"/>
            <a:ext cx="5000459" cy="1425992"/>
            <a:chOff x="7191542" y="1"/>
            <a:chExt cx="5000459" cy="1425992"/>
          </a:xfrm>
        </p:grpSpPr>
        <p:pic>
          <p:nvPicPr>
            <p:cNvPr id="11839" name="Google Shape;11839;p9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40" name="Google Shape;11840;p902"/>
            <p:cNvGrpSpPr/>
            <p:nvPr/>
          </p:nvGrpSpPr>
          <p:grpSpPr>
            <a:xfrm>
              <a:off x="7191542" y="1"/>
              <a:ext cx="5000459" cy="1425992"/>
              <a:chOff x="7186272" y="0"/>
              <a:chExt cx="5005729" cy="1427495"/>
            </a:xfrm>
          </p:grpSpPr>
          <p:sp>
            <p:nvSpPr>
              <p:cNvPr id="11841" name="Google Shape;11841;p9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42" name="Google Shape;11842;p9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43" name="Google Shape;11843;p9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11844"/>
        <p:cNvGrpSpPr/>
        <p:nvPr/>
      </p:nvGrpSpPr>
      <p:grpSpPr>
        <a:xfrm>
          <a:off x="0" y="0"/>
          <a:ext cx="0" cy="0"/>
          <a:chOff x="0" y="0"/>
          <a:chExt cx="0" cy="0"/>
        </a:xfrm>
      </p:grpSpPr>
      <p:sp>
        <p:nvSpPr>
          <p:cNvPr id="11845" name="Google Shape;11845;p14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46" name="Google Shape;11846;p14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7" name="Google Shape;11847;p1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8" name="Google Shape;11848;p14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49" name="Google Shape;11849;p1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50" name="Google Shape;11850;p1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51" name="Google Shape;11851;p1446"/>
          <p:cNvGrpSpPr/>
          <p:nvPr/>
        </p:nvGrpSpPr>
        <p:grpSpPr>
          <a:xfrm>
            <a:off x="7191542" y="1"/>
            <a:ext cx="5000459" cy="1425992"/>
            <a:chOff x="7191542" y="1"/>
            <a:chExt cx="5000459" cy="1425992"/>
          </a:xfrm>
        </p:grpSpPr>
        <p:pic>
          <p:nvPicPr>
            <p:cNvPr id="11852" name="Google Shape;11852;p1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53" name="Google Shape;11853;p1446"/>
            <p:cNvGrpSpPr/>
            <p:nvPr/>
          </p:nvGrpSpPr>
          <p:grpSpPr>
            <a:xfrm>
              <a:off x="7191542" y="1"/>
              <a:ext cx="5000459" cy="1425992"/>
              <a:chOff x="7186272" y="0"/>
              <a:chExt cx="5005729" cy="1427495"/>
            </a:xfrm>
          </p:grpSpPr>
          <p:sp>
            <p:nvSpPr>
              <p:cNvPr id="11854" name="Google Shape;11854;p1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55" name="Google Shape;11855;p1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56" name="Google Shape;11856;p144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11857"/>
        <p:cNvGrpSpPr/>
        <p:nvPr/>
      </p:nvGrpSpPr>
      <p:grpSpPr>
        <a:xfrm>
          <a:off x="0" y="0"/>
          <a:ext cx="0" cy="0"/>
          <a:chOff x="0" y="0"/>
          <a:chExt cx="0" cy="0"/>
        </a:xfrm>
      </p:grpSpPr>
      <p:sp>
        <p:nvSpPr>
          <p:cNvPr id="11858" name="Google Shape;11858;p14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59" name="Google Shape;11859;p14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60" name="Google Shape;11860;p14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61" name="Google Shape;11861;p14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62" name="Google Shape;11862;p14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63" name="Google Shape;11863;p14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64" name="Google Shape;11864;p1447"/>
          <p:cNvGrpSpPr/>
          <p:nvPr/>
        </p:nvGrpSpPr>
        <p:grpSpPr>
          <a:xfrm>
            <a:off x="7191542" y="1"/>
            <a:ext cx="5000459" cy="1425992"/>
            <a:chOff x="7191542" y="1"/>
            <a:chExt cx="5000459" cy="1425992"/>
          </a:xfrm>
        </p:grpSpPr>
        <p:pic>
          <p:nvPicPr>
            <p:cNvPr id="11865" name="Google Shape;11865;p14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6" name="Google Shape;11866;p1447"/>
            <p:cNvGrpSpPr/>
            <p:nvPr/>
          </p:nvGrpSpPr>
          <p:grpSpPr>
            <a:xfrm>
              <a:off x="7191542" y="1"/>
              <a:ext cx="5000459" cy="1425992"/>
              <a:chOff x="7186272" y="0"/>
              <a:chExt cx="5005729" cy="1427495"/>
            </a:xfrm>
          </p:grpSpPr>
          <p:sp>
            <p:nvSpPr>
              <p:cNvPr id="11867" name="Google Shape;11867;p14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68" name="Google Shape;11868;p14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69" name="Google Shape;11869;p14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1874"/>
        <p:cNvGrpSpPr/>
        <p:nvPr/>
      </p:nvGrpSpPr>
      <p:grpSpPr>
        <a:xfrm>
          <a:off x="0" y="0"/>
          <a:ext cx="0" cy="0"/>
          <a:chOff x="0" y="0"/>
          <a:chExt cx="0" cy="0"/>
        </a:xfrm>
      </p:grpSpPr>
      <p:grpSp>
        <p:nvGrpSpPr>
          <p:cNvPr id="11875" name="Google Shape;11875;p67"/>
          <p:cNvGrpSpPr/>
          <p:nvPr/>
        </p:nvGrpSpPr>
        <p:grpSpPr>
          <a:xfrm>
            <a:off x="7191203" y="2"/>
            <a:ext cx="5000223" cy="1425925"/>
            <a:chOff x="7191203" y="1"/>
            <a:chExt cx="5000223" cy="1425925"/>
          </a:xfrm>
        </p:grpSpPr>
        <p:pic>
          <p:nvPicPr>
            <p:cNvPr id="11876" name="Google Shape;11876;p67"/>
            <p:cNvPicPr preferRelativeResize="0"/>
            <p:nvPr/>
          </p:nvPicPr>
          <p:blipFill rotWithShape="1">
            <a:blip r:embed="rId2">
              <a:alphaModFix/>
            </a:blip>
            <a:srcRect/>
            <a:stretch/>
          </p:blipFill>
          <p:spPr>
            <a:xfrm>
              <a:off x="9264317" y="228371"/>
              <a:ext cx="2025316" cy="911940"/>
            </a:xfrm>
            <a:prstGeom prst="rect">
              <a:avLst/>
            </a:prstGeom>
            <a:noFill/>
            <a:ln>
              <a:noFill/>
            </a:ln>
          </p:spPr>
        </p:pic>
        <p:grpSp>
          <p:nvGrpSpPr>
            <p:cNvPr id="11877" name="Google Shape;11877;p67"/>
            <p:cNvGrpSpPr/>
            <p:nvPr/>
          </p:nvGrpSpPr>
          <p:grpSpPr>
            <a:xfrm>
              <a:off x="7191203" y="1"/>
              <a:ext cx="5000223" cy="1425925"/>
              <a:chOff x="7186272" y="0"/>
              <a:chExt cx="5005729" cy="1427495"/>
            </a:xfrm>
          </p:grpSpPr>
          <p:sp>
            <p:nvSpPr>
              <p:cNvPr id="11878" name="Google Shape;11878;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chemeClr val="dk1"/>
                  </a:buClr>
                  <a:buSzPts val="1867"/>
                  <a:buFont typeface="Arial"/>
                  <a:buNone/>
                </a:pPr>
                <a:endParaRPr sz="1867" b="0" i="0" u="none" strike="noStrike" cap="none">
                  <a:solidFill>
                    <a:schemeClr val="dk1"/>
                  </a:solidFill>
                  <a:latin typeface="Calibri"/>
                  <a:ea typeface="Calibri"/>
                  <a:cs typeface="Calibri"/>
                  <a:sym typeface="Calibri"/>
                </a:endParaRPr>
              </a:p>
            </p:txBody>
          </p:sp>
          <p:sp>
            <p:nvSpPr>
              <p:cNvPr id="11879" name="Google Shape;11879;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68575" tIns="34275" rIns="68575" bIns="34275" anchor="ctr" anchorCtr="0">
                <a:noAutofit/>
              </a:bodyPr>
              <a:lstStyle/>
              <a:p>
                <a:pPr marL="0" marR="0" lvl="0" indent="0" algn="l" rtl="0">
                  <a:lnSpc>
                    <a:spcPct val="100000"/>
                  </a:lnSpc>
                  <a:spcBef>
                    <a:spcPts val="0"/>
                  </a:spcBef>
                  <a:spcAft>
                    <a:spcPts val="0"/>
                  </a:spcAft>
                  <a:buClr>
                    <a:schemeClr val="dk1"/>
                  </a:buClr>
                  <a:buSzPts val="1867"/>
                  <a:buFont typeface="Arial"/>
                  <a:buNone/>
                </a:pPr>
                <a:endParaRPr sz="1867" b="0" i="0" u="none" strike="noStrike" cap="none">
                  <a:solidFill>
                    <a:schemeClr val="dk1"/>
                  </a:solidFill>
                  <a:latin typeface="Calibri"/>
                  <a:ea typeface="Calibri"/>
                  <a:cs typeface="Calibri"/>
                  <a:sym typeface="Calibri"/>
                </a:endParaRPr>
              </a:p>
            </p:txBody>
          </p:sp>
        </p:grpSp>
      </p:grpSp>
      <p:sp>
        <p:nvSpPr>
          <p:cNvPr id="11880" name="Google Shape;11880;p67"/>
          <p:cNvSpPr txBox="1">
            <a:spLocks noGrp="1"/>
          </p:cNvSpPr>
          <p:nvPr>
            <p:ph type="title"/>
          </p:nvPr>
        </p:nvSpPr>
        <p:spPr>
          <a:xfrm>
            <a:off x="609600" y="365125"/>
            <a:ext cx="10972800" cy="1325600"/>
          </a:xfrm>
          <a:prstGeom prst="rect">
            <a:avLst/>
          </a:prstGeom>
          <a:noFill/>
          <a:ln>
            <a:noFill/>
          </a:ln>
        </p:spPr>
        <p:txBody>
          <a:bodyPr spcFirstLastPara="1" wrap="square" lIns="68575" tIns="34275" rIns="68575" bIns="34275" anchor="ctr" anchorCtr="0">
            <a:noAutofit/>
          </a:bodyPr>
          <a:lstStyle>
            <a:lvl1pPr lvl="0" algn="l">
              <a:lnSpc>
                <a:spcPct val="100000"/>
              </a:lnSpc>
              <a:spcBef>
                <a:spcPts val="0"/>
              </a:spcBef>
              <a:spcAft>
                <a:spcPts val="0"/>
              </a:spcAft>
              <a:buClr>
                <a:schemeClr val="accent1"/>
              </a:buClr>
              <a:buSzPts val="14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881" name="Google Shape;11881;p67"/>
          <p:cNvSpPr txBox="1">
            <a:spLocks noGrp="1"/>
          </p:cNvSpPr>
          <p:nvPr>
            <p:ph type="body" idx="1"/>
          </p:nvPr>
        </p:nvSpPr>
        <p:spPr>
          <a:xfrm>
            <a:off x="609600" y="1825625"/>
            <a:ext cx="10972800" cy="4351200"/>
          </a:xfrm>
          <a:prstGeom prst="rect">
            <a:avLst/>
          </a:prstGeom>
          <a:noFill/>
          <a:ln>
            <a:noFill/>
          </a:ln>
        </p:spPr>
        <p:txBody>
          <a:bodyPr spcFirstLastPara="1" wrap="square" lIns="68575" tIns="34275" rIns="68575" bIns="34275" anchor="t" anchorCtr="0">
            <a:noAutofit/>
          </a:bodyPr>
          <a:lstStyle>
            <a:lvl1pPr marL="457200" lvl="0" indent="-317500" algn="l">
              <a:lnSpc>
                <a:spcPct val="100000"/>
              </a:lnSpc>
              <a:spcBef>
                <a:spcPts val="1067"/>
              </a:spcBef>
              <a:spcAft>
                <a:spcPts val="0"/>
              </a:spcAft>
              <a:buSzPts val="1400"/>
              <a:buChar char="●"/>
              <a:defRPr/>
            </a:lvl1pPr>
            <a:lvl2pPr marL="914400" lvl="1" indent="-317500" algn="l">
              <a:lnSpc>
                <a:spcPct val="100000"/>
              </a:lnSpc>
              <a:spcBef>
                <a:spcPts val="1067"/>
              </a:spcBef>
              <a:spcAft>
                <a:spcPts val="0"/>
              </a:spcAft>
              <a:buSzPts val="1400"/>
              <a:buChar char="○"/>
              <a:defRPr/>
            </a:lvl2pPr>
            <a:lvl3pPr marL="1371600" lvl="2" indent="-317500" algn="l">
              <a:lnSpc>
                <a:spcPct val="100000"/>
              </a:lnSpc>
              <a:spcBef>
                <a:spcPts val="1067"/>
              </a:spcBef>
              <a:spcAft>
                <a:spcPts val="0"/>
              </a:spcAft>
              <a:buSzPts val="1400"/>
              <a:buChar char="■"/>
              <a:defRPr/>
            </a:lvl3pPr>
            <a:lvl4pPr marL="1828800" lvl="3" indent="-317500" algn="l">
              <a:lnSpc>
                <a:spcPct val="100000"/>
              </a:lnSpc>
              <a:spcBef>
                <a:spcPts val="1067"/>
              </a:spcBef>
              <a:spcAft>
                <a:spcPts val="0"/>
              </a:spcAft>
              <a:buSzPts val="1400"/>
              <a:buChar char="●"/>
              <a:defRPr/>
            </a:lvl4pPr>
            <a:lvl5pPr marL="2286000" lvl="4" indent="-317500" algn="l">
              <a:lnSpc>
                <a:spcPct val="100000"/>
              </a:lnSpc>
              <a:spcBef>
                <a:spcPts val="1067"/>
              </a:spcBef>
              <a:spcAft>
                <a:spcPts val="0"/>
              </a:spcAft>
              <a:buSzPts val="1400"/>
              <a:buChar char="○"/>
              <a:defRPr/>
            </a:lvl5pPr>
            <a:lvl6pPr marL="2743200" lvl="5" indent="-317500" algn="l">
              <a:lnSpc>
                <a:spcPct val="90000"/>
              </a:lnSpc>
              <a:spcBef>
                <a:spcPts val="1067"/>
              </a:spcBef>
              <a:spcAft>
                <a:spcPts val="0"/>
              </a:spcAft>
              <a:buClr>
                <a:schemeClr val="dk1"/>
              </a:buClr>
              <a:buSzPts val="1400"/>
              <a:buChar char="■"/>
              <a:defRPr/>
            </a:lvl6pPr>
            <a:lvl7pPr marL="3200400" lvl="6" indent="-317500" algn="l">
              <a:lnSpc>
                <a:spcPct val="90000"/>
              </a:lnSpc>
              <a:spcBef>
                <a:spcPts val="1600"/>
              </a:spcBef>
              <a:spcAft>
                <a:spcPts val="0"/>
              </a:spcAft>
              <a:buClr>
                <a:schemeClr val="dk1"/>
              </a:buClr>
              <a:buSzPts val="1400"/>
              <a:buChar char="●"/>
              <a:defRPr/>
            </a:lvl7pPr>
            <a:lvl8pPr marL="3657600" lvl="7" indent="-317500" algn="l">
              <a:lnSpc>
                <a:spcPct val="90000"/>
              </a:lnSpc>
              <a:spcBef>
                <a:spcPts val="1600"/>
              </a:spcBef>
              <a:spcAft>
                <a:spcPts val="0"/>
              </a:spcAft>
              <a:buClr>
                <a:schemeClr val="dk1"/>
              </a:buClr>
              <a:buSzPts val="1400"/>
              <a:buChar char="○"/>
              <a:defRPr/>
            </a:lvl8pPr>
            <a:lvl9pPr marL="4114800" lvl="8" indent="-317500" algn="l">
              <a:lnSpc>
                <a:spcPct val="90000"/>
              </a:lnSpc>
              <a:spcBef>
                <a:spcPts val="1600"/>
              </a:spcBef>
              <a:spcAft>
                <a:spcPts val="1600"/>
              </a:spcAft>
              <a:buClr>
                <a:schemeClr val="dk1"/>
              </a:buClr>
              <a:buSzPts val="1400"/>
              <a:buChar char="■"/>
              <a:defRPr/>
            </a:lvl9pPr>
          </a:lstStyle>
          <a:p>
            <a:endParaRPr/>
          </a:p>
        </p:txBody>
      </p:sp>
      <p:sp>
        <p:nvSpPr>
          <p:cNvPr id="11882" name="Google Shape;11882;p67"/>
          <p:cNvSpPr txBox="1">
            <a:spLocks noGrp="1"/>
          </p:cNvSpPr>
          <p:nvPr>
            <p:ph type="sldNum" idx="12"/>
          </p:nvPr>
        </p:nvSpPr>
        <p:spPr>
          <a:xfrm>
            <a:off x="8839200" y="6356351"/>
            <a:ext cx="2743200" cy="365200"/>
          </a:xfrm>
          <a:prstGeom prst="rect">
            <a:avLst/>
          </a:prstGeom>
          <a:noFill/>
          <a:ln>
            <a:noFill/>
          </a:ln>
        </p:spPr>
        <p:txBody>
          <a:bodyPr spcFirstLastPara="1" wrap="square" lIns="68575" tIns="34275" rIns="68575" bIns="34275" anchor="ctr" anchorCtr="0">
            <a:norm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83" name="Google Shape;11883;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84" name="Google Shape;11884;p67"/>
          <p:cNvSpPr txBox="1">
            <a:spLocks noGrp="1"/>
          </p:cNvSpPr>
          <p:nvPr>
            <p:ph type="ftr" idx="11"/>
          </p:nvPr>
        </p:nvSpPr>
        <p:spPr>
          <a:xfrm>
            <a:off x="609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1885"/>
        <p:cNvGrpSpPr/>
        <p:nvPr/>
      </p:nvGrpSpPr>
      <p:grpSpPr>
        <a:xfrm>
          <a:off x="0" y="0"/>
          <a:ext cx="0" cy="0"/>
          <a:chOff x="0" y="0"/>
          <a:chExt cx="0" cy="0"/>
        </a:xfrm>
      </p:grpSpPr>
      <p:sp>
        <p:nvSpPr>
          <p:cNvPr id="11886" name="Google Shape;11886;p1126"/>
          <p:cNvSpPr txBox="1">
            <a:spLocks noGrp="1"/>
          </p:cNvSpPr>
          <p:nvPr>
            <p:ph type="ctrTitle"/>
          </p:nvPr>
        </p:nvSpPr>
        <p:spPr>
          <a:xfrm>
            <a:off x="415611" y="992767"/>
            <a:ext cx="11360800" cy="27368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1887" name="Google Shape;11887;p1126"/>
          <p:cNvSpPr txBox="1">
            <a:spLocks noGrp="1"/>
          </p:cNvSpPr>
          <p:nvPr>
            <p:ph type="subTitle" idx="1"/>
          </p:nvPr>
        </p:nvSpPr>
        <p:spPr>
          <a:xfrm>
            <a:off x="415600" y="3778833"/>
            <a:ext cx="11360800" cy="10568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1888" name="Google Shape;11888;p112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1889"/>
        <p:cNvGrpSpPr/>
        <p:nvPr/>
      </p:nvGrpSpPr>
      <p:grpSpPr>
        <a:xfrm>
          <a:off x="0" y="0"/>
          <a:ext cx="0" cy="0"/>
          <a:chOff x="0" y="0"/>
          <a:chExt cx="0" cy="0"/>
        </a:xfrm>
      </p:grpSpPr>
      <p:sp>
        <p:nvSpPr>
          <p:cNvPr id="11890" name="Google Shape;11890;p1127"/>
          <p:cNvSpPr txBox="1">
            <a:spLocks noGrp="1"/>
          </p:cNvSpPr>
          <p:nvPr>
            <p:ph type="title"/>
          </p:nvPr>
        </p:nvSpPr>
        <p:spPr>
          <a:xfrm>
            <a:off x="415600" y="2867800"/>
            <a:ext cx="11360800" cy="11224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4800"/>
            </a:lvl1pPr>
            <a:lvl2pPr lvl="1" algn="ctr">
              <a:lnSpc>
                <a:spcPct val="100000"/>
              </a:lnSpc>
              <a:spcBef>
                <a:spcPts val="0"/>
              </a:spcBef>
              <a:spcAft>
                <a:spcPts val="0"/>
              </a:spcAft>
              <a:buSzPts val="3600"/>
              <a:buNone/>
              <a:defRPr sz="4800"/>
            </a:lvl2pPr>
            <a:lvl3pPr lvl="2" algn="ctr">
              <a:lnSpc>
                <a:spcPct val="100000"/>
              </a:lnSpc>
              <a:spcBef>
                <a:spcPts val="0"/>
              </a:spcBef>
              <a:spcAft>
                <a:spcPts val="0"/>
              </a:spcAft>
              <a:buSzPts val="3600"/>
              <a:buNone/>
              <a:defRPr sz="4800"/>
            </a:lvl3pPr>
            <a:lvl4pPr lvl="3" algn="ctr">
              <a:lnSpc>
                <a:spcPct val="100000"/>
              </a:lnSpc>
              <a:spcBef>
                <a:spcPts val="0"/>
              </a:spcBef>
              <a:spcAft>
                <a:spcPts val="0"/>
              </a:spcAft>
              <a:buSzPts val="3600"/>
              <a:buNone/>
              <a:defRPr sz="4800"/>
            </a:lvl4pPr>
            <a:lvl5pPr lvl="4" algn="ctr">
              <a:lnSpc>
                <a:spcPct val="100000"/>
              </a:lnSpc>
              <a:spcBef>
                <a:spcPts val="0"/>
              </a:spcBef>
              <a:spcAft>
                <a:spcPts val="0"/>
              </a:spcAft>
              <a:buSzPts val="3600"/>
              <a:buNone/>
              <a:defRPr sz="4800"/>
            </a:lvl5pPr>
            <a:lvl6pPr lvl="5" algn="ctr">
              <a:lnSpc>
                <a:spcPct val="100000"/>
              </a:lnSpc>
              <a:spcBef>
                <a:spcPts val="0"/>
              </a:spcBef>
              <a:spcAft>
                <a:spcPts val="0"/>
              </a:spcAft>
              <a:buSzPts val="3600"/>
              <a:buNone/>
              <a:defRPr sz="4800"/>
            </a:lvl6pPr>
            <a:lvl7pPr lvl="6" algn="ctr">
              <a:lnSpc>
                <a:spcPct val="100000"/>
              </a:lnSpc>
              <a:spcBef>
                <a:spcPts val="0"/>
              </a:spcBef>
              <a:spcAft>
                <a:spcPts val="0"/>
              </a:spcAft>
              <a:buSzPts val="3600"/>
              <a:buNone/>
              <a:defRPr sz="4800"/>
            </a:lvl7pPr>
            <a:lvl8pPr lvl="7" algn="ctr">
              <a:lnSpc>
                <a:spcPct val="100000"/>
              </a:lnSpc>
              <a:spcBef>
                <a:spcPts val="0"/>
              </a:spcBef>
              <a:spcAft>
                <a:spcPts val="0"/>
              </a:spcAft>
              <a:buSzPts val="3600"/>
              <a:buNone/>
              <a:defRPr sz="4800"/>
            </a:lvl8pPr>
            <a:lvl9pPr lvl="8" algn="ctr">
              <a:lnSpc>
                <a:spcPct val="100000"/>
              </a:lnSpc>
              <a:spcBef>
                <a:spcPts val="0"/>
              </a:spcBef>
              <a:spcAft>
                <a:spcPts val="0"/>
              </a:spcAft>
              <a:buSzPts val="3600"/>
              <a:buNone/>
              <a:defRPr sz="4800"/>
            </a:lvl9pPr>
          </a:lstStyle>
          <a:p>
            <a:endParaRPr/>
          </a:p>
        </p:txBody>
      </p:sp>
      <p:sp>
        <p:nvSpPr>
          <p:cNvPr id="11891" name="Google Shape;11891;p112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1892"/>
        <p:cNvGrpSpPr/>
        <p:nvPr/>
      </p:nvGrpSpPr>
      <p:grpSpPr>
        <a:xfrm>
          <a:off x="0" y="0"/>
          <a:ext cx="0" cy="0"/>
          <a:chOff x="0" y="0"/>
          <a:chExt cx="0" cy="0"/>
        </a:xfrm>
      </p:grpSpPr>
      <p:sp>
        <p:nvSpPr>
          <p:cNvPr id="11893" name="Google Shape;11893;p1128"/>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894" name="Google Shape;11894;p1128"/>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1895" name="Google Shape;11895;p112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233"/>
        <p:cNvGrpSpPr/>
        <p:nvPr/>
      </p:nvGrpSpPr>
      <p:grpSpPr>
        <a:xfrm>
          <a:off x="0" y="0"/>
          <a:ext cx="0" cy="0"/>
          <a:chOff x="0" y="0"/>
          <a:chExt cx="0" cy="0"/>
        </a:xfrm>
      </p:grpSpPr>
      <p:sp>
        <p:nvSpPr>
          <p:cNvPr id="1234" name="Google Shape;1234;p1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35" name="Google Shape;1235;p1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6" name="Google Shape;1236;p1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7" name="Google Shape;1237;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38" name="Google Shape;1238;p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 name="Google Shape;1239;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0" name="Google Shape;1240;p173"/>
          <p:cNvGrpSpPr/>
          <p:nvPr/>
        </p:nvGrpSpPr>
        <p:grpSpPr>
          <a:xfrm>
            <a:off x="7191542" y="1"/>
            <a:ext cx="5000459" cy="1425992"/>
            <a:chOff x="7191542" y="1"/>
            <a:chExt cx="5000459" cy="1425992"/>
          </a:xfrm>
        </p:grpSpPr>
        <p:pic>
          <p:nvPicPr>
            <p:cNvPr id="1241" name="Google Shape;1241;p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 name="Google Shape;1242;p173"/>
            <p:cNvGrpSpPr/>
            <p:nvPr/>
          </p:nvGrpSpPr>
          <p:grpSpPr>
            <a:xfrm>
              <a:off x="7191542" y="1"/>
              <a:ext cx="5000459" cy="1425992"/>
              <a:chOff x="7186272" y="0"/>
              <a:chExt cx="5005729" cy="1427495"/>
            </a:xfrm>
          </p:grpSpPr>
          <p:sp>
            <p:nvSpPr>
              <p:cNvPr id="1243" name="Google Shape;1243;p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44" name="Google Shape;1244;p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45" name="Google Shape;1245;p1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1896"/>
        <p:cNvGrpSpPr/>
        <p:nvPr/>
      </p:nvGrpSpPr>
      <p:grpSpPr>
        <a:xfrm>
          <a:off x="0" y="0"/>
          <a:ext cx="0" cy="0"/>
          <a:chOff x="0" y="0"/>
          <a:chExt cx="0" cy="0"/>
        </a:xfrm>
      </p:grpSpPr>
      <p:sp>
        <p:nvSpPr>
          <p:cNvPr id="11897" name="Google Shape;11897;p1129"/>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898" name="Google Shape;11898;p1129"/>
          <p:cNvSpPr txBox="1">
            <a:spLocks noGrp="1"/>
          </p:cNvSpPr>
          <p:nvPr>
            <p:ph type="body" idx="1"/>
          </p:nvPr>
        </p:nvSpPr>
        <p:spPr>
          <a:xfrm>
            <a:off x="415600" y="1536633"/>
            <a:ext cx="5333200" cy="45552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867"/>
            </a:lvl1pPr>
            <a:lvl2pPr marL="914400" lvl="1" indent="-304800" algn="l">
              <a:lnSpc>
                <a:spcPct val="115000"/>
              </a:lnSpc>
              <a:spcBef>
                <a:spcPts val="0"/>
              </a:spcBef>
              <a:spcAft>
                <a:spcPts val="0"/>
              </a:spcAft>
              <a:buSzPts val="1200"/>
              <a:buChar char="○"/>
              <a:defRPr sz="1600"/>
            </a:lvl2pPr>
            <a:lvl3pPr marL="1371600" lvl="2" indent="-304800" algn="l">
              <a:lnSpc>
                <a:spcPct val="115000"/>
              </a:lnSpc>
              <a:spcBef>
                <a:spcPts val="0"/>
              </a:spcBef>
              <a:spcAft>
                <a:spcPts val="0"/>
              </a:spcAft>
              <a:buSzPts val="1200"/>
              <a:buChar char="■"/>
              <a:defRPr sz="1600"/>
            </a:lvl3pPr>
            <a:lvl4pPr marL="1828800" lvl="3" indent="-304800" algn="l">
              <a:lnSpc>
                <a:spcPct val="115000"/>
              </a:lnSpc>
              <a:spcBef>
                <a:spcPts val="0"/>
              </a:spcBef>
              <a:spcAft>
                <a:spcPts val="0"/>
              </a:spcAft>
              <a:buSzPts val="1200"/>
              <a:buChar char="●"/>
              <a:defRPr sz="1600"/>
            </a:lvl4pPr>
            <a:lvl5pPr marL="2286000" lvl="4" indent="-304800" algn="l">
              <a:lnSpc>
                <a:spcPct val="115000"/>
              </a:lnSpc>
              <a:spcBef>
                <a:spcPts val="0"/>
              </a:spcBef>
              <a:spcAft>
                <a:spcPts val="0"/>
              </a:spcAft>
              <a:buSzPts val="1200"/>
              <a:buChar char="○"/>
              <a:defRPr sz="1600"/>
            </a:lvl5pPr>
            <a:lvl6pPr marL="2743200" lvl="5" indent="-304800" algn="l">
              <a:lnSpc>
                <a:spcPct val="115000"/>
              </a:lnSpc>
              <a:spcBef>
                <a:spcPts val="0"/>
              </a:spcBef>
              <a:spcAft>
                <a:spcPts val="0"/>
              </a:spcAft>
              <a:buSzPts val="1200"/>
              <a:buChar char="■"/>
              <a:defRPr sz="1600"/>
            </a:lvl6pPr>
            <a:lvl7pPr marL="3200400" lvl="6" indent="-304800" algn="l">
              <a:lnSpc>
                <a:spcPct val="115000"/>
              </a:lnSpc>
              <a:spcBef>
                <a:spcPts val="0"/>
              </a:spcBef>
              <a:spcAft>
                <a:spcPts val="0"/>
              </a:spcAft>
              <a:buSzPts val="1200"/>
              <a:buChar char="●"/>
              <a:defRPr sz="1600"/>
            </a:lvl7pPr>
            <a:lvl8pPr marL="3657600" lvl="7" indent="-304800" algn="l">
              <a:lnSpc>
                <a:spcPct val="115000"/>
              </a:lnSpc>
              <a:spcBef>
                <a:spcPts val="0"/>
              </a:spcBef>
              <a:spcAft>
                <a:spcPts val="0"/>
              </a:spcAft>
              <a:buSzPts val="1200"/>
              <a:buChar char="○"/>
              <a:defRPr sz="1600"/>
            </a:lvl8pPr>
            <a:lvl9pPr marL="4114800" lvl="8" indent="-304800" algn="l">
              <a:lnSpc>
                <a:spcPct val="115000"/>
              </a:lnSpc>
              <a:spcBef>
                <a:spcPts val="0"/>
              </a:spcBef>
              <a:spcAft>
                <a:spcPts val="0"/>
              </a:spcAft>
              <a:buSzPts val="1200"/>
              <a:buChar char="■"/>
              <a:defRPr sz="1600"/>
            </a:lvl9pPr>
          </a:lstStyle>
          <a:p>
            <a:endParaRPr/>
          </a:p>
        </p:txBody>
      </p:sp>
      <p:sp>
        <p:nvSpPr>
          <p:cNvPr id="11899" name="Google Shape;11899;p1129"/>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867"/>
            </a:lvl1pPr>
            <a:lvl2pPr marL="914400" lvl="1" indent="-304800" algn="l">
              <a:lnSpc>
                <a:spcPct val="115000"/>
              </a:lnSpc>
              <a:spcBef>
                <a:spcPts val="0"/>
              </a:spcBef>
              <a:spcAft>
                <a:spcPts val="0"/>
              </a:spcAft>
              <a:buSzPts val="1200"/>
              <a:buChar char="○"/>
              <a:defRPr sz="1600"/>
            </a:lvl2pPr>
            <a:lvl3pPr marL="1371600" lvl="2" indent="-304800" algn="l">
              <a:lnSpc>
                <a:spcPct val="115000"/>
              </a:lnSpc>
              <a:spcBef>
                <a:spcPts val="0"/>
              </a:spcBef>
              <a:spcAft>
                <a:spcPts val="0"/>
              </a:spcAft>
              <a:buSzPts val="1200"/>
              <a:buChar char="■"/>
              <a:defRPr sz="1600"/>
            </a:lvl3pPr>
            <a:lvl4pPr marL="1828800" lvl="3" indent="-304800" algn="l">
              <a:lnSpc>
                <a:spcPct val="115000"/>
              </a:lnSpc>
              <a:spcBef>
                <a:spcPts val="0"/>
              </a:spcBef>
              <a:spcAft>
                <a:spcPts val="0"/>
              </a:spcAft>
              <a:buSzPts val="1200"/>
              <a:buChar char="●"/>
              <a:defRPr sz="1600"/>
            </a:lvl4pPr>
            <a:lvl5pPr marL="2286000" lvl="4" indent="-304800" algn="l">
              <a:lnSpc>
                <a:spcPct val="115000"/>
              </a:lnSpc>
              <a:spcBef>
                <a:spcPts val="0"/>
              </a:spcBef>
              <a:spcAft>
                <a:spcPts val="0"/>
              </a:spcAft>
              <a:buSzPts val="1200"/>
              <a:buChar char="○"/>
              <a:defRPr sz="1600"/>
            </a:lvl5pPr>
            <a:lvl6pPr marL="2743200" lvl="5" indent="-304800" algn="l">
              <a:lnSpc>
                <a:spcPct val="115000"/>
              </a:lnSpc>
              <a:spcBef>
                <a:spcPts val="0"/>
              </a:spcBef>
              <a:spcAft>
                <a:spcPts val="0"/>
              </a:spcAft>
              <a:buSzPts val="1200"/>
              <a:buChar char="■"/>
              <a:defRPr sz="1600"/>
            </a:lvl6pPr>
            <a:lvl7pPr marL="3200400" lvl="6" indent="-304800" algn="l">
              <a:lnSpc>
                <a:spcPct val="115000"/>
              </a:lnSpc>
              <a:spcBef>
                <a:spcPts val="0"/>
              </a:spcBef>
              <a:spcAft>
                <a:spcPts val="0"/>
              </a:spcAft>
              <a:buSzPts val="1200"/>
              <a:buChar char="●"/>
              <a:defRPr sz="1600"/>
            </a:lvl7pPr>
            <a:lvl8pPr marL="3657600" lvl="7" indent="-304800" algn="l">
              <a:lnSpc>
                <a:spcPct val="115000"/>
              </a:lnSpc>
              <a:spcBef>
                <a:spcPts val="0"/>
              </a:spcBef>
              <a:spcAft>
                <a:spcPts val="0"/>
              </a:spcAft>
              <a:buSzPts val="1200"/>
              <a:buChar char="○"/>
              <a:defRPr sz="1600"/>
            </a:lvl8pPr>
            <a:lvl9pPr marL="4114800" lvl="8" indent="-304800" algn="l">
              <a:lnSpc>
                <a:spcPct val="115000"/>
              </a:lnSpc>
              <a:spcBef>
                <a:spcPts val="0"/>
              </a:spcBef>
              <a:spcAft>
                <a:spcPts val="0"/>
              </a:spcAft>
              <a:buSzPts val="1200"/>
              <a:buChar char="■"/>
              <a:defRPr sz="1600"/>
            </a:lvl9pPr>
          </a:lstStyle>
          <a:p>
            <a:endParaRPr/>
          </a:p>
        </p:txBody>
      </p:sp>
      <p:sp>
        <p:nvSpPr>
          <p:cNvPr id="11900" name="Google Shape;11900;p112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1901"/>
        <p:cNvGrpSpPr/>
        <p:nvPr/>
      </p:nvGrpSpPr>
      <p:grpSpPr>
        <a:xfrm>
          <a:off x="0" y="0"/>
          <a:ext cx="0" cy="0"/>
          <a:chOff x="0" y="0"/>
          <a:chExt cx="0" cy="0"/>
        </a:xfrm>
      </p:grpSpPr>
      <p:sp>
        <p:nvSpPr>
          <p:cNvPr id="11902" name="Google Shape;11902;p1130"/>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903" name="Google Shape;11903;p113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1904"/>
        <p:cNvGrpSpPr/>
        <p:nvPr/>
      </p:nvGrpSpPr>
      <p:grpSpPr>
        <a:xfrm>
          <a:off x="0" y="0"/>
          <a:ext cx="0" cy="0"/>
          <a:chOff x="0" y="0"/>
          <a:chExt cx="0" cy="0"/>
        </a:xfrm>
      </p:grpSpPr>
      <p:sp>
        <p:nvSpPr>
          <p:cNvPr id="11905" name="Google Shape;11905;p1131"/>
          <p:cNvSpPr txBox="1">
            <a:spLocks noGrp="1"/>
          </p:cNvSpPr>
          <p:nvPr>
            <p:ph type="title"/>
          </p:nvPr>
        </p:nvSpPr>
        <p:spPr>
          <a:xfrm>
            <a:off x="415600" y="740800"/>
            <a:ext cx="3744000" cy="10076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3200"/>
            </a:lvl1pPr>
            <a:lvl2pPr lvl="1" algn="l">
              <a:lnSpc>
                <a:spcPct val="100000"/>
              </a:lnSpc>
              <a:spcBef>
                <a:spcPts val="0"/>
              </a:spcBef>
              <a:spcAft>
                <a:spcPts val="0"/>
              </a:spcAft>
              <a:buSzPts val="2400"/>
              <a:buNone/>
              <a:defRPr sz="3200"/>
            </a:lvl2pPr>
            <a:lvl3pPr lvl="2" algn="l">
              <a:lnSpc>
                <a:spcPct val="100000"/>
              </a:lnSpc>
              <a:spcBef>
                <a:spcPts val="0"/>
              </a:spcBef>
              <a:spcAft>
                <a:spcPts val="0"/>
              </a:spcAft>
              <a:buSzPts val="2400"/>
              <a:buNone/>
              <a:defRPr sz="3200"/>
            </a:lvl3pPr>
            <a:lvl4pPr lvl="3" algn="l">
              <a:lnSpc>
                <a:spcPct val="100000"/>
              </a:lnSpc>
              <a:spcBef>
                <a:spcPts val="0"/>
              </a:spcBef>
              <a:spcAft>
                <a:spcPts val="0"/>
              </a:spcAft>
              <a:buSzPts val="2400"/>
              <a:buNone/>
              <a:defRPr sz="3200"/>
            </a:lvl4pPr>
            <a:lvl5pPr lvl="4" algn="l">
              <a:lnSpc>
                <a:spcPct val="100000"/>
              </a:lnSpc>
              <a:spcBef>
                <a:spcPts val="0"/>
              </a:spcBef>
              <a:spcAft>
                <a:spcPts val="0"/>
              </a:spcAft>
              <a:buSzPts val="2400"/>
              <a:buNone/>
              <a:defRPr sz="3200"/>
            </a:lvl5pPr>
            <a:lvl6pPr lvl="5" algn="l">
              <a:lnSpc>
                <a:spcPct val="100000"/>
              </a:lnSpc>
              <a:spcBef>
                <a:spcPts val="0"/>
              </a:spcBef>
              <a:spcAft>
                <a:spcPts val="0"/>
              </a:spcAft>
              <a:buSzPts val="2400"/>
              <a:buNone/>
              <a:defRPr sz="3200"/>
            </a:lvl6pPr>
            <a:lvl7pPr lvl="6" algn="l">
              <a:lnSpc>
                <a:spcPct val="100000"/>
              </a:lnSpc>
              <a:spcBef>
                <a:spcPts val="0"/>
              </a:spcBef>
              <a:spcAft>
                <a:spcPts val="0"/>
              </a:spcAft>
              <a:buSzPts val="2400"/>
              <a:buNone/>
              <a:defRPr sz="3200"/>
            </a:lvl7pPr>
            <a:lvl8pPr lvl="7" algn="l">
              <a:lnSpc>
                <a:spcPct val="100000"/>
              </a:lnSpc>
              <a:spcBef>
                <a:spcPts val="0"/>
              </a:spcBef>
              <a:spcAft>
                <a:spcPts val="0"/>
              </a:spcAft>
              <a:buSzPts val="2400"/>
              <a:buNone/>
              <a:defRPr sz="3200"/>
            </a:lvl8pPr>
            <a:lvl9pPr lvl="8" algn="l">
              <a:lnSpc>
                <a:spcPct val="100000"/>
              </a:lnSpc>
              <a:spcBef>
                <a:spcPts val="0"/>
              </a:spcBef>
              <a:spcAft>
                <a:spcPts val="0"/>
              </a:spcAft>
              <a:buSzPts val="2400"/>
              <a:buNone/>
              <a:defRPr sz="3200"/>
            </a:lvl9pPr>
          </a:lstStyle>
          <a:p>
            <a:endParaRPr/>
          </a:p>
        </p:txBody>
      </p:sp>
      <p:sp>
        <p:nvSpPr>
          <p:cNvPr id="11906" name="Google Shape;11906;p1131"/>
          <p:cNvSpPr txBox="1">
            <a:spLocks noGrp="1"/>
          </p:cNvSpPr>
          <p:nvPr>
            <p:ph type="body" idx="1"/>
          </p:nvPr>
        </p:nvSpPr>
        <p:spPr>
          <a:xfrm>
            <a:off x="415600" y="1852800"/>
            <a:ext cx="3744000" cy="42392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600"/>
            </a:lvl1pPr>
            <a:lvl2pPr marL="914400" lvl="1" indent="-304800" algn="l">
              <a:lnSpc>
                <a:spcPct val="115000"/>
              </a:lnSpc>
              <a:spcBef>
                <a:spcPts val="0"/>
              </a:spcBef>
              <a:spcAft>
                <a:spcPts val="0"/>
              </a:spcAft>
              <a:buSzPts val="1200"/>
              <a:buChar char="○"/>
              <a:defRPr sz="1600"/>
            </a:lvl2pPr>
            <a:lvl3pPr marL="1371600" lvl="2" indent="-304800" algn="l">
              <a:lnSpc>
                <a:spcPct val="115000"/>
              </a:lnSpc>
              <a:spcBef>
                <a:spcPts val="0"/>
              </a:spcBef>
              <a:spcAft>
                <a:spcPts val="0"/>
              </a:spcAft>
              <a:buSzPts val="1200"/>
              <a:buChar char="■"/>
              <a:defRPr sz="1600"/>
            </a:lvl3pPr>
            <a:lvl4pPr marL="1828800" lvl="3" indent="-304800" algn="l">
              <a:lnSpc>
                <a:spcPct val="115000"/>
              </a:lnSpc>
              <a:spcBef>
                <a:spcPts val="0"/>
              </a:spcBef>
              <a:spcAft>
                <a:spcPts val="0"/>
              </a:spcAft>
              <a:buSzPts val="1200"/>
              <a:buChar char="●"/>
              <a:defRPr sz="1600"/>
            </a:lvl4pPr>
            <a:lvl5pPr marL="2286000" lvl="4" indent="-304800" algn="l">
              <a:lnSpc>
                <a:spcPct val="115000"/>
              </a:lnSpc>
              <a:spcBef>
                <a:spcPts val="0"/>
              </a:spcBef>
              <a:spcAft>
                <a:spcPts val="0"/>
              </a:spcAft>
              <a:buSzPts val="1200"/>
              <a:buChar char="○"/>
              <a:defRPr sz="1600"/>
            </a:lvl5pPr>
            <a:lvl6pPr marL="2743200" lvl="5" indent="-304800" algn="l">
              <a:lnSpc>
                <a:spcPct val="115000"/>
              </a:lnSpc>
              <a:spcBef>
                <a:spcPts val="0"/>
              </a:spcBef>
              <a:spcAft>
                <a:spcPts val="0"/>
              </a:spcAft>
              <a:buSzPts val="1200"/>
              <a:buChar char="■"/>
              <a:defRPr sz="1600"/>
            </a:lvl6pPr>
            <a:lvl7pPr marL="3200400" lvl="6" indent="-304800" algn="l">
              <a:lnSpc>
                <a:spcPct val="115000"/>
              </a:lnSpc>
              <a:spcBef>
                <a:spcPts val="0"/>
              </a:spcBef>
              <a:spcAft>
                <a:spcPts val="0"/>
              </a:spcAft>
              <a:buSzPts val="1200"/>
              <a:buChar char="●"/>
              <a:defRPr sz="1600"/>
            </a:lvl7pPr>
            <a:lvl8pPr marL="3657600" lvl="7" indent="-304800" algn="l">
              <a:lnSpc>
                <a:spcPct val="115000"/>
              </a:lnSpc>
              <a:spcBef>
                <a:spcPts val="0"/>
              </a:spcBef>
              <a:spcAft>
                <a:spcPts val="0"/>
              </a:spcAft>
              <a:buSzPts val="1200"/>
              <a:buChar char="○"/>
              <a:defRPr sz="1600"/>
            </a:lvl8pPr>
            <a:lvl9pPr marL="4114800" lvl="8" indent="-304800" algn="l">
              <a:lnSpc>
                <a:spcPct val="115000"/>
              </a:lnSpc>
              <a:spcBef>
                <a:spcPts val="0"/>
              </a:spcBef>
              <a:spcAft>
                <a:spcPts val="0"/>
              </a:spcAft>
              <a:buSzPts val="1200"/>
              <a:buChar char="■"/>
              <a:defRPr sz="1600"/>
            </a:lvl9pPr>
          </a:lstStyle>
          <a:p>
            <a:endParaRPr/>
          </a:p>
        </p:txBody>
      </p:sp>
      <p:sp>
        <p:nvSpPr>
          <p:cNvPr id="11907" name="Google Shape;11907;p113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1908"/>
        <p:cNvGrpSpPr/>
        <p:nvPr/>
      </p:nvGrpSpPr>
      <p:grpSpPr>
        <a:xfrm>
          <a:off x="0" y="0"/>
          <a:ext cx="0" cy="0"/>
          <a:chOff x="0" y="0"/>
          <a:chExt cx="0" cy="0"/>
        </a:xfrm>
      </p:grpSpPr>
      <p:sp>
        <p:nvSpPr>
          <p:cNvPr id="11909" name="Google Shape;11909;p1132"/>
          <p:cNvSpPr txBox="1">
            <a:spLocks noGrp="1"/>
          </p:cNvSpPr>
          <p:nvPr>
            <p:ph type="title"/>
          </p:nvPr>
        </p:nvSpPr>
        <p:spPr>
          <a:xfrm>
            <a:off x="653667" y="600200"/>
            <a:ext cx="8490400" cy="54544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6400"/>
            </a:lvl1pPr>
            <a:lvl2pPr lvl="1" algn="l">
              <a:lnSpc>
                <a:spcPct val="100000"/>
              </a:lnSpc>
              <a:spcBef>
                <a:spcPts val="0"/>
              </a:spcBef>
              <a:spcAft>
                <a:spcPts val="0"/>
              </a:spcAft>
              <a:buSzPts val="4800"/>
              <a:buNone/>
              <a:defRPr sz="6400"/>
            </a:lvl2pPr>
            <a:lvl3pPr lvl="2" algn="l">
              <a:lnSpc>
                <a:spcPct val="100000"/>
              </a:lnSpc>
              <a:spcBef>
                <a:spcPts val="0"/>
              </a:spcBef>
              <a:spcAft>
                <a:spcPts val="0"/>
              </a:spcAft>
              <a:buSzPts val="4800"/>
              <a:buNone/>
              <a:defRPr sz="6400"/>
            </a:lvl3pPr>
            <a:lvl4pPr lvl="3" algn="l">
              <a:lnSpc>
                <a:spcPct val="100000"/>
              </a:lnSpc>
              <a:spcBef>
                <a:spcPts val="0"/>
              </a:spcBef>
              <a:spcAft>
                <a:spcPts val="0"/>
              </a:spcAft>
              <a:buSzPts val="4800"/>
              <a:buNone/>
              <a:defRPr sz="6400"/>
            </a:lvl4pPr>
            <a:lvl5pPr lvl="4" algn="l">
              <a:lnSpc>
                <a:spcPct val="100000"/>
              </a:lnSpc>
              <a:spcBef>
                <a:spcPts val="0"/>
              </a:spcBef>
              <a:spcAft>
                <a:spcPts val="0"/>
              </a:spcAft>
              <a:buSzPts val="4800"/>
              <a:buNone/>
              <a:defRPr sz="6400"/>
            </a:lvl5pPr>
            <a:lvl6pPr lvl="5" algn="l">
              <a:lnSpc>
                <a:spcPct val="100000"/>
              </a:lnSpc>
              <a:spcBef>
                <a:spcPts val="0"/>
              </a:spcBef>
              <a:spcAft>
                <a:spcPts val="0"/>
              </a:spcAft>
              <a:buSzPts val="4800"/>
              <a:buNone/>
              <a:defRPr sz="6400"/>
            </a:lvl6pPr>
            <a:lvl7pPr lvl="6" algn="l">
              <a:lnSpc>
                <a:spcPct val="100000"/>
              </a:lnSpc>
              <a:spcBef>
                <a:spcPts val="0"/>
              </a:spcBef>
              <a:spcAft>
                <a:spcPts val="0"/>
              </a:spcAft>
              <a:buSzPts val="4800"/>
              <a:buNone/>
              <a:defRPr sz="6400"/>
            </a:lvl7pPr>
            <a:lvl8pPr lvl="7" algn="l">
              <a:lnSpc>
                <a:spcPct val="100000"/>
              </a:lnSpc>
              <a:spcBef>
                <a:spcPts val="0"/>
              </a:spcBef>
              <a:spcAft>
                <a:spcPts val="0"/>
              </a:spcAft>
              <a:buSzPts val="4800"/>
              <a:buNone/>
              <a:defRPr sz="6400"/>
            </a:lvl8pPr>
            <a:lvl9pPr lvl="8" algn="l">
              <a:lnSpc>
                <a:spcPct val="100000"/>
              </a:lnSpc>
              <a:spcBef>
                <a:spcPts val="0"/>
              </a:spcBef>
              <a:spcAft>
                <a:spcPts val="0"/>
              </a:spcAft>
              <a:buSzPts val="4800"/>
              <a:buNone/>
              <a:defRPr sz="6400"/>
            </a:lvl9pPr>
          </a:lstStyle>
          <a:p>
            <a:endParaRPr/>
          </a:p>
        </p:txBody>
      </p:sp>
      <p:sp>
        <p:nvSpPr>
          <p:cNvPr id="11910" name="Google Shape;11910;p113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1911"/>
        <p:cNvGrpSpPr/>
        <p:nvPr/>
      </p:nvGrpSpPr>
      <p:grpSpPr>
        <a:xfrm>
          <a:off x="0" y="0"/>
          <a:ext cx="0" cy="0"/>
          <a:chOff x="0" y="0"/>
          <a:chExt cx="0" cy="0"/>
        </a:xfrm>
      </p:grpSpPr>
      <p:sp>
        <p:nvSpPr>
          <p:cNvPr id="11912" name="Google Shape;11912;p1133"/>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2533"/>
              <a:buFont typeface="Arial"/>
              <a:buNone/>
            </a:pPr>
            <a:endParaRPr sz="2533" b="0" i="0" u="none" strike="noStrike" cap="none">
              <a:solidFill>
                <a:schemeClr val="dk1"/>
              </a:solidFill>
              <a:latin typeface="Arial"/>
              <a:ea typeface="Arial"/>
              <a:cs typeface="Arial"/>
              <a:sym typeface="Arial"/>
            </a:endParaRPr>
          </a:p>
        </p:txBody>
      </p:sp>
      <p:sp>
        <p:nvSpPr>
          <p:cNvPr id="11913" name="Google Shape;11913;p1133"/>
          <p:cNvSpPr txBox="1">
            <a:spLocks noGrp="1"/>
          </p:cNvSpPr>
          <p:nvPr>
            <p:ph type="title"/>
          </p:nvPr>
        </p:nvSpPr>
        <p:spPr>
          <a:xfrm>
            <a:off x="354000" y="1644233"/>
            <a:ext cx="5393600" cy="19764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5600"/>
            </a:lvl1pPr>
            <a:lvl2pPr lvl="1" algn="ctr">
              <a:lnSpc>
                <a:spcPct val="100000"/>
              </a:lnSpc>
              <a:spcBef>
                <a:spcPts val="0"/>
              </a:spcBef>
              <a:spcAft>
                <a:spcPts val="0"/>
              </a:spcAft>
              <a:buSzPts val="4200"/>
              <a:buNone/>
              <a:defRPr sz="5600"/>
            </a:lvl2pPr>
            <a:lvl3pPr lvl="2" algn="ctr">
              <a:lnSpc>
                <a:spcPct val="100000"/>
              </a:lnSpc>
              <a:spcBef>
                <a:spcPts val="0"/>
              </a:spcBef>
              <a:spcAft>
                <a:spcPts val="0"/>
              </a:spcAft>
              <a:buSzPts val="4200"/>
              <a:buNone/>
              <a:defRPr sz="5600"/>
            </a:lvl3pPr>
            <a:lvl4pPr lvl="3" algn="ctr">
              <a:lnSpc>
                <a:spcPct val="100000"/>
              </a:lnSpc>
              <a:spcBef>
                <a:spcPts val="0"/>
              </a:spcBef>
              <a:spcAft>
                <a:spcPts val="0"/>
              </a:spcAft>
              <a:buSzPts val="4200"/>
              <a:buNone/>
              <a:defRPr sz="5600"/>
            </a:lvl4pPr>
            <a:lvl5pPr lvl="4" algn="ctr">
              <a:lnSpc>
                <a:spcPct val="100000"/>
              </a:lnSpc>
              <a:spcBef>
                <a:spcPts val="0"/>
              </a:spcBef>
              <a:spcAft>
                <a:spcPts val="0"/>
              </a:spcAft>
              <a:buSzPts val="4200"/>
              <a:buNone/>
              <a:defRPr sz="5600"/>
            </a:lvl5pPr>
            <a:lvl6pPr lvl="5" algn="ctr">
              <a:lnSpc>
                <a:spcPct val="100000"/>
              </a:lnSpc>
              <a:spcBef>
                <a:spcPts val="0"/>
              </a:spcBef>
              <a:spcAft>
                <a:spcPts val="0"/>
              </a:spcAft>
              <a:buSzPts val="4200"/>
              <a:buNone/>
              <a:defRPr sz="5600"/>
            </a:lvl6pPr>
            <a:lvl7pPr lvl="6" algn="ctr">
              <a:lnSpc>
                <a:spcPct val="100000"/>
              </a:lnSpc>
              <a:spcBef>
                <a:spcPts val="0"/>
              </a:spcBef>
              <a:spcAft>
                <a:spcPts val="0"/>
              </a:spcAft>
              <a:buSzPts val="4200"/>
              <a:buNone/>
              <a:defRPr sz="5600"/>
            </a:lvl7pPr>
            <a:lvl8pPr lvl="7" algn="ctr">
              <a:lnSpc>
                <a:spcPct val="100000"/>
              </a:lnSpc>
              <a:spcBef>
                <a:spcPts val="0"/>
              </a:spcBef>
              <a:spcAft>
                <a:spcPts val="0"/>
              </a:spcAft>
              <a:buSzPts val="4200"/>
              <a:buNone/>
              <a:defRPr sz="5600"/>
            </a:lvl8pPr>
            <a:lvl9pPr lvl="8" algn="ctr">
              <a:lnSpc>
                <a:spcPct val="100000"/>
              </a:lnSpc>
              <a:spcBef>
                <a:spcPts val="0"/>
              </a:spcBef>
              <a:spcAft>
                <a:spcPts val="0"/>
              </a:spcAft>
              <a:buSzPts val="4200"/>
              <a:buNone/>
              <a:defRPr sz="5600"/>
            </a:lvl9pPr>
          </a:lstStyle>
          <a:p>
            <a:endParaRPr/>
          </a:p>
        </p:txBody>
      </p:sp>
      <p:sp>
        <p:nvSpPr>
          <p:cNvPr id="11914" name="Google Shape;11914;p1133"/>
          <p:cNvSpPr txBox="1">
            <a:spLocks noGrp="1"/>
          </p:cNvSpPr>
          <p:nvPr>
            <p:ph type="subTitle" idx="1"/>
          </p:nvPr>
        </p:nvSpPr>
        <p:spPr>
          <a:xfrm>
            <a:off x="354000" y="3737433"/>
            <a:ext cx="5393600" cy="16468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11915" name="Google Shape;11915;p1133"/>
          <p:cNvSpPr txBox="1">
            <a:spLocks noGrp="1"/>
          </p:cNvSpPr>
          <p:nvPr>
            <p:ph type="body" idx="2"/>
          </p:nvPr>
        </p:nvSpPr>
        <p:spPr>
          <a:xfrm>
            <a:off x="6586000" y="965433"/>
            <a:ext cx="5116000" cy="49268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1916" name="Google Shape;11916;p113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1917"/>
        <p:cNvGrpSpPr/>
        <p:nvPr/>
      </p:nvGrpSpPr>
      <p:grpSpPr>
        <a:xfrm>
          <a:off x="0" y="0"/>
          <a:ext cx="0" cy="0"/>
          <a:chOff x="0" y="0"/>
          <a:chExt cx="0" cy="0"/>
        </a:xfrm>
      </p:grpSpPr>
      <p:sp>
        <p:nvSpPr>
          <p:cNvPr id="11918" name="Google Shape;11918;p1134"/>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11919" name="Google Shape;11919;p113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1920"/>
        <p:cNvGrpSpPr/>
        <p:nvPr/>
      </p:nvGrpSpPr>
      <p:grpSpPr>
        <a:xfrm>
          <a:off x="0" y="0"/>
          <a:ext cx="0" cy="0"/>
          <a:chOff x="0" y="0"/>
          <a:chExt cx="0" cy="0"/>
        </a:xfrm>
      </p:grpSpPr>
      <p:sp>
        <p:nvSpPr>
          <p:cNvPr id="11921" name="Google Shape;11921;p1135"/>
          <p:cNvSpPr txBox="1">
            <a:spLocks noGrp="1"/>
          </p:cNvSpPr>
          <p:nvPr>
            <p:ph type="title" hasCustomPrompt="1"/>
          </p:nvPr>
        </p:nvSpPr>
        <p:spPr>
          <a:xfrm>
            <a:off x="415600" y="1474833"/>
            <a:ext cx="11360800" cy="26180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6000"/>
            </a:lvl1pPr>
            <a:lvl2pPr lvl="1" algn="ctr">
              <a:lnSpc>
                <a:spcPct val="100000"/>
              </a:lnSpc>
              <a:spcBef>
                <a:spcPts val="0"/>
              </a:spcBef>
              <a:spcAft>
                <a:spcPts val="0"/>
              </a:spcAft>
              <a:buSzPts val="12000"/>
              <a:buNone/>
              <a:defRPr sz="16000"/>
            </a:lvl2pPr>
            <a:lvl3pPr lvl="2" algn="ctr">
              <a:lnSpc>
                <a:spcPct val="100000"/>
              </a:lnSpc>
              <a:spcBef>
                <a:spcPts val="0"/>
              </a:spcBef>
              <a:spcAft>
                <a:spcPts val="0"/>
              </a:spcAft>
              <a:buSzPts val="12000"/>
              <a:buNone/>
              <a:defRPr sz="16000"/>
            </a:lvl3pPr>
            <a:lvl4pPr lvl="3" algn="ctr">
              <a:lnSpc>
                <a:spcPct val="100000"/>
              </a:lnSpc>
              <a:spcBef>
                <a:spcPts val="0"/>
              </a:spcBef>
              <a:spcAft>
                <a:spcPts val="0"/>
              </a:spcAft>
              <a:buSzPts val="12000"/>
              <a:buNone/>
              <a:defRPr sz="16000"/>
            </a:lvl4pPr>
            <a:lvl5pPr lvl="4" algn="ctr">
              <a:lnSpc>
                <a:spcPct val="100000"/>
              </a:lnSpc>
              <a:spcBef>
                <a:spcPts val="0"/>
              </a:spcBef>
              <a:spcAft>
                <a:spcPts val="0"/>
              </a:spcAft>
              <a:buSzPts val="12000"/>
              <a:buNone/>
              <a:defRPr sz="16000"/>
            </a:lvl5pPr>
            <a:lvl6pPr lvl="5" algn="ctr">
              <a:lnSpc>
                <a:spcPct val="100000"/>
              </a:lnSpc>
              <a:spcBef>
                <a:spcPts val="0"/>
              </a:spcBef>
              <a:spcAft>
                <a:spcPts val="0"/>
              </a:spcAft>
              <a:buSzPts val="12000"/>
              <a:buNone/>
              <a:defRPr sz="16000"/>
            </a:lvl6pPr>
            <a:lvl7pPr lvl="6" algn="ctr">
              <a:lnSpc>
                <a:spcPct val="100000"/>
              </a:lnSpc>
              <a:spcBef>
                <a:spcPts val="0"/>
              </a:spcBef>
              <a:spcAft>
                <a:spcPts val="0"/>
              </a:spcAft>
              <a:buSzPts val="12000"/>
              <a:buNone/>
              <a:defRPr sz="16000"/>
            </a:lvl7pPr>
            <a:lvl8pPr lvl="7" algn="ctr">
              <a:lnSpc>
                <a:spcPct val="100000"/>
              </a:lnSpc>
              <a:spcBef>
                <a:spcPts val="0"/>
              </a:spcBef>
              <a:spcAft>
                <a:spcPts val="0"/>
              </a:spcAft>
              <a:buSzPts val="12000"/>
              <a:buNone/>
              <a:defRPr sz="16000"/>
            </a:lvl8pPr>
            <a:lvl9pPr lvl="8" algn="ctr">
              <a:lnSpc>
                <a:spcPct val="100000"/>
              </a:lnSpc>
              <a:spcBef>
                <a:spcPts val="0"/>
              </a:spcBef>
              <a:spcAft>
                <a:spcPts val="0"/>
              </a:spcAft>
              <a:buSzPts val="12000"/>
              <a:buNone/>
              <a:defRPr sz="16000"/>
            </a:lvl9pPr>
          </a:lstStyle>
          <a:p>
            <a:r>
              <a:t>xx%</a:t>
            </a:r>
          </a:p>
        </p:txBody>
      </p:sp>
      <p:sp>
        <p:nvSpPr>
          <p:cNvPr id="11922" name="Google Shape;11922;p1135"/>
          <p:cNvSpPr txBox="1">
            <a:spLocks noGrp="1"/>
          </p:cNvSpPr>
          <p:nvPr>
            <p:ph type="body" idx="1"/>
          </p:nvPr>
        </p:nvSpPr>
        <p:spPr>
          <a:xfrm>
            <a:off x="415600" y="4202967"/>
            <a:ext cx="11360800" cy="17344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11923" name="Google Shape;11923;p113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924"/>
        <p:cNvGrpSpPr/>
        <p:nvPr/>
      </p:nvGrpSpPr>
      <p:grpSpPr>
        <a:xfrm>
          <a:off x="0" y="0"/>
          <a:ext cx="0" cy="0"/>
          <a:chOff x="0" y="0"/>
          <a:chExt cx="0" cy="0"/>
        </a:xfrm>
      </p:grpSpPr>
      <p:sp>
        <p:nvSpPr>
          <p:cNvPr id="11925" name="Google Shape;11925;p113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246"/>
        <p:cNvGrpSpPr/>
        <p:nvPr/>
      </p:nvGrpSpPr>
      <p:grpSpPr>
        <a:xfrm>
          <a:off x="0" y="0"/>
          <a:ext cx="0" cy="0"/>
          <a:chOff x="0" y="0"/>
          <a:chExt cx="0" cy="0"/>
        </a:xfrm>
      </p:grpSpPr>
      <p:sp>
        <p:nvSpPr>
          <p:cNvPr id="1247" name="Google Shape;1247;p12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48" name="Google Shape;1248;p12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2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0" name="Google Shape;1250;p1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1" name="Google Shape;1251;p1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2" name="Google Shape;1252;p1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3" name="Google Shape;1253;p1213"/>
          <p:cNvGrpSpPr/>
          <p:nvPr/>
        </p:nvGrpSpPr>
        <p:grpSpPr>
          <a:xfrm>
            <a:off x="7191542" y="1"/>
            <a:ext cx="5000459" cy="1425992"/>
            <a:chOff x="7191542" y="1"/>
            <a:chExt cx="5000459" cy="1425992"/>
          </a:xfrm>
        </p:grpSpPr>
        <p:pic>
          <p:nvPicPr>
            <p:cNvPr id="1254" name="Google Shape;1254;p1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5" name="Google Shape;1255;p1213"/>
            <p:cNvGrpSpPr/>
            <p:nvPr/>
          </p:nvGrpSpPr>
          <p:grpSpPr>
            <a:xfrm>
              <a:off x="7191542" y="1"/>
              <a:ext cx="5000459" cy="1425992"/>
              <a:chOff x="7186272" y="0"/>
              <a:chExt cx="5005729" cy="1427495"/>
            </a:xfrm>
          </p:grpSpPr>
          <p:sp>
            <p:nvSpPr>
              <p:cNvPr id="1256" name="Google Shape;1256;p1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57" name="Google Shape;1257;p1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58" name="Google Shape;1258;p12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259"/>
        <p:cNvGrpSpPr/>
        <p:nvPr/>
      </p:nvGrpSpPr>
      <p:grpSpPr>
        <a:xfrm>
          <a:off x="0" y="0"/>
          <a:ext cx="0" cy="0"/>
          <a:chOff x="0" y="0"/>
          <a:chExt cx="0" cy="0"/>
        </a:xfrm>
      </p:grpSpPr>
      <p:sp>
        <p:nvSpPr>
          <p:cNvPr id="1260" name="Google Shape;1260;p121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61" name="Google Shape;1261;p121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62" name="Google Shape;1262;p121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63" name="Google Shape;1263;p121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64" name="Google Shape;1264;p121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65" name="Google Shape;1265;p121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66" name="Google Shape;1266;p121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21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68" name="Google Shape;1268;p121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9" name="Google Shape;1269;p121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0" name="Google Shape;1270;p121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076273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271"/>
        <p:cNvGrpSpPr/>
        <p:nvPr/>
      </p:nvGrpSpPr>
      <p:grpSpPr>
        <a:xfrm>
          <a:off x="0" y="0"/>
          <a:ext cx="0" cy="0"/>
          <a:chOff x="0" y="0"/>
          <a:chExt cx="0" cy="0"/>
        </a:xfrm>
      </p:grpSpPr>
      <p:sp>
        <p:nvSpPr>
          <p:cNvPr id="1272" name="Google Shape;1272;p12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73" name="Google Shape;1273;p12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4" name="Google Shape;1274;p12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5" name="Google Shape;1275;p1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6" name="Google Shape;1276;p12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7" name="Google Shape;1277;p12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8" name="Google Shape;1278;p1215"/>
          <p:cNvGrpSpPr/>
          <p:nvPr/>
        </p:nvGrpSpPr>
        <p:grpSpPr>
          <a:xfrm>
            <a:off x="7191542" y="1"/>
            <a:ext cx="5000459" cy="1425992"/>
            <a:chOff x="7191542" y="1"/>
            <a:chExt cx="5000459" cy="1425992"/>
          </a:xfrm>
        </p:grpSpPr>
        <p:pic>
          <p:nvPicPr>
            <p:cNvPr id="1279" name="Google Shape;1279;p12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 name="Google Shape;1280;p1215"/>
            <p:cNvGrpSpPr/>
            <p:nvPr/>
          </p:nvGrpSpPr>
          <p:grpSpPr>
            <a:xfrm>
              <a:off x="7191542" y="1"/>
              <a:ext cx="5000459" cy="1425992"/>
              <a:chOff x="7186272" y="0"/>
              <a:chExt cx="5005729" cy="1427495"/>
            </a:xfrm>
          </p:grpSpPr>
          <p:sp>
            <p:nvSpPr>
              <p:cNvPr id="1281" name="Google Shape;1281;p12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82" name="Google Shape;1282;p12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3" name="Google Shape;1283;p12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25529909"/>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24124597"/>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00054201"/>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6853967"/>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5908924"/>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496730"/>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8663874"/>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8977494"/>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3183470"/>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91280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42"/>
        <p:cNvGrpSpPr/>
        <p:nvPr/>
      </p:nvGrpSpPr>
      <p:grpSpPr>
        <a:xfrm>
          <a:off x="0" y="0"/>
          <a:ext cx="0" cy="0"/>
          <a:chOff x="0" y="0"/>
          <a:chExt cx="0" cy="0"/>
        </a:xfrm>
      </p:grpSpPr>
      <p:grpSp>
        <p:nvGrpSpPr>
          <p:cNvPr id="143" name="Google Shape;143;p69"/>
          <p:cNvGrpSpPr/>
          <p:nvPr/>
        </p:nvGrpSpPr>
        <p:grpSpPr>
          <a:xfrm>
            <a:off x="0" y="5020347"/>
            <a:ext cx="12192000" cy="1837653"/>
            <a:chOff x="0" y="5020347"/>
            <a:chExt cx="12192000" cy="1837653"/>
          </a:xfrm>
        </p:grpSpPr>
        <p:sp>
          <p:nvSpPr>
            <p:cNvPr id="144" name="Google Shape;144;p6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 name="Google Shape;145;p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6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 name="Google Shape;147;p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 name="Google Shape;148;p6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 name="Google Shape;149;p6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284"/>
        <p:cNvGrpSpPr/>
        <p:nvPr/>
      </p:nvGrpSpPr>
      <p:grpSpPr>
        <a:xfrm>
          <a:off x="0" y="0"/>
          <a:ext cx="0" cy="0"/>
          <a:chOff x="0" y="0"/>
          <a:chExt cx="0" cy="0"/>
        </a:xfrm>
      </p:grpSpPr>
      <p:sp>
        <p:nvSpPr>
          <p:cNvPr id="1285" name="Google Shape;1285;p12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86" name="Google Shape;1286;p12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2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 name="Google Shape;1288;p1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9" name="Google Shape;1289;p1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0" name="Google Shape;1290;p1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91" name="Google Shape;1291;p1216"/>
          <p:cNvGrpSpPr/>
          <p:nvPr/>
        </p:nvGrpSpPr>
        <p:grpSpPr>
          <a:xfrm>
            <a:off x="7191542" y="1"/>
            <a:ext cx="5000459" cy="1425992"/>
            <a:chOff x="7191542" y="1"/>
            <a:chExt cx="5000459" cy="1425992"/>
          </a:xfrm>
        </p:grpSpPr>
        <p:pic>
          <p:nvPicPr>
            <p:cNvPr id="1292" name="Google Shape;1292;p1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3" name="Google Shape;1293;p1216"/>
            <p:cNvGrpSpPr/>
            <p:nvPr/>
          </p:nvGrpSpPr>
          <p:grpSpPr>
            <a:xfrm>
              <a:off x="7191542" y="1"/>
              <a:ext cx="5000459" cy="1425992"/>
              <a:chOff x="7186272" y="0"/>
              <a:chExt cx="5005729" cy="1427495"/>
            </a:xfrm>
          </p:grpSpPr>
          <p:sp>
            <p:nvSpPr>
              <p:cNvPr id="1294" name="Google Shape;1294;p1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95" name="Google Shape;1295;p1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96" name="Google Shape;1296;p12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0987897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7250894"/>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04376408"/>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38248460"/>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45769832"/>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1030571"/>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0896272"/>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90366374"/>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500568"/>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700427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297"/>
        <p:cNvGrpSpPr/>
        <p:nvPr/>
      </p:nvGrpSpPr>
      <p:grpSpPr>
        <a:xfrm>
          <a:off x="0" y="0"/>
          <a:ext cx="0" cy="0"/>
          <a:chOff x="0" y="0"/>
          <a:chExt cx="0" cy="0"/>
        </a:xfrm>
      </p:grpSpPr>
      <p:sp>
        <p:nvSpPr>
          <p:cNvPr id="1298" name="Google Shape;1298;p1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99" name="Google Shape;1299;p1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0" name="Google Shape;1300;p1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2" name="Google Shape;1302;p1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3" name="Google Shape;1303;p1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4" name="Google Shape;1304;p1217"/>
          <p:cNvGrpSpPr/>
          <p:nvPr/>
        </p:nvGrpSpPr>
        <p:grpSpPr>
          <a:xfrm>
            <a:off x="7191542" y="1"/>
            <a:ext cx="5000459" cy="1425992"/>
            <a:chOff x="7191542" y="1"/>
            <a:chExt cx="5000459" cy="1425992"/>
          </a:xfrm>
        </p:grpSpPr>
        <p:pic>
          <p:nvPicPr>
            <p:cNvPr id="1305" name="Google Shape;1305;p1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 name="Google Shape;1306;p1217"/>
            <p:cNvGrpSpPr/>
            <p:nvPr/>
          </p:nvGrpSpPr>
          <p:grpSpPr>
            <a:xfrm>
              <a:off x="7191542" y="1"/>
              <a:ext cx="5000459" cy="1425992"/>
              <a:chOff x="7186272" y="0"/>
              <a:chExt cx="5005729" cy="1427495"/>
            </a:xfrm>
          </p:grpSpPr>
          <p:sp>
            <p:nvSpPr>
              <p:cNvPr id="1307" name="Google Shape;1307;p1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08" name="Google Shape;1308;p1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09" name="Google Shape;1309;p1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2344193"/>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75093619"/>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6428173"/>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8215367"/>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8680304"/>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310"/>
        <p:cNvGrpSpPr/>
        <p:nvPr/>
      </p:nvGrpSpPr>
      <p:grpSpPr>
        <a:xfrm>
          <a:off x="0" y="0"/>
          <a:ext cx="0" cy="0"/>
          <a:chOff x="0" y="0"/>
          <a:chExt cx="0" cy="0"/>
        </a:xfrm>
      </p:grpSpPr>
      <p:sp>
        <p:nvSpPr>
          <p:cNvPr id="1311" name="Google Shape;1311;p12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2" name="Google Shape;1312;p12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3" name="Google Shape;1313;p12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 name="Google Shape;1314;p1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15" name="Google Shape;1315;p1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 name="Google Shape;1316;p1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7" name="Google Shape;1317;p1218"/>
          <p:cNvGrpSpPr/>
          <p:nvPr/>
        </p:nvGrpSpPr>
        <p:grpSpPr>
          <a:xfrm>
            <a:off x="7191542" y="1"/>
            <a:ext cx="5000459" cy="1425992"/>
            <a:chOff x="7191542" y="1"/>
            <a:chExt cx="5000459" cy="1425992"/>
          </a:xfrm>
        </p:grpSpPr>
        <p:pic>
          <p:nvPicPr>
            <p:cNvPr id="1318" name="Google Shape;1318;p1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9" name="Google Shape;1319;p1218"/>
            <p:cNvGrpSpPr/>
            <p:nvPr/>
          </p:nvGrpSpPr>
          <p:grpSpPr>
            <a:xfrm>
              <a:off x="7191542" y="1"/>
              <a:ext cx="5000459" cy="1425992"/>
              <a:chOff x="7186272" y="0"/>
              <a:chExt cx="5005729" cy="1427495"/>
            </a:xfrm>
          </p:grpSpPr>
          <p:sp>
            <p:nvSpPr>
              <p:cNvPr id="1320" name="Google Shape;1320;p1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21" name="Google Shape;1321;p1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22" name="Google Shape;1322;p12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323"/>
        <p:cNvGrpSpPr/>
        <p:nvPr/>
      </p:nvGrpSpPr>
      <p:grpSpPr>
        <a:xfrm>
          <a:off x="0" y="0"/>
          <a:ext cx="0" cy="0"/>
          <a:chOff x="0" y="0"/>
          <a:chExt cx="0" cy="0"/>
        </a:xfrm>
      </p:grpSpPr>
      <p:sp>
        <p:nvSpPr>
          <p:cNvPr id="1324" name="Google Shape;1324;p12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5" name="Google Shape;1325;p12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2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7" name="Google Shape;1327;p1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28" name="Google Shape;1328;p1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9" name="Google Shape;1329;p1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30" name="Google Shape;1330;p1219"/>
          <p:cNvGrpSpPr/>
          <p:nvPr/>
        </p:nvGrpSpPr>
        <p:grpSpPr>
          <a:xfrm>
            <a:off x="7191542" y="1"/>
            <a:ext cx="5000459" cy="1425992"/>
            <a:chOff x="7191542" y="1"/>
            <a:chExt cx="5000459" cy="1425992"/>
          </a:xfrm>
        </p:grpSpPr>
        <p:pic>
          <p:nvPicPr>
            <p:cNvPr id="1331" name="Google Shape;1331;p1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32" name="Google Shape;1332;p1219"/>
            <p:cNvGrpSpPr/>
            <p:nvPr/>
          </p:nvGrpSpPr>
          <p:grpSpPr>
            <a:xfrm>
              <a:off x="7191542" y="1"/>
              <a:ext cx="5000459" cy="1425992"/>
              <a:chOff x="7186272" y="0"/>
              <a:chExt cx="5005729" cy="1427495"/>
            </a:xfrm>
          </p:grpSpPr>
          <p:sp>
            <p:nvSpPr>
              <p:cNvPr id="1333" name="Google Shape;1333;p1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34" name="Google Shape;1334;p1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35" name="Google Shape;1335;p12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876747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336"/>
        <p:cNvGrpSpPr/>
        <p:nvPr/>
      </p:nvGrpSpPr>
      <p:grpSpPr>
        <a:xfrm>
          <a:off x="0" y="0"/>
          <a:ext cx="0" cy="0"/>
          <a:chOff x="0" y="0"/>
          <a:chExt cx="0" cy="0"/>
        </a:xfrm>
      </p:grpSpPr>
      <p:sp>
        <p:nvSpPr>
          <p:cNvPr id="1337" name="Google Shape;1337;p122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8" name="Google Shape;1338;p122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9" name="Google Shape;1339;p122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40" name="Google Shape;1340;p1220"/>
          <p:cNvSpPr>
            <a:spLocks noGrp="1"/>
          </p:cNvSpPr>
          <p:nvPr>
            <p:ph type="pic" idx="2"/>
          </p:nvPr>
        </p:nvSpPr>
        <p:spPr>
          <a:xfrm>
            <a:off x="7118684" y="233915"/>
            <a:ext cx="5073316" cy="5943600"/>
          </a:xfrm>
          <a:prstGeom prst="rect">
            <a:avLst/>
          </a:prstGeom>
          <a:noFill/>
          <a:ln>
            <a:noFill/>
          </a:ln>
        </p:spPr>
      </p:sp>
      <p:grpSp>
        <p:nvGrpSpPr>
          <p:cNvPr id="1341" name="Google Shape;1341;p1220"/>
          <p:cNvGrpSpPr/>
          <p:nvPr/>
        </p:nvGrpSpPr>
        <p:grpSpPr>
          <a:xfrm>
            <a:off x="0" y="5020348"/>
            <a:ext cx="12192000" cy="1837653"/>
            <a:chOff x="0" y="5020348"/>
            <a:chExt cx="12192000" cy="1837653"/>
          </a:xfrm>
        </p:grpSpPr>
        <p:sp>
          <p:nvSpPr>
            <p:cNvPr id="1342" name="Google Shape;1342;p1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43" name="Google Shape;1343;p1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44" name="Google Shape;1344;p1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6095975"/>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08259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6350041"/>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7570421"/>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8759244"/>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075027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345"/>
        <p:cNvGrpSpPr/>
        <p:nvPr/>
      </p:nvGrpSpPr>
      <p:grpSpPr>
        <a:xfrm>
          <a:off x="0" y="0"/>
          <a:ext cx="0" cy="0"/>
          <a:chOff x="0" y="0"/>
          <a:chExt cx="0" cy="0"/>
        </a:xfrm>
      </p:grpSpPr>
      <p:grpSp>
        <p:nvGrpSpPr>
          <p:cNvPr id="1346" name="Google Shape;1346;p1221"/>
          <p:cNvGrpSpPr/>
          <p:nvPr/>
        </p:nvGrpSpPr>
        <p:grpSpPr>
          <a:xfrm>
            <a:off x="0" y="5020347"/>
            <a:ext cx="12192000" cy="1837653"/>
            <a:chOff x="0" y="5020347"/>
            <a:chExt cx="12192000" cy="1837653"/>
          </a:xfrm>
        </p:grpSpPr>
        <p:sp>
          <p:nvSpPr>
            <p:cNvPr id="1347" name="Google Shape;1347;p1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48" name="Google Shape;1348;p1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49" name="Google Shape;1349;p1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50" name="Google Shape;1350;p1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51" name="Google Shape;1351;p122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2" name="Google Shape;1352;p122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31811000"/>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353"/>
        <p:cNvGrpSpPr/>
        <p:nvPr/>
      </p:nvGrpSpPr>
      <p:grpSpPr>
        <a:xfrm>
          <a:off x="0" y="0"/>
          <a:ext cx="0" cy="0"/>
          <a:chOff x="0" y="0"/>
          <a:chExt cx="0" cy="0"/>
        </a:xfrm>
      </p:grpSpPr>
      <p:sp>
        <p:nvSpPr>
          <p:cNvPr id="1354" name="Google Shape;1354;p122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55" name="Google Shape;1355;p12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56" name="Google Shape;1356;p1222"/>
          <p:cNvGrpSpPr/>
          <p:nvPr/>
        </p:nvGrpSpPr>
        <p:grpSpPr>
          <a:xfrm>
            <a:off x="0" y="5379426"/>
            <a:ext cx="2807368" cy="753891"/>
            <a:chOff x="0" y="5379426"/>
            <a:chExt cx="2807368" cy="753891"/>
          </a:xfrm>
        </p:grpSpPr>
        <p:sp>
          <p:nvSpPr>
            <p:cNvPr id="1357" name="Google Shape;1357;p12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2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59" name="Google Shape;1359;p1222"/>
          <p:cNvSpPr>
            <a:spLocks noGrp="1"/>
          </p:cNvSpPr>
          <p:nvPr>
            <p:ph type="pic" idx="2"/>
          </p:nvPr>
        </p:nvSpPr>
        <p:spPr>
          <a:xfrm>
            <a:off x="2807368" y="457202"/>
            <a:ext cx="8915400" cy="5943598"/>
          </a:xfrm>
          <a:prstGeom prst="rect">
            <a:avLst/>
          </a:prstGeom>
          <a:noFill/>
          <a:ln>
            <a:noFill/>
          </a:ln>
        </p:spPr>
      </p:sp>
      <p:pic>
        <p:nvPicPr>
          <p:cNvPr id="1360" name="Google Shape;1360;p122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9331607"/>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99897487"/>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75454196"/>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38345833"/>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7324077"/>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361"/>
        <p:cNvGrpSpPr/>
        <p:nvPr/>
      </p:nvGrpSpPr>
      <p:grpSpPr>
        <a:xfrm>
          <a:off x="0" y="0"/>
          <a:ext cx="0" cy="0"/>
          <a:chOff x="0" y="0"/>
          <a:chExt cx="0" cy="0"/>
        </a:xfrm>
      </p:grpSpPr>
      <p:sp>
        <p:nvSpPr>
          <p:cNvPr id="1362" name="Google Shape;1362;p1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3" name="Google Shape;1363;p1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4" name="Google Shape;1364;p1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5" name="Google Shape;1365;p1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6" name="Google Shape;1366;p1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7" name="Google Shape;1367;p1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68" name="Google Shape;1368;p1223"/>
          <p:cNvGrpSpPr/>
          <p:nvPr/>
        </p:nvGrpSpPr>
        <p:grpSpPr>
          <a:xfrm>
            <a:off x="7191542" y="1"/>
            <a:ext cx="5000459" cy="1425992"/>
            <a:chOff x="7191542" y="1"/>
            <a:chExt cx="5000459" cy="1425992"/>
          </a:xfrm>
        </p:grpSpPr>
        <p:pic>
          <p:nvPicPr>
            <p:cNvPr id="1369" name="Google Shape;1369;p1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0" name="Google Shape;1370;p1223"/>
            <p:cNvGrpSpPr/>
            <p:nvPr/>
          </p:nvGrpSpPr>
          <p:grpSpPr>
            <a:xfrm>
              <a:off x="7191542" y="1"/>
              <a:ext cx="5000459" cy="1425992"/>
              <a:chOff x="7186272" y="0"/>
              <a:chExt cx="5005729" cy="1427495"/>
            </a:xfrm>
          </p:grpSpPr>
          <p:sp>
            <p:nvSpPr>
              <p:cNvPr id="1371" name="Google Shape;1371;p1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2" name="Google Shape;1372;p1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3" name="Google Shape;1373;p12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22857467"/>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160118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374"/>
        <p:cNvGrpSpPr/>
        <p:nvPr/>
      </p:nvGrpSpPr>
      <p:grpSpPr>
        <a:xfrm>
          <a:off x="0" y="0"/>
          <a:ext cx="0" cy="0"/>
          <a:chOff x="0" y="0"/>
          <a:chExt cx="0" cy="0"/>
        </a:xfrm>
      </p:grpSpPr>
      <p:grpSp>
        <p:nvGrpSpPr>
          <p:cNvPr id="1375" name="Google Shape;1375;p1224"/>
          <p:cNvGrpSpPr/>
          <p:nvPr/>
        </p:nvGrpSpPr>
        <p:grpSpPr>
          <a:xfrm>
            <a:off x="7191542" y="1"/>
            <a:ext cx="5000459" cy="1425992"/>
            <a:chOff x="7191542" y="1"/>
            <a:chExt cx="5000459" cy="1425992"/>
          </a:xfrm>
        </p:grpSpPr>
        <p:pic>
          <p:nvPicPr>
            <p:cNvPr id="1376" name="Google Shape;1376;p1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7" name="Google Shape;1377;p1224"/>
            <p:cNvGrpSpPr/>
            <p:nvPr/>
          </p:nvGrpSpPr>
          <p:grpSpPr>
            <a:xfrm>
              <a:off x="7191542" y="1"/>
              <a:ext cx="5000459" cy="1425992"/>
              <a:chOff x="7186272" y="0"/>
              <a:chExt cx="5005729" cy="1427495"/>
            </a:xfrm>
          </p:grpSpPr>
          <p:sp>
            <p:nvSpPr>
              <p:cNvPr id="1378" name="Google Shape;1378;p1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9" name="Google Shape;1379;p1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80" name="Google Shape;1380;p1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1" name="Google Shape;1381;p12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2" name="Google Shape;1382;p1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3" name="Google Shape;1383;p1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4" name="Google Shape;1384;p1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0475131"/>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785748"/>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71152544"/>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385"/>
        <p:cNvGrpSpPr/>
        <p:nvPr/>
      </p:nvGrpSpPr>
      <p:grpSpPr>
        <a:xfrm>
          <a:off x="0" y="0"/>
          <a:ext cx="0" cy="0"/>
          <a:chOff x="0" y="0"/>
          <a:chExt cx="0" cy="0"/>
        </a:xfrm>
      </p:grpSpPr>
      <p:sp>
        <p:nvSpPr>
          <p:cNvPr id="1386" name="Google Shape;1386;p12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7" name="Google Shape;1387;p12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88" name="Google Shape;1388;p1225"/>
          <p:cNvGrpSpPr/>
          <p:nvPr/>
        </p:nvGrpSpPr>
        <p:grpSpPr>
          <a:xfrm>
            <a:off x="7191542" y="1"/>
            <a:ext cx="5000459" cy="1425992"/>
            <a:chOff x="7191542" y="1"/>
            <a:chExt cx="5000459" cy="1425992"/>
          </a:xfrm>
        </p:grpSpPr>
        <p:pic>
          <p:nvPicPr>
            <p:cNvPr id="1389" name="Google Shape;1389;p1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0" name="Google Shape;1390;p1225"/>
            <p:cNvGrpSpPr/>
            <p:nvPr/>
          </p:nvGrpSpPr>
          <p:grpSpPr>
            <a:xfrm>
              <a:off x="7191542" y="1"/>
              <a:ext cx="5000459" cy="1425992"/>
              <a:chOff x="7186272" y="0"/>
              <a:chExt cx="5005729" cy="1427495"/>
            </a:xfrm>
          </p:grpSpPr>
          <p:sp>
            <p:nvSpPr>
              <p:cNvPr id="1391" name="Google Shape;1391;p1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92" name="Google Shape;1392;p1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93" name="Google Shape;1393;p12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 name="Google Shape;1394;p12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5" name="Google Shape;1395;p1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6" name="Google Shape;1396;p1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036237260"/>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023682452"/>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50"/>
        <p:cNvGrpSpPr/>
        <p:nvPr/>
      </p:nvGrpSpPr>
      <p:grpSpPr>
        <a:xfrm>
          <a:off x="0" y="0"/>
          <a:ext cx="0" cy="0"/>
          <a:chOff x="0" y="0"/>
          <a:chExt cx="0" cy="0"/>
        </a:xfrm>
      </p:grpSpPr>
      <p:sp>
        <p:nvSpPr>
          <p:cNvPr id="151" name="Google Shape;151;p7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2" name="Google Shape;152;p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3" name="Google Shape;153;p70"/>
          <p:cNvGrpSpPr/>
          <p:nvPr/>
        </p:nvGrpSpPr>
        <p:grpSpPr>
          <a:xfrm>
            <a:off x="0" y="5379426"/>
            <a:ext cx="2807368" cy="753891"/>
            <a:chOff x="0" y="5379426"/>
            <a:chExt cx="2807368" cy="753891"/>
          </a:xfrm>
        </p:grpSpPr>
        <p:sp>
          <p:nvSpPr>
            <p:cNvPr id="154" name="Google Shape;154;p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 name="Google Shape;155;p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6" name="Google Shape;156;p70"/>
          <p:cNvSpPr>
            <a:spLocks noGrp="1"/>
          </p:cNvSpPr>
          <p:nvPr>
            <p:ph type="pic" idx="2"/>
          </p:nvPr>
        </p:nvSpPr>
        <p:spPr>
          <a:xfrm>
            <a:off x="2807368" y="457202"/>
            <a:ext cx="8915400" cy="5943598"/>
          </a:xfrm>
          <a:prstGeom prst="rect">
            <a:avLst/>
          </a:prstGeom>
          <a:noFill/>
          <a:ln>
            <a:noFill/>
          </a:ln>
        </p:spPr>
      </p:sp>
      <p:pic>
        <p:nvPicPr>
          <p:cNvPr id="157" name="Google Shape;157;p7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397"/>
        <p:cNvGrpSpPr/>
        <p:nvPr/>
      </p:nvGrpSpPr>
      <p:grpSpPr>
        <a:xfrm>
          <a:off x="0" y="0"/>
          <a:ext cx="0" cy="0"/>
          <a:chOff x="0" y="0"/>
          <a:chExt cx="0" cy="0"/>
        </a:xfrm>
      </p:grpSpPr>
      <p:grpSp>
        <p:nvGrpSpPr>
          <p:cNvPr id="1398" name="Google Shape;1398;p1226"/>
          <p:cNvGrpSpPr/>
          <p:nvPr/>
        </p:nvGrpSpPr>
        <p:grpSpPr>
          <a:xfrm>
            <a:off x="7191542" y="1"/>
            <a:ext cx="5000459" cy="1425992"/>
            <a:chOff x="7191542" y="1"/>
            <a:chExt cx="5000459" cy="1425992"/>
          </a:xfrm>
        </p:grpSpPr>
        <p:pic>
          <p:nvPicPr>
            <p:cNvPr id="1399" name="Google Shape;1399;p1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0" name="Google Shape;1400;p1226"/>
            <p:cNvGrpSpPr/>
            <p:nvPr/>
          </p:nvGrpSpPr>
          <p:grpSpPr>
            <a:xfrm>
              <a:off x="7191542" y="1"/>
              <a:ext cx="5000459" cy="1425992"/>
              <a:chOff x="7186272" y="0"/>
              <a:chExt cx="5005729" cy="1427495"/>
            </a:xfrm>
          </p:grpSpPr>
          <p:sp>
            <p:nvSpPr>
              <p:cNvPr id="1401" name="Google Shape;1401;p1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02" name="Google Shape;1402;p1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03" name="Google Shape;1403;p12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4" name="Google Shape;1404;p12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5" name="Google Shape;1405;p12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 name="Google Shape;1406;p1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07" name="Google Shape;1407;p1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8" name="Google Shape;1408;p1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9" name="Google Shape;1409;p1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0" name="Google Shape;1410;p1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0338407"/>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105788"/>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644200"/>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02728419"/>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39095747"/>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411"/>
        <p:cNvGrpSpPr/>
        <p:nvPr/>
      </p:nvGrpSpPr>
      <p:grpSpPr>
        <a:xfrm>
          <a:off x="0" y="0"/>
          <a:ext cx="0" cy="0"/>
          <a:chOff x="0" y="0"/>
          <a:chExt cx="0" cy="0"/>
        </a:xfrm>
      </p:grpSpPr>
      <p:grpSp>
        <p:nvGrpSpPr>
          <p:cNvPr id="1412" name="Google Shape;1412;p1227"/>
          <p:cNvGrpSpPr/>
          <p:nvPr/>
        </p:nvGrpSpPr>
        <p:grpSpPr>
          <a:xfrm>
            <a:off x="7191542" y="1"/>
            <a:ext cx="5000459" cy="1425992"/>
            <a:chOff x="7191542" y="1"/>
            <a:chExt cx="5000459" cy="1425992"/>
          </a:xfrm>
        </p:grpSpPr>
        <p:pic>
          <p:nvPicPr>
            <p:cNvPr id="1413" name="Google Shape;1413;p1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4" name="Google Shape;1414;p1227"/>
            <p:cNvGrpSpPr/>
            <p:nvPr/>
          </p:nvGrpSpPr>
          <p:grpSpPr>
            <a:xfrm>
              <a:off x="7191542" y="1"/>
              <a:ext cx="5000459" cy="1425992"/>
              <a:chOff x="7186272" y="0"/>
              <a:chExt cx="5005729" cy="1427495"/>
            </a:xfrm>
          </p:grpSpPr>
          <p:sp>
            <p:nvSpPr>
              <p:cNvPr id="1415" name="Google Shape;1415;p1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16" name="Google Shape;1416;p1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17" name="Google Shape;1417;p1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8" name="Google Shape;1418;p1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9" name="Google Shape;1419;p1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0" name="Google Shape;1420;p1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421"/>
        <p:cNvGrpSpPr/>
        <p:nvPr/>
      </p:nvGrpSpPr>
      <p:grpSpPr>
        <a:xfrm>
          <a:off x="0" y="0"/>
          <a:ext cx="0" cy="0"/>
          <a:chOff x="0" y="0"/>
          <a:chExt cx="0" cy="0"/>
        </a:xfrm>
      </p:grpSpPr>
      <p:grpSp>
        <p:nvGrpSpPr>
          <p:cNvPr id="1422" name="Google Shape;1422;p1228"/>
          <p:cNvGrpSpPr/>
          <p:nvPr/>
        </p:nvGrpSpPr>
        <p:grpSpPr>
          <a:xfrm>
            <a:off x="0" y="0"/>
            <a:ext cx="12192000" cy="2148830"/>
            <a:chOff x="0" y="0"/>
            <a:chExt cx="12192000" cy="2148830"/>
          </a:xfrm>
        </p:grpSpPr>
        <p:sp>
          <p:nvSpPr>
            <p:cNvPr id="1423" name="Google Shape;1423;p1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24" name="Google Shape;1424;p1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425" name="Google Shape;1425;p12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6" name="Google Shape;1426;p12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7" name="Google Shape;1427;p1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28" name="Google Shape;1428;p12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29" name="Google Shape;1429;p12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8865858"/>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86857961"/>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506913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430"/>
        <p:cNvGrpSpPr/>
        <p:nvPr/>
      </p:nvGrpSpPr>
      <p:grpSpPr>
        <a:xfrm>
          <a:off x="0" y="0"/>
          <a:ext cx="0" cy="0"/>
          <a:chOff x="0" y="0"/>
          <a:chExt cx="0" cy="0"/>
        </a:xfrm>
      </p:grpSpPr>
      <p:sp>
        <p:nvSpPr>
          <p:cNvPr id="1431" name="Google Shape;1431;p1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32" name="Google Shape;1432;p1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33" name="Google Shape;1433;p1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34" name="Google Shape;1434;p1229"/>
          <p:cNvGrpSpPr/>
          <p:nvPr/>
        </p:nvGrpSpPr>
        <p:grpSpPr>
          <a:xfrm>
            <a:off x="7191542" y="1"/>
            <a:ext cx="5000459" cy="1425992"/>
            <a:chOff x="7191542" y="1"/>
            <a:chExt cx="5000459" cy="1425992"/>
          </a:xfrm>
        </p:grpSpPr>
        <p:pic>
          <p:nvPicPr>
            <p:cNvPr id="1435" name="Google Shape;1435;p1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36" name="Google Shape;1436;p1229"/>
            <p:cNvGrpSpPr/>
            <p:nvPr/>
          </p:nvGrpSpPr>
          <p:grpSpPr>
            <a:xfrm>
              <a:off x="7191542" y="1"/>
              <a:ext cx="5000459" cy="1425992"/>
              <a:chOff x="7186272" y="0"/>
              <a:chExt cx="5005729" cy="1427495"/>
            </a:xfrm>
          </p:grpSpPr>
          <p:sp>
            <p:nvSpPr>
              <p:cNvPr id="1437" name="Google Shape;1437;p1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38" name="Google Shape;1438;p1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3531282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054751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7656894"/>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502010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4850343"/>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1038760"/>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725924"/>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94785603"/>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23618370"/>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matchingName="Photo Slide">
  <p:cSld name="1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1450036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439"/>
        <p:cNvGrpSpPr/>
        <p:nvPr/>
      </p:nvGrpSpPr>
      <p:grpSpPr>
        <a:xfrm>
          <a:off x="0" y="0"/>
          <a:ext cx="0" cy="0"/>
          <a:chOff x="0" y="0"/>
          <a:chExt cx="0" cy="0"/>
        </a:xfrm>
      </p:grpSpPr>
      <p:sp>
        <p:nvSpPr>
          <p:cNvPr id="1440" name="Google Shape;1440;p19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41" name="Google Shape;1441;p19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2" name="Google Shape;1442;p19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43" name="Google Shape;1443;p191"/>
          <p:cNvSpPr>
            <a:spLocks noGrp="1"/>
          </p:cNvSpPr>
          <p:nvPr>
            <p:ph type="pic" idx="2"/>
          </p:nvPr>
        </p:nvSpPr>
        <p:spPr>
          <a:xfrm>
            <a:off x="7118684" y="233915"/>
            <a:ext cx="5073316" cy="5943600"/>
          </a:xfrm>
          <a:prstGeom prst="rect">
            <a:avLst/>
          </a:prstGeom>
          <a:noFill/>
          <a:ln>
            <a:noFill/>
          </a:ln>
        </p:spPr>
      </p:sp>
      <p:grpSp>
        <p:nvGrpSpPr>
          <p:cNvPr id="1444" name="Google Shape;1444;p191"/>
          <p:cNvGrpSpPr/>
          <p:nvPr/>
        </p:nvGrpSpPr>
        <p:grpSpPr>
          <a:xfrm>
            <a:off x="0" y="5020348"/>
            <a:ext cx="12192000" cy="1837653"/>
            <a:chOff x="0" y="5020348"/>
            <a:chExt cx="12192000" cy="1837653"/>
          </a:xfrm>
        </p:grpSpPr>
        <p:sp>
          <p:nvSpPr>
            <p:cNvPr id="1445" name="Google Shape;1445;p1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46" name="Google Shape;1446;p19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47" name="Google Shape;1447;p1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6448374"/>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83121594"/>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00354558"/>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84807223"/>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59458419"/>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34325167"/>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27579494"/>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2000463"/>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91081966"/>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883975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448"/>
        <p:cNvGrpSpPr/>
        <p:nvPr/>
      </p:nvGrpSpPr>
      <p:grpSpPr>
        <a:xfrm>
          <a:off x="0" y="0"/>
          <a:ext cx="0" cy="0"/>
          <a:chOff x="0" y="0"/>
          <a:chExt cx="0" cy="0"/>
        </a:xfrm>
      </p:grpSpPr>
      <p:grpSp>
        <p:nvGrpSpPr>
          <p:cNvPr id="1449" name="Google Shape;1449;p192"/>
          <p:cNvGrpSpPr/>
          <p:nvPr/>
        </p:nvGrpSpPr>
        <p:grpSpPr>
          <a:xfrm>
            <a:off x="0" y="5020347"/>
            <a:ext cx="12192000" cy="1837653"/>
            <a:chOff x="0" y="5020347"/>
            <a:chExt cx="12192000" cy="1837653"/>
          </a:xfrm>
        </p:grpSpPr>
        <p:sp>
          <p:nvSpPr>
            <p:cNvPr id="1450" name="Google Shape;1450;p1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1" name="Google Shape;1451;p1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52" name="Google Shape;1452;p1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53" name="Google Shape;1453;p1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54" name="Google Shape;1454;p1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5" name="Google Shape;1455;p1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81152258"/>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372799034"/>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456"/>
        <p:cNvGrpSpPr/>
        <p:nvPr/>
      </p:nvGrpSpPr>
      <p:grpSpPr>
        <a:xfrm>
          <a:off x="0" y="0"/>
          <a:ext cx="0" cy="0"/>
          <a:chOff x="0" y="0"/>
          <a:chExt cx="0" cy="0"/>
        </a:xfrm>
      </p:grpSpPr>
      <p:sp>
        <p:nvSpPr>
          <p:cNvPr id="1457" name="Google Shape;1457;p1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58" name="Google Shape;1458;p1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59" name="Google Shape;1459;p193"/>
          <p:cNvGrpSpPr/>
          <p:nvPr/>
        </p:nvGrpSpPr>
        <p:grpSpPr>
          <a:xfrm>
            <a:off x="0" y="5379426"/>
            <a:ext cx="2807368" cy="753891"/>
            <a:chOff x="0" y="5379426"/>
            <a:chExt cx="2807368" cy="753891"/>
          </a:xfrm>
        </p:grpSpPr>
        <p:sp>
          <p:nvSpPr>
            <p:cNvPr id="1460" name="Google Shape;1460;p1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1" name="Google Shape;1461;p1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62" name="Google Shape;1462;p193"/>
          <p:cNvSpPr>
            <a:spLocks noGrp="1"/>
          </p:cNvSpPr>
          <p:nvPr>
            <p:ph type="pic" idx="2"/>
          </p:nvPr>
        </p:nvSpPr>
        <p:spPr>
          <a:xfrm>
            <a:off x="2807368" y="457202"/>
            <a:ext cx="8915400" cy="5943598"/>
          </a:xfrm>
          <a:prstGeom prst="rect">
            <a:avLst/>
          </a:prstGeom>
          <a:noFill/>
          <a:ln>
            <a:noFill/>
          </a:ln>
        </p:spPr>
      </p:sp>
      <p:pic>
        <p:nvPicPr>
          <p:cNvPr id="1463" name="Google Shape;1463;p1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464"/>
        <p:cNvGrpSpPr/>
        <p:nvPr/>
      </p:nvGrpSpPr>
      <p:grpSpPr>
        <a:xfrm>
          <a:off x="0" y="0"/>
          <a:ext cx="0" cy="0"/>
          <a:chOff x="0" y="0"/>
          <a:chExt cx="0" cy="0"/>
        </a:xfrm>
      </p:grpSpPr>
      <p:sp>
        <p:nvSpPr>
          <p:cNvPr id="1465" name="Google Shape;1465;p1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6" name="Google Shape;1466;p1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7" name="Google Shape;1467;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8" name="Google Shape;1468;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69" name="Google Shape;1469;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0" name="Google Shape;1470;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71" name="Google Shape;1471;p194"/>
          <p:cNvGrpSpPr/>
          <p:nvPr/>
        </p:nvGrpSpPr>
        <p:grpSpPr>
          <a:xfrm>
            <a:off x="7191542" y="1"/>
            <a:ext cx="5000459" cy="1425992"/>
            <a:chOff x="7191542" y="1"/>
            <a:chExt cx="5000459" cy="1425992"/>
          </a:xfrm>
        </p:grpSpPr>
        <p:pic>
          <p:nvPicPr>
            <p:cNvPr id="1472" name="Google Shape;1472;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3" name="Google Shape;1473;p194"/>
            <p:cNvGrpSpPr/>
            <p:nvPr/>
          </p:nvGrpSpPr>
          <p:grpSpPr>
            <a:xfrm>
              <a:off x="7191542" y="1"/>
              <a:ext cx="5000459" cy="1425992"/>
              <a:chOff x="7186272" y="0"/>
              <a:chExt cx="5005729" cy="1427495"/>
            </a:xfrm>
          </p:grpSpPr>
          <p:sp>
            <p:nvSpPr>
              <p:cNvPr id="1474" name="Google Shape;1474;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5" name="Google Shape;1475;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76" name="Google Shape;1476;p1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0603760"/>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0523834"/>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520399"/>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7603392"/>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78704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477"/>
        <p:cNvGrpSpPr/>
        <p:nvPr/>
      </p:nvGrpSpPr>
      <p:grpSpPr>
        <a:xfrm>
          <a:off x="0" y="0"/>
          <a:ext cx="0" cy="0"/>
          <a:chOff x="0" y="0"/>
          <a:chExt cx="0" cy="0"/>
        </a:xfrm>
      </p:grpSpPr>
      <p:grpSp>
        <p:nvGrpSpPr>
          <p:cNvPr id="1478" name="Google Shape;1478;p195"/>
          <p:cNvGrpSpPr/>
          <p:nvPr/>
        </p:nvGrpSpPr>
        <p:grpSpPr>
          <a:xfrm>
            <a:off x="7191542" y="1"/>
            <a:ext cx="5000459" cy="1425992"/>
            <a:chOff x="7191542" y="1"/>
            <a:chExt cx="5000459" cy="1425992"/>
          </a:xfrm>
        </p:grpSpPr>
        <p:pic>
          <p:nvPicPr>
            <p:cNvPr id="1479" name="Google Shape;147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0" name="Google Shape;1480;p195"/>
            <p:cNvGrpSpPr/>
            <p:nvPr/>
          </p:nvGrpSpPr>
          <p:grpSpPr>
            <a:xfrm>
              <a:off x="7191542" y="1"/>
              <a:ext cx="5000459" cy="1425992"/>
              <a:chOff x="7186272" y="0"/>
              <a:chExt cx="5005729" cy="1427495"/>
            </a:xfrm>
          </p:grpSpPr>
          <p:sp>
            <p:nvSpPr>
              <p:cNvPr id="1481" name="Google Shape;148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82" name="Google Shape;148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83" name="Google Shape;148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4" name="Google Shape;1484;p1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5" name="Google Shape;1485;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6" name="Google Shape;1486;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7" name="Google Shape;1487;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Title and Content">
  <p:cSld name="2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71719537"/>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69456336"/>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matchingName="Title and Content">
  <p:cSld name="2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81937852"/>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79461530"/>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078563723"/>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15305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88"/>
        <p:cNvGrpSpPr/>
        <p:nvPr/>
      </p:nvGrpSpPr>
      <p:grpSpPr>
        <a:xfrm>
          <a:off x="0" y="0"/>
          <a:ext cx="0" cy="0"/>
          <a:chOff x="0" y="0"/>
          <a:chExt cx="0" cy="0"/>
        </a:xfrm>
      </p:grpSpPr>
      <p:sp>
        <p:nvSpPr>
          <p:cNvPr id="1489" name="Google Shape;1489;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0" name="Google Shape;1490;p1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91" name="Google Shape;1491;p196"/>
          <p:cNvGrpSpPr/>
          <p:nvPr/>
        </p:nvGrpSpPr>
        <p:grpSpPr>
          <a:xfrm>
            <a:off x="7191542" y="1"/>
            <a:ext cx="5000459" cy="1425992"/>
            <a:chOff x="7191542" y="1"/>
            <a:chExt cx="5000459" cy="1425992"/>
          </a:xfrm>
        </p:grpSpPr>
        <p:pic>
          <p:nvPicPr>
            <p:cNvPr id="1492" name="Google Shape;1492;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93" name="Google Shape;1493;p196"/>
            <p:cNvGrpSpPr/>
            <p:nvPr/>
          </p:nvGrpSpPr>
          <p:grpSpPr>
            <a:xfrm>
              <a:off x="7191542" y="1"/>
              <a:ext cx="5000459" cy="1425992"/>
              <a:chOff x="7186272" y="0"/>
              <a:chExt cx="5005729" cy="1427495"/>
            </a:xfrm>
          </p:grpSpPr>
          <p:sp>
            <p:nvSpPr>
              <p:cNvPr id="1494" name="Google Shape;1494;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5" name="Google Shape;1495;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96" name="Google Shape;1496;p1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7" name="Google Shape;1497;p1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8" name="Google Shape;1498;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9" name="Google Shape;1499;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417448"/>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536062847"/>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4857908"/>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2179558"/>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4029900573"/>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1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101700345"/>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029005421"/>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98675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58"/>
        <p:cNvGrpSpPr/>
        <p:nvPr/>
      </p:nvGrpSpPr>
      <p:grpSpPr>
        <a:xfrm>
          <a:off x="0" y="0"/>
          <a:ext cx="0" cy="0"/>
          <a:chOff x="0" y="0"/>
          <a:chExt cx="0" cy="0"/>
        </a:xfrm>
      </p:grpSpPr>
      <p:sp>
        <p:nvSpPr>
          <p:cNvPr id="159" name="Google Shape;159;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 name="Google Shape;160;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 name="Google Shape;161;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 name="Google Shape;162;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 name="Google Shape;163;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 name="Google Shape;164;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 name="Google Shape;165;p71"/>
          <p:cNvGrpSpPr/>
          <p:nvPr/>
        </p:nvGrpSpPr>
        <p:grpSpPr>
          <a:xfrm>
            <a:off x="7191542" y="1"/>
            <a:ext cx="5000459" cy="1425992"/>
            <a:chOff x="7191542" y="1"/>
            <a:chExt cx="5000459" cy="1425992"/>
          </a:xfrm>
        </p:grpSpPr>
        <p:pic>
          <p:nvPicPr>
            <p:cNvPr id="166" name="Google Shape;166;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 name="Google Shape;167;p71"/>
            <p:cNvGrpSpPr/>
            <p:nvPr/>
          </p:nvGrpSpPr>
          <p:grpSpPr>
            <a:xfrm>
              <a:off x="7191542" y="1"/>
              <a:ext cx="5000459" cy="1425992"/>
              <a:chOff x="7186272" y="0"/>
              <a:chExt cx="5005729" cy="1427495"/>
            </a:xfrm>
          </p:grpSpPr>
          <p:sp>
            <p:nvSpPr>
              <p:cNvPr id="168" name="Google Shape;168;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 name="Google Shape;169;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0" name="Google Shape;170;p7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500"/>
        <p:cNvGrpSpPr/>
        <p:nvPr/>
      </p:nvGrpSpPr>
      <p:grpSpPr>
        <a:xfrm>
          <a:off x="0" y="0"/>
          <a:ext cx="0" cy="0"/>
          <a:chOff x="0" y="0"/>
          <a:chExt cx="0" cy="0"/>
        </a:xfrm>
      </p:grpSpPr>
      <p:grpSp>
        <p:nvGrpSpPr>
          <p:cNvPr id="1501" name="Google Shape;1501;p197"/>
          <p:cNvGrpSpPr/>
          <p:nvPr/>
        </p:nvGrpSpPr>
        <p:grpSpPr>
          <a:xfrm>
            <a:off x="7191542" y="1"/>
            <a:ext cx="5000459" cy="1425992"/>
            <a:chOff x="7191542" y="1"/>
            <a:chExt cx="5000459" cy="1425992"/>
          </a:xfrm>
        </p:grpSpPr>
        <p:pic>
          <p:nvPicPr>
            <p:cNvPr id="1502" name="Google Shape;1502;p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3" name="Google Shape;1503;p197"/>
            <p:cNvGrpSpPr/>
            <p:nvPr/>
          </p:nvGrpSpPr>
          <p:grpSpPr>
            <a:xfrm>
              <a:off x="7191542" y="1"/>
              <a:ext cx="5000459" cy="1425992"/>
              <a:chOff x="7186272" y="0"/>
              <a:chExt cx="5005729" cy="1427495"/>
            </a:xfrm>
          </p:grpSpPr>
          <p:sp>
            <p:nvSpPr>
              <p:cNvPr id="1504" name="Google Shape;1504;p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5" name="Google Shape;1505;p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06" name="Google Shape;1506;p1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7" name="Google Shape;1507;p1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08" name="Google Shape;1508;p1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9" name="Google Shape;1509;p1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10" name="Google Shape;1510;p1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1" name="Google Shape;1511;p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2" name="Google Shape;1512;p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3" name="Google Shape;1513;p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09163589"/>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89197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87846356"/>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matchingName="Divider">
  <p:cSld name="16_Divider">
    <p:bg>
      <p:bgPr>
        <a:solidFill>
          <a:schemeClr val="lt2"/>
        </a:solidFill>
        <a:effectLst/>
      </p:bgPr>
    </p:bg>
    <p:spTree>
      <p:nvGrpSpPr>
        <p:cNvPr id="1" name="Shape 62"/>
        <p:cNvGrpSpPr/>
        <p:nvPr/>
      </p:nvGrpSpPr>
      <p:grpSpPr>
        <a:xfrm>
          <a:off x="0" y="0"/>
          <a:ext cx="0" cy="0"/>
          <a:chOff x="0" y="0"/>
          <a:chExt cx="0" cy="0"/>
        </a:xfrm>
      </p:grpSpPr>
      <p:grpSp>
        <p:nvGrpSpPr>
          <p:cNvPr id="63" name="Google Shape;63;p56"/>
          <p:cNvGrpSpPr/>
          <p:nvPr/>
        </p:nvGrpSpPr>
        <p:grpSpPr>
          <a:xfrm>
            <a:off x="0" y="5020347"/>
            <a:ext cx="12192000" cy="1837653"/>
            <a:chOff x="0" y="5020347"/>
            <a:chExt cx="12192000" cy="1837653"/>
          </a:xfrm>
        </p:grpSpPr>
        <p:sp>
          <p:nvSpPr>
            <p:cNvPr id="64" name="Google Shape;64;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5" name="Google Shape;65;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 name="Google Shape;66;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7" name="Google Shape;67;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97845993"/>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570494"/>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97308"/>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03267988"/>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21470968"/>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9263181"/>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19734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514"/>
        <p:cNvGrpSpPr/>
        <p:nvPr/>
      </p:nvGrpSpPr>
      <p:grpSpPr>
        <a:xfrm>
          <a:off x="0" y="0"/>
          <a:ext cx="0" cy="0"/>
          <a:chOff x="0" y="0"/>
          <a:chExt cx="0" cy="0"/>
        </a:xfrm>
      </p:grpSpPr>
      <p:grpSp>
        <p:nvGrpSpPr>
          <p:cNvPr id="1515" name="Google Shape;1515;p198"/>
          <p:cNvGrpSpPr/>
          <p:nvPr/>
        </p:nvGrpSpPr>
        <p:grpSpPr>
          <a:xfrm>
            <a:off x="7191542" y="1"/>
            <a:ext cx="5000459" cy="1425992"/>
            <a:chOff x="7191542" y="1"/>
            <a:chExt cx="5000459" cy="1425992"/>
          </a:xfrm>
        </p:grpSpPr>
        <p:pic>
          <p:nvPicPr>
            <p:cNvPr id="1516" name="Google Shape;1516;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7" name="Google Shape;1517;p198"/>
            <p:cNvGrpSpPr/>
            <p:nvPr/>
          </p:nvGrpSpPr>
          <p:grpSpPr>
            <a:xfrm>
              <a:off x="7191542" y="1"/>
              <a:ext cx="5000459" cy="1425992"/>
              <a:chOff x="7186272" y="0"/>
              <a:chExt cx="5005729" cy="1427495"/>
            </a:xfrm>
          </p:grpSpPr>
          <p:sp>
            <p:nvSpPr>
              <p:cNvPr id="1518" name="Google Shape;1518;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19" name="Google Shape;1519;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0" name="Google Shape;1520;p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21" name="Google Shape;152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2" name="Google Shape;152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3" name="Google Shape;152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8318972"/>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9558820"/>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849660501"/>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92889719"/>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3301006032"/>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0C53AD7-A772-4F83-850B-482C70935EA4}" type="datetime1">
              <a:rPr lang="en-US" altLang="ja-JP"/>
              <a:pPr>
                <a:defRPr/>
              </a:pPr>
              <a:t>3/1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DDD8331-DEC2-4D1E-95D5-94283CB87E4D}" type="slidenum">
              <a:rPr lang="en-US" altLang="en-US"/>
              <a:pPr>
                <a:defRPr/>
              </a:pPr>
              <a:t>‹#›</a:t>
            </a:fld>
            <a:endParaRPr lang="en-US" altLang="en-US"/>
          </a:p>
        </p:txBody>
      </p:sp>
    </p:spTree>
    <p:extLst>
      <p:ext uri="{BB962C8B-B14F-4D97-AF65-F5344CB8AC3E}">
        <p14:creationId xmlns:p14="http://schemas.microsoft.com/office/powerpoint/2010/main" val="360701339"/>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1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3733605752"/>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524"/>
        <p:cNvGrpSpPr/>
        <p:nvPr/>
      </p:nvGrpSpPr>
      <p:grpSpPr>
        <a:xfrm>
          <a:off x="0" y="0"/>
          <a:ext cx="0" cy="0"/>
          <a:chOff x="0" y="0"/>
          <a:chExt cx="0" cy="0"/>
        </a:xfrm>
      </p:grpSpPr>
      <p:grpSp>
        <p:nvGrpSpPr>
          <p:cNvPr id="1525" name="Google Shape;1525;p199"/>
          <p:cNvGrpSpPr/>
          <p:nvPr/>
        </p:nvGrpSpPr>
        <p:grpSpPr>
          <a:xfrm>
            <a:off x="0" y="0"/>
            <a:ext cx="12192000" cy="2148830"/>
            <a:chOff x="0" y="0"/>
            <a:chExt cx="12192000" cy="2148830"/>
          </a:xfrm>
        </p:grpSpPr>
        <p:sp>
          <p:nvSpPr>
            <p:cNvPr id="1526" name="Google Shape;1526;p1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7" name="Google Shape;1527;p1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28" name="Google Shape;1528;p1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29" name="Google Shape;1529;p1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0" name="Google Shape;1530;p1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31" name="Google Shape;1531;p1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32" name="Google Shape;1532;p1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1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3200">
                <a:solidFill>
                  <a:srgbClr val="20527C"/>
                </a:solidFill>
                <a:latin typeface="Trajan Pro" pitchFamily="18" charset="0"/>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1DB2E7A-0A33-4022-B895-7D595E5D5863}"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a:p>
        </p:txBody>
      </p:sp>
      <p:sp>
        <p:nvSpPr>
          <p:cNvPr id="8" name="Rectangle 7"/>
          <p:cNvSpPr/>
          <p:nvPr userDrawn="1"/>
        </p:nvSpPr>
        <p:spPr>
          <a:xfrm>
            <a:off x="9144000" y="6019800"/>
            <a:ext cx="2540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704" y="457201"/>
            <a:ext cx="6964496" cy="1524003"/>
          </a:xfrm>
          <a:prstGeom prst="rect">
            <a:avLst/>
          </a:prstGeom>
        </p:spPr>
      </p:pic>
    </p:spTree>
    <p:extLst>
      <p:ext uri="{BB962C8B-B14F-4D97-AF65-F5344CB8AC3E}">
        <p14:creationId xmlns:p14="http://schemas.microsoft.com/office/powerpoint/2010/main" val="4895104"/>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0527C"/>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11606611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533"/>
        <p:cNvGrpSpPr/>
        <p:nvPr/>
      </p:nvGrpSpPr>
      <p:grpSpPr>
        <a:xfrm>
          <a:off x="0" y="0"/>
          <a:ext cx="0" cy="0"/>
          <a:chOff x="0" y="0"/>
          <a:chExt cx="0" cy="0"/>
        </a:xfrm>
      </p:grpSpPr>
      <p:sp>
        <p:nvSpPr>
          <p:cNvPr id="1534" name="Google Shape;1534;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5" name="Google Shape;1535;p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6" name="Google Shape;1536;p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7" name="Google Shape;1537;p200"/>
          <p:cNvGrpSpPr/>
          <p:nvPr/>
        </p:nvGrpSpPr>
        <p:grpSpPr>
          <a:xfrm>
            <a:off x="7191542" y="1"/>
            <a:ext cx="5000459" cy="1425992"/>
            <a:chOff x="7191542" y="1"/>
            <a:chExt cx="5000459" cy="1425992"/>
          </a:xfrm>
        </p:grpSpPr>
        <p:pic>
          <p:nvPicPr>
            <p:cNvPr id="1538" name="Google Shape;1538;p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9" name="Google Shape;1539;p200"/>
            <p:cNvGrpSpPr/>
            <p:nvPr/>
          </p:nvGrpSpPr>
          <p:grpSpPr>
            <a:xfrm>
              <a:off x="7191542" y="1"/>
              <a:ext cx="5000459" cy="1425992"/>
              <a:chOff x="7186272" y="0"/>
              <a:chExt cx="5005729" cy="1427495"/>
            </a:xfrm>
          </p:grpSpPr>
          <p:sp>
            <p:nvSpPr>
              <p:cNvPr id="1540" name="Google Shape;1540;p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1" name="Google Shape;1541;p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20527C"/>
                </a:solidFill>
              </a:defRPr>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69379096"/>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1DB2E7A-0A33-4022-B895-7D595E5D5863}"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1046161833"/>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1DB2E7A-0A33-4022-B895-7D595E5D5863}" type="datetimeFigureOut">
              <a:rPr lang="en-US" smtClean="0"/>
              <a:pPr/>
              <a:t>3/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2482457651"/>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F1DB2E7A-0A33-4022-B895-7D595E5D5863}" type="datetimeFigureOut">
              <a:rPr lang="en-US" smtClean="0"/>
              <a:pPr/>
              <a:t>3/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2526237754"/>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DB2E7A-0A33-4022-B895-7D595E5D5863}" type="datetimeFigureOut">
              <a:rPr lang="en-US" smtClean="0"/>
              <a:pPr/>
              <a:t>3/1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4023891271"/>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3979690702"/>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679701750"/>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1468097316"/>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a:p>
        </p:txBody>
      </p:sp>
    </p:spTree>
    <p:extLst>
      <p:ext uri="{BB962C8B-B14F-4D97-AF65-F5344CB8AC3E}">
        <p14:creationId xmlns:p14="http://schemas.microsoft.com/office/powerpoint/2010/main" val="2758773895"/>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ADD8DFC-644F-E24B-8112-31B1D7F004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38329" y="3952017"/>
            <a:ext cx="2623607" cy="2623607"/>
          </a:xfrm>
          <a:prstGeom prst="rect">
            <a:avLst/>
          </a:prstGeom>
        </p:spPr>
      </p:pic>
      <p:sp>
        <p:nvSpPr>
          <p:cNvPr id="2" name="Title 1">
            <a:extLst>
              <a:ext uri="{FF2B5EF4-FFF2-40B4-BE49-F238E27FC236}">
                <a16:creationId xmlns:a16="http://schemas.microsoft.com/office/drawing/2014/main" id="{ECCD7860-2806-B348-BB7F-B3CA3E38FB95}"/>
              </a:ext>
            </a:extLst>
          </p:cNvPr>
          <p:cNvSpPr>
            <a:spLocks noGrp="1"/>
          </p:cNvSpPr>
          <p:nvPr>
            <p:ph type="title" hasCustomPrompt="1"/>
          </p:nvPr>
        </p:nvSpPr>
        <p:spPr>
          <a:xfrm>
            <a:off x="838202" y="598261"/>
            <a:ext cx="10515599" cy="769441"/>
          </a:xfrm>
        </p:spPr>
        <p:txBody>
          <a:bodyPr wrap="square" anchor="ctr">
            <a:spAutoFit/>
          </a:bodyPr>
          <a:lstStyle/>
          <a:p>
            <a:r>
              <a:rPr lang="en-US"/>
              <a:t>Main Title</a:t>
            </a:r>
          </a:p>
        </p:txBody>
      </p:sp>
      <p:sp>
        <p:nvSpPr>
          <p:cNvPr id="3" name="Content Placeholder 2">
            <a:extLst>
              <a:ext uri="{FF2B5EF4-FFF2-40B4-BE49-F238E27FC236}">
                <a16:creationId xmlns:a16="http://schemas.microsoft.com/office/drawing/2014/main" id="{F5169437-195E-1744-9477-3899703A60BD}"/>
              </a:ext>
            </a:extLst>
          </p:cNvPr>
          <p:cNvSpPr>
            <a:spLocks noGrp="1"/>
          </p:cNvSpPr>
          <p:nvPr>
            <p:ph idx="1"/>
          </p:nvPr>
        </p:nvSpPr>
        <p:spPr>
          <a:xfrm>
            <a:off x="838199" y="1825627"/>
            <a:ext cx="10515600" cy="62735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stStyle>
          <a:p>
            <a:pPr lvl="0"/>
            <a:r>
              <a:rPr lang="en-US"/>
              <a:t>Edit Master text styles</a:t>
            </a:r>
          </a:p>
          <a:p>
            <a:pPr lvl="1"/>
            <a:r>
              <a:rPr lang="en-US"/>
              <a:t>Second level</a:t>
            </a:r>
          </a:p>
        </p:txBody>
      </p:sp>
      <p:sp>
        <p:nvSpPr>
          <p:cNvPr id="11" name="Text Placeholder 10">
            <a:extLst>
              <a:ext uri="{FF2B5EF4-FFF2-40B4-BE49-F238E27FC236}">
                <a16:creationId xmlns:a16="http://schemas.microsoft.com/office/drawing/2014/main" id="{A25333A3-BC58-B94C-ABDC-565E4D8807E5}"/>
              </a:ext>
            </a:extLst>
          </p:cNvPr>
          <p:cNvSpPr>
            <a:spLocks noGrp="1"/>
          </p:cNvSpPr>
          <p:nvPr>
            <p:ph type="body" sz="quarter" idx="11" hasCustomPrompt="1"/>
          </p:nvPr>
        </p:nvSpPr>
        <p:spPr>
          <a:xfrm>
            <a:off x="841250" y="1307593"/>
            <a:ext cx="10512551" cy="381771"/>
          </a:xfrm>
        </p:spPr>
        <p:txBody>
          <a:bodyPr wrap="square">
            <a:spAutoFit/>
          </a:bodyPr>
          <a:lstStyle>
            <a:lvl1pPr marL="0" indent="0">
              <a:lnSpc>
                <a:spcPct val="114000"/>
              </a:lnSpc>
              <a:buNone/>
              <a:defRPr sz="1800">
                <a:solidFill>
                  <a:srgbClr val="21B6C1"/>
                </a:solidFill>
                <a:latin typeface="Arial" panose="020B0604020202020204" pitchFamily="34" charset="0"/>
                <a:ea typeface="Cook County Health Brandon" pitchFamily="2" charset="-128"/>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a:t>Subtitle</a:t>
            </a:r>
          </a:p>
        </p:txBody>
      </p:sp>
      <p:sp>
        <p:nvSpPr>
          <p:cNvPr id="13" name="Slide Number Placeholder 12">
            <a:extLst>
              <a:ext uri="{FF2B5EF4-FFF2-40B4-BE49-F238E27FC236}">
                <a16:creationId xmlns:a16="http://schemas.microsoft.com/office/drawing/2014/main" id="{3260EEC0-07D8-1A41-97EB-EEACE2BC9F5A}"/>
              </a:ext>
            </a:extLst>
          </p:cNvPr>
          <p:cNvSpPr>
            <a:spLocks noGrp="1"/>
          </p:cNvSpPr>
          <p:nvPr>
            <p:ph type="sldNum" sz="quarter" idx="12"/>
          </p:nvPr>
        </p:nvSpPr>
        <p:spPr>
          <a:xfrm>
            <a:off x="8610600" y="6291616"/>
            <a:ext cx="2743200" cy="365125"/>
          </a:xfrm>
          <a:prstGeom prst="rect">
            <a:avLst/>
          </a:prstGeom>
        </p:spPr>
        <p:txBody>
          <a:bodyPr/>
          <a:lstStyle>
            <a:lvl1pPr>
              <a:defRPr/>
            </a:lvl1pPr>
          </a:lstStyle>
          <a:p>
            <a:fld id="{31A92386-584D-D94E-A5BD-CE57B594CE68}" type="slidenum">
              <a:rPr lang="en-US" smtClean="0"/>
              <a:pPr/>
              <a:t>‹#›</a:t>
            </a:fld>
            <a:endParaRPr lang="en-US"/>
          </a:p>
        </p:txBody>
      </p:sp>
      <p:pic>
        <p:nvPicPr>
          <p:cNvPr id="7" name="Picture 6" descr="2019 CCDPH master logo_final_solid CCH blue no tag.png">
            <a:extLst>
              <a:ext uri="{FF2B5EF4-FFF2-40B4-BE49-F238E27FC236}">
                <a16:creationId xmlns:a16="http://schemas.microsoft.com/office/drawing/2014/main" id="{9DE62D90-6DB3-8744-A269-0D1DEF65E11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0639" y="6250046"/>
            <a:ext cx="1604453" cy="406695"/>
          </a:xfrm>
          <a:prstGeom prst="rect">
            <a:avLst/>
          </a:prstGeom>
        </p:spPr>
      </p:pic>
    </p:spTree>
    <p:extLst>
      <p:ext uri="{BB962C8B-B14F-4D97-AF65-F5344CB8AC3E}">
        <p14:creationId xmlns:p14="http://schemas.microsoft.com/office/powerpoint/2010/main" val="1531510444"/>
      </p:ext>
    </p:extLst>
  </p:cSld>
  <p:clrMapOvr>
    <a:masterClrMapping/>
  </p:clrMapOvr>
  <p:extLst>
    <p:ext uri="{DCECCB84-F9BA-43D5-87BE-67443E8EF086}">
      <p15:sldGuideLst xmlns:p15="http://schemas.microsoft.com/office/powerpoint/2012/main">
        <p15:guide id="1" orient="horz" pos="1536">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542"/>
        <p:cNvGrpSpPr/>
        <p:nvPr/>
      </p:nvGrpSpPr>
      <p:grpSpPr>
        <a:xfrm>
          <a:off x="0" y="0"/>
          <a:ext cx="0" cy="0"/>
          <a:chOff x="0" y="0"/>
          <a:chExt cx="0" cy="0"/>
        </a:xfrm>
      </p:grpSpPr>
      <p:sp>
        <p:nvSpPr>
          <p:cNvPr id="1543" name="Google Shape;1543;p2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4" name="Google Shape;1544;p2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5" name="Google Shape;1545;p2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6" name="Google Shape;1546;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7" name="Google Shape;1547;p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8" name="Google Shape;1548;p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49" name="Google Shape;1549;p201"/>
          <p:cNvGrpSpPr/>
          <p:nvPr/>
        </p:nvGrpSpPr>
        <p:grpSpPr>
          <a:xfrm>
            <a:off x="7191542" y="1"/>
            <a:ext cx="5000459" cy="1425992"/>
            <a:chOff x="7191542" y="1"/>
            <a:chExt cx="5000459" cy="1425992"/>
          </a:xfrm>
        </p:grpSpPr>
        <p:pic>
          <p:nvPicPr>
            <p:cNvPr id="1550" name="Google Shape;1550;p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51" name="Google Shape;1551;p201"/>
            <p:cNvGrpSpPr/>
            <p:nvPr/>
          </p:nvGrpSpPr>
          <p:grpSpPr>
            <a:xfrm>
              <a:off x="7191542" y="1"/>
              <a:ext cx="5000459" cy="1425992"/>
              <a:chOff x="7186272" y="0"/>
              <a:chExt cx="5005729" cy="1427495"/>
            </a:xfrm>
          </p:grpSpPr>
          <p:sp>
            <p:nvSpPr>
              <p:cNvPr id="1552" name="Google Shape;1552;p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3" name="Google Shape;1553;p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54" name="Google Shape;1554;p2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C96BA-DEA6-0560-ABE9-E25F12815D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50173B1-8A28-D5CC-E20A-3E21A3C651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35546C-B4DF-6C6F-11A3-8193323F3971}"/>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6CC42C30-6394-9151-CA62-83AD47D878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72FC72-98DF-7FEF-BA3C-CB26F6A0EB58}"/>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3821065856"/>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C5F13-E1D4-2E76-D371-6BD234576D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088CCA-B7C2-01F7-2CED-14614376934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0EEDD9F-6DAC-AA20-D5AC-BA3B4DA59F6A}"/>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44A2A5B7-AD74-1FDB-C16F-7B2A9DBA3F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029DD6-8ACD-F625-F31A-E432F713D17B}"/>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712441952"/>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6AC348-D049-10A8-B907-2518C719258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D07873A-69B5-31E6-5F84-03A0C54EB8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C298C8-7EBC-41DF-AFE2-0F4D2E42937C}"/>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281F3B9A-4F9D-A20A-74B8-CADD0E8D36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59CD09-C9B7-5E26-3764-5A8C26151140}"/>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415198136"/>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1DEAB-21DA-2D8C-A2A2-67596644C0B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29B200F-D88F-6152-852D-83BC3CFB9A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18FF92-B31E-4382-D1B4-651195CE43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68776A-55F3-7189-1D8E-75FC2FEFD3A6}"/>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6" name="Footer Placeholder 5">
            <a:extLst>
              <a:ext uri="{FF2B5EF4-FFF2-40B4-BE49-F238E27FC236}">
                <a16:creationId xmlns:a16="http://schemas.microsoft.com/office/drawing/2014/main" id="{B545EDEF-6F53-72CF-3FBA-152F4F02B7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1B717E-15A5-F2F0-3F75-CED9BB958C91}"/>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196254763"/>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00A67-05DA-D14B-1040-FE8AD991B2A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5A0158-AE98-BD3F-0705-EF7943BC7B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9E00BE-8C58-B350-22E5-C70389D7986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5D58E3-121F-8A84-6B73-BD6336F775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3D2725-F08C-2F21-10D3-CA570152D97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B1A4AF-BF09-BA79-5A46-B6AD3DB1D722}"/>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8" name="Footer Placeholder 7">
            <a:extLst>
              <a:ext uri="{FF2B5EF4-FFF2-40B4-BE49-F238E27FC236}">
                <a16:creationId xmlns:a16="http://schemas.microsoft.com/office/drawing/2014/main" id="{86C39AFC-C92B-70A8-0F37-955D1AF6550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E5BC13-38E0-E128-2850-1C314AEC73E4}"/>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788378918"/>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A6FB5-80DD-4682-FD07-E6644235C9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504EE16-9579-646E-657E-EE955065A644}"/>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4" name="Footer Placeholder 3">
            <a:extLst>
              <a:ext uri="{FF2B5EF4-FFF2-40B4-BE49-F238E27FC236}">
                <a16:creationId xmlns:a16="http://schemas.microsoft.com/office/drawing/2014/main" id="{6AC7FEEE-8218-66D2-F788-6B2A27293A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3759C12-5529-A0A6-87D5-79E2DFCDF646}"/>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863065411"/>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F13186A-057E-E955-BD9A-6301439D4FA0}"/>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3" name="Footer Placeholder 2">
            <a:extLst>
              <a:ext uri="{FF2B5EF4-FFF2-40B4-BE49-F238E27FC236}">
                <a16:creationId xmlns:a16="http://schemas.microsoft.com/office/drawing/2014/main" id="{C4C7309F-3CD5-805D-3199-B205E92EDE2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61E3E9-CC04-7CEE-E126-306EC3300B9D}"/>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109606594"/>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3773-0DEA-D9C8-34E5-54A19AB9380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C1D918-58DA-2FC9-3D9B-042230A57FA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AF9D69F-EF93-C43E-6A45-7E0151C51C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7214DB-BE82-8D5C-0096-FCBA918E02F2}"/>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6" name="Footer Placeholder 5">
            <a:extLst>
              <a:ext uri="{FF2B5EF4-FFF2-40B4-BE49-F238E27FC236}">
                <a16:creationId xmlns:a16="http://schemas.microsoft.com/office/drawing/2014/main" id="{722630BA-7754-FA0D-AD32-8533DFA1A7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B1788E-CB17-6F86-8D4F-79CD7A383F52}"/>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3707510179"/>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CA63F8-4FAA-8613-0F73-FC5DE3DFAB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B22C70-3F70-5DDC-FD34-D007912D74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16DBE8C-CCD4-CC62-0BB1-BB809ACC9A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50870C-2D5B-D7B4-1511-03EE85C043CE}"/>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6" name="Footer Placeholder 5">
            <a:extLst>
              <a:ext uri="{FF2B5EF4-FFF2-40B4-BE49-F238E27FC236}">
                <a16:creationId xmlns:a16="http://schemas.microsoft.com/office/drawing/2014/main" id="{DBE17115-A0CE-13B4-1C9D-91C37AA90D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A69E7A-29D9-2E01-2AA1-54B367095072}"/>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377113843"/>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19E37-A2C3-BA3B-A463-2F251E5A4A2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994E7C-1316-B95F-7995-4CBADCA79A0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7B8D4E-9980-A72B-2744-C48B5F28CEBD}"/>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BFE8F694-40EA-C7B1-DD20-33251197DF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D68E9-DB01-4BDB-2E7A-BDAED4E86D87}"/>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2460230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555"/>
        <p:cNvGrpSpPr/>
        <p:nvPr/>
      </p:nvGrpSpPr>
      <p:grpSpPr>
        <a:xfrm>
          <a:off x="0" y="0"/>
          <a:ext cx="0" cy="0"/>
          <a:chOff x="0" y="0"/>
          <a:chExt cx="0" cy="0"/>
        </a:xfrm>
      </p:grpSpPr>
      <p:sp>
        <p:nvSpPr>
          <p:cNvPr id="1556" name="Google Shape;1556;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7" name="Google Shape;1557;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8" name="Google Shape;1558;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9" name="Google Shape;1559;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0" name="Google Shape;1560;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1" name="Google Shape;1561;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2" name="Google Shape;1562;p202"/>
          <p:cNvGrpSpPr/>
          <p:nvPr/>
        </p:nvGrpSpPr>
        <p:grpSpPr>
          <a:xfrm>
            <a:off x="7191542" y="1"/>
            <a:ext cx="5000459" cy="1425992"/>
            <a:chOff x="7191542" y="1"/>
            <a:chExt cx="5000459" cy="1425992"/>
          </a:xfrm>
        </p:grpSpPr>
        <p:pic>
          <p:nvPicPr>
            <p:cNvPr id="1563" name="Google Shape;1563;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4" name="Google Shape;1564;p202"/>
            <p:cNvGrpSpPr/>
            <p:nvPr/>
          </p:nvGrpSpPr>
          <p:grpSpPr>
            <a:xfrm>
              <a:off x="7191542" y="1"/>
              <a:ext cx="5000459" cy="1425992"/>
              <a:chOff x="7186272" y="0"/>
              <a:chExt cx="5005729" cy="1427495"/>
            </a:xfrm>
          </p:grpSpPr>
          <p:sp>
            <p:nvSpPr>
              <p:cNvPr id="1565" name="Google Shape;1565;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6" name="Google Shape;1566;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67" name="Google Shape;1567;p2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F8E4410-A545-46F9-9320-F8AB2D94DA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FA1827C-9250-50BC-6F58-68FCA438E1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22DD96-AACF-24ED-8C5A-456BAEB37C39}"/>
              </a:ext>
            </a:extLst>
          </p:cNvPr>
          <p:cNvSpPr>
            <a:spLocks noGrp="1"/>
          </p:cNvSpPr>
          <p:nvPr>
            <p:ph type="dt" sz="half" idx="10"/>
          </p:nvPr>
        </p:nvSpPr>
        <p:spPr/>
        <p:txBody>
          <a:body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BC6F9077-622C-B03E-CCB2-1C3021E6AD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ADAB0D-B3F4-B112-C85D-786C22794A04}"/>
              </a:ext>
            </a:extLst>
          </p:cNvPr>
          <p:cNvSpPr>
            <a:spLocks noGrp="1"/>
          </p:cNvSpPr>
          <p:nvPr>
            <p:ph type="sldNum" sz="quarter" idx="12"/>
          </p:nvPr>
        </p:nvSpPr>
        <p:spPr/>
        <p:txBody>
          <a:bodyPr/>
          <a:lstStyle/>
          <a:p>
            <a:fld id="{B73325B6-4B70-4C9B-91F4-029E53B84CC5}" type="slidenum">
              <a:rPr lang="en-US" smtClean="0"/>
              <a:t>‹#›</a:t>
            </a:fld>
            <a:endParaRPr lang="en-US"/>
          </a:p>
        </p:txBody>
      </p:sp>
    </p:spTree>
    <p:extLst>
      <p:ext uri="{BB962C8B-B14F-4D97-AF65-F5344CB8AC3E}">
        <p14:creationId xmlns:p14="http://schemas.microsoft.com/office/powerpoint/2010/main" val="3215687958"/>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5A069CB8-F204-4D06-B913-C5A26A89888A}"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139790"/>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0BB376-B19C-488D-ABEB-03C7E6E9E3E0}"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29637A9-119A-49DA-BD12-AAC58B377D80}" type="slidenum">
              <a:rPr lang="en-US" smtClean="0"/>
              <a:t>‹#›</a:t>
            </a:fld>
            <a:endParaRPr lang="en-US"/>
          </a:p>
        </p:txBody>
      </p:sp>
    </p:spTree>
    <p:extLst>
      <p:ext uri="{BB962C8B-B14F-4D97-AF65-F5344CB8AC3E}">
        <p14:creationId xmlns:p14="http://schemas.microsoft.com/office/powerpoint/2010/main" val="1913437789"/>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6F077B-A50F-4D64-8574-E2D6A98A5553}"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251705"/>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D9E2A62-1983-43A1-A163-D8AA46534C80}"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278902267"/>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8F3E3B-34E3-4345-B2A1-994B83598A9C}" type="datetimeFigureOut">
              <a:rPr lang="en-US" smtClean="0"/>
              <a:t>3/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1112141823"/>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D816C96-82A1-4D77-8ADA-627AC6FE3D65}" type="datetimeFigureOut">
              <a:rPr lang="en-US" smtClean="0"/>
              <a:t>3/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4161675970"/>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1D102C1E-28F2-47E9-802D-339E64E2F920}" type="datetimeFigureOut">
              <a:rPr lang="en-US" smtClean="0"/>
              <a:t>3/18/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a:p>
        </p:txBody>
      </p:sp>
    </p:spTree>
    <p:extLst>
      <p:ext uri="{BB962C8B-B14F-4D97-AF65-F5344CB8AC3E}">
        <p14:creationId xmlns:p14="http://schemas.microsoft.com/office/powerpoint/2010/main" val="3948484510"/>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4271A48-F18A-45B3-BC05-1E27DA3F88AF}" type="datetimeFigureOut">
              <a:rPr lang="en-US" smtClean="0"/>
              <a:t>3/18/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2198355703"/>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5B747F8-9654-4282-85D2-65F41AAE7A75}"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26861712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568"/>
        <p:cNvGrpSpPr/>
        <p:nvPr/>
      </p:nvGrpSpPr>
      <p:grpSpPr>
        <a:xfrm>
          <a:off x="0" y="0"/>
          <a:ext cx="0" cy="0"/>
          <a:chOff x="0" y="0"/>
          <a:chExt cx="0" cy="0"/>
        </a:xfrm>
      </p:grpSpPr>
      <p:sp>
        <p:nvSpPr>
          <p:cNvPr id="1569" name="Google Shape;1569;p2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0" name="Google Shape;1570;p2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1" name="Google Shape;1571;p2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2" name="Google Shape;1572;p203"/>
          <p:cNvSpPr>
            <a:spLocks noGrp="1"/>
          </p:cNvSpPr>
          <p:nvPr>
            <p:ph type="pic" idx="2"/>
          </p:nvPr>
        </p:nvSpPr>
        <p:spPr>
          <a:xfrm>
            <a:off x="7118684" y="233915"/>
            <a:ext cx="5073316" cy="5943600"/>
          </a:xfrm>
          <a:prstGeom prst="rect">
            <a:avLst/>
          </a:prstGeom>
          <a:noFill/>
          <a:ln>
            <a:noFill/>
          </a:ln>
        </p:spPr>
      </p:sp>
      <p:grpSp>
        <p:nvGrpSpPr>
          <p:cNvPr id="1573" name="Google Shape;1573;p203"/>
          <p:cNvGrpSpPr/>
          <p:nvPr/>
        </p:nvGrpSpPr>
        <p:grpSpPr>
          <a:xfrm>
            <a:off x="0" y="5020348"/>
            <a:ext cx="12192000" cy="1837653"/>
            <a:chOff x="0" y="5020348"/>
            <a:chExt cx="12192000" cy="1837653"/>
          </a:xfrm>
        </p:grpSpPr>
        <p:sp>
          <p:nvSpPr>
            <p:cNvPr id="1574" name="Google Shape;1574;p2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5" name="Google Shape;1575;p2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6" name="Google Shape;1576;p2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0B6E300-0A13-4A81-945A-7333C271A069}"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2191272898"/>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671962-1EA4-46E7-BCB0-F36CE46D1A59}"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a:p>
        </p:txBody>
      </p:sp>
    </p:spTree>
    <p:extLst>
      <p:ext uri="{BB962C8B-B14F-4D97-AF65-F5344CB8AC3E}">
        <p14:creationId xmlns:p14="http://schemas.microsoft.com/office/powerpoint/2010/main" val="3778944468"/>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1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577"/>
        <p:cNvGrpSpPr/>
        <p:nvPr/>
      </p:nvGrpSpPr>
      <p:grpSpPr>
        <a:xfrm>
          <a:off x="0" y="0"/>
          <a:ext cx="0" cy="0"/>
          <a:chOff x="0" y="0"/>
          <a:chExt cx="0" cy="0"/>
        </a:xfrm>
      </p:grpSpPr>
      <p:grpSp>
        <p:nvGrpSpPr>
          <p:cNvPr id="1578" name="Google Shape;1578;p204"/>
          <p:cNvGrpSpPr/>
          <p:nvPr/>
        </p:nvGrpSpPr>
        <p:grpSpPr>
          <a:xfrm>
            <a:off x="0" y="5020347"/>
            <a:ext cx="12192000" cy="1837653"/>
            <a:chOff x="0" y="5020347"/>
            <a:chExt cx="12192000" cy="1837653"/>
          </a:xfrm>
        </p:grpSpPr>
        <p:sp>
          <p:nvSpPr>
            <p:cNvPr id="1579" name="Google Shape;1579;p2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0" name="Google Shape;1580;p2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2" name="Google Shape;1582;p2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3" name="Google Shape;1583;p2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4" name="Google Shape;1584;p2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39842675"/>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2274650"/>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4249136"/>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0331786"/>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716"/>
        <p:cNvGrpSpPr/>
        <p:nvPr/>
      </p:nvGrpSpPr>
      <p:grpSpPr>
        <a:xfrm>
          <a:off x="0" y="0"/>
          <a:ext cx="0" cy="0"/>
          <a:chOff x="0" y="0"/>
          <a:chExt cx="0" cy="0"/>
        </a:xfrm>
      </p:grpSpPr>
      <p:sp>
        <p:nvSpPr>
          <p:cNvPr id="9717" name="Google Shape;9717;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18" name="Google Shape;9718;p13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719" name="Google Shape;9719;p1326"/>
          <p:cNvGrpSpPr/>
          <p:nvPr/>
        </p:nvGrpSpPr>
        <p:grpSpPr>
          <a:xfrm>
            <a:off x="7191542" y="1"/>
            <a:ext cx="5000459" cy="1425992"/>
            <a:chOff x="7191542" y="1"/>
            <a:chExt cx="5000459" cy="1425992"/>
          </a:xfrm>
        </p:grpSpPr>
        <p:pic>
          <p:nvPicPr>
            <p:cNvPr id="9720" name="Google Shape;9720;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21" name="Google Shape;9721;p1326"/>
            <p:cNvGrpSpPr/>
            <p:nvPr/>
          </p:nvGrpSpPr>
          <p:grpSpPr>
            <a:xfrm>
              <a:off x="7191542" y="1"/>
              <a:ext cx="5000459" cy="1425992"/>
              <a:chOff x="7186272" y="0"/>
              <a:chExt cx="5005729" cy="1427495"/>
            </a:xfrm>
          </p:grpSpPr>
          <p:sp>
            <p:nvSpPr>
              <p:cNvPr id="9722" name="Google Shape;9722;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23" name="Google Shape;9723;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724" name="Google Shape;9724;p13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5" name="Google Shape;9725;p13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726" name="Google Shape;9726;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27" name="Google Shape;9727;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04280625"/>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3F4D17F-9DD3-4010-BB29-D4C0893046D8}"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872625347"/>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F4D17F-9DD3-4010-BB29-D4C0893046D8}"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50564435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585"/>
        <p:cNvGrpSpPr/>
        <p:nvPr/>
      </p:nvGrpSpPr>
      <p:grpSpPr>
        <a:xfrm>
          <a:off x="0" y="0"/>
          <a:ext cx="0" cy="0"/>
          <a:chOff x="0" y="0"/>
          <a:chExt cx="0" cy="0"/>
        </a:xfrm>
      </p:grpSpPr>
      <p:sp>
        <p:nvSpPr>
          <p:cNvPr id="1586" name="Google Shape;1586;p2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7" name="Google Shape;1587;p2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8" name="Google Shape;1588;p205"/>
          <p:cNvGrpSpPr/>
          <p:nvPr/>
        </p:nvGrpSpPr>
        <p:grpSpPr>
          <a:xfrm>
            <a:off x="0" y="5379426"/>
            <a:ext cx="2807368" cy="753891"/>
            <a:chOff x="0" y="5379426"/>
            <a:chExt cx="2807368" cy="753891"/>
          </a:xfrm>
        </p:grpSpPr>
        <p:sp>
          <p:nvSpPr>
            <p:cNvPr id="1589" name="Google Shape;1589;p2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0" name="Google Shape;1590;p2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1" name="Google Shape;1591;p205"/>
          <p:cNvSpPr>
            <a:spLocks noGrp="1"/>
          </p:cNvSpPr>
          <p:nvPr>
            <p:ph type="pic" idx="2"/>
          </p:nvPr>
        </p:nvSpPr>
        <p:spPr>
          <a:xfrm>
            <a:off x="2807368" y="457202"/>
            <a:ext cx="8915400" cy="5943598"/>
          </a:xfrm>
          <a:prstGeom prst="rect">
            <a:avLst/>
          </a:prstGeom>
          <a:noFill/>
          <a:ln>
            <a:noFill/>
          </a:ln>
        </p:spPr>
      </p:sp>
      <p:pic>
        <p:nvPicPr>
          <p:cNvPr id="1592" name="Google Shape;1592;p2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3F4D17F-9DD3-4010-BB29-D4C0893046D8}"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2349539347"/>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3F4D17F-9DD3-4010-BB29-D4C0893046D8}"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223133137"/>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3F4D17F-9DD3-4010-BB29-D4C0893046D8}" type="datetimeFigureOut">
              <a:rPr lang="en-US" smtClean="0"/>
              <a:t>3/1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636799015"/>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3F4D17F-9DD3-4010-BB29-D4C0893046D8}" type="datetimeFigureOut">
              <a:rPr lang="en-US" smtClean="0"/>
              <a:t>3/1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106367883"/>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F4D17F-9DD3-4010-BB29-D4C0893046D8}" type="datetimeFigureOut">
              <a:rPr lang="en-US" smtClean="0"/>
              <a:t>3/1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141759539"/>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F4D17F-9DD3-4010-BB29-D4C0893046D8}"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909891631"/>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F4D17F-9DD3-4010-BB29-D4C0893046D8}" type="datetimeFigureOut">
              <a:rPr lang="en-US" smtClean="0"/>
              <a:t>3/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080322057"/>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F4D17F-9DD3-4010-BB29-D4C0893046D8}"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1765308436"/>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3F4D17F-9DD3-4010-BB29-D4C0893046D8}"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1375EE-A5DE-40F3-9099-C6D11A865E7E}" type="slidenum">
              <a:rPr lang="en-US" smtClean="0"/>
              <a:t>‹#›</a:t>
            </a:fld>
            <a:endParaRPr lang="en-US"/>
          </a:p>
        </p:txBody>
      </p:sp>
    </p:spTree>
    <p:extLst>
      <p:ext uri="{BB962C8B-B14F-4D97-AF65-F5344CB8AC3E}">
        <p14:creationId xmlns:p14="http://schemas.microsoft.com/office/powerpoint/2010/main" val="2429896756"/>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592535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593"/>
        <p:cNvGrpSpPr/>
        <p:nvPr/>
      </p:nvGrpSpPr>
      <p:grpSpPr>
        <a:xfrm>
          <a:off x="0" y="0"/>
          <a:ext cx="0" cy="0"/>
          <a:chOff x="0" y="0"/>
          <a:chExt cx="0" cy="0"/>
        </a:xfrm>
      </p:grpSpPr>
      <p:sp>
        <p:nvSpPr>
          <p:cNvPr id="1594" name="Google Shape;1594;p2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5" name="Google Shape;1595;p2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6" name="Google Shape;1596;p2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7" name="Google Shape;1597;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8" name="Google Shape;1598;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99" name="Google Shape;1599;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0" name="Google Shape;1600;p206"/>
          <p:cNvGrpSpPr/>
          <p:nvPr/>
        </p:nvGrpSpPr>
        <p:grpSpPr>
          <a:xfrm>
            <a:off x="7191542" y="1"/>
            <a:ext cx="5000459" cy="1425992"/>
            <a:chOff x="7191542" y="1"/>
            <a:chExt cx="5000459" cy="1425992"/>
          </a:xfrm>
        </p:grpSpPr>
        <p:pic>
          <p:nvPicPr>
            <p:cNvPr id="1601" name="Google Shape;1601;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2" name="Google Shape;1602;p206"/>
            <p:cNvGrpSpPr/>
            <p:nvPr/>
          </p:nvGrpSpPr>
          <p:grpSpPr>
            <a:xfrm>
              <a:off x="7191542" y="1"/>
              <a:ext cx="5000459" cy="1425992"/>
              <a:chOff x="7186272" y="0"/>
              <a:chExt cx="5005729" cy="1427495"/>
            </a:xfrm>
          </p:grpSpPr>
          <p:sp>
            <p:nvSpPr>
              <p:cNvPr id="1603" name="Google Shape;1603;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4" name="Google Shape;1604;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5" name="Google Shape;1605;p2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691686"/>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55528741"/>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6178631"/>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4003879"/>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835088"/>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623354835"/>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332506"/>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8600778"/>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04132878"/>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698985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71"/>
        <p:cNvGrpSpPr/>
        <p:nvPr/>
      </p:nvGrpSpPr>
      <p:grpSpPr>
        <a:xfrm>
          <a:off x="0" y="0"/>
          <a:ext cx="0" cy="0"/>
          <a:chOff x="0" y="0"/>
          <a:chExt cx="0" cy="0"/>
        </a:xfrm>
      </p:grpSpPr>
      <p:sp>
        <p:nvSpPr>
          <p:cNvPr id="172" name="Google Shape;172;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 name="Google Shape;173;p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4" name="Google Shape;174;p72"/>
          <p:cNvGrpSpPr/>
          <p:nvPr/>
        </p:nvGrpSpPr>
        <p:grpSpPr>
          <a:xfrm>
            <a:off x="7191542" y="1"/>
            <a:ext cx="5000459" cy="1425992"/>
            <a:chOff x="7191542" y="1"/>
            <a:chExt cx="5000459" cy="1425992"/>
          </a:xfrm>
        </p:grpSpPr>
        <p:pic>
          <p:nvPicPr>
            <p:cNvPr id="175" name="Google Shape;17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 name="Google Shape;176;p72"/>
            <p:cNvGrpSpPr/>
            <p:nvPr/>
          </p:nvGrpSpPr>
          <p:grpSpPr>
            <a:xfrm>
              <a:off x="7191542" y="1"/>
              <a:ext cx="5000459" cy="1425992"/>
              <a:chOff x="7186272" y="0"/>
              <a:chExt cx="5005729" cy="1427495"/>
            </a:xfrm>
          </p:grpSpPr>
          <p:sp>
            <p:nvSpPr>
              <p:cNvPr id="177" name="Google Shape;17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 name="Google Shape;17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9" name="Google Shape;179;p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 name="Google Shape;180;p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 name="Google Shape;181;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 name="Google Shape;182;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606"/>
        <p:cNvGrpSpPr/>
        <p:nvPr/>
      </p:nvGrpSpPr>
      <p:grpSpPr>
        <a:xfrm>
          <a:off x="0" y="0"/>
          <a:ext cx="0" cy="0"/>
          <a:chOff x="0" y="0"/>
          <a:chExt cx="0" cy="0"/>
        </a:xfrm>
      </p:grpSpPr>
      <p:sp>
        <p:nvSpPr>
          <p:cNvPr id="1607" name="Google Shape;1607;p2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8" name="Google Shape;1608;p2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9" name="Google Shape;1609;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0" name="Google Shape;1610;p2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1" name="Google Shape;1611;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2" name="Google Shape;1612;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13" name="Google Shape;1613;p207"/>
          <p:cNvGrpSpPr/>
          <p:nvPr/>
        </p:nvGrpSpPr>
        <p:grpSpPr>
          <a:xfrm>
            <a:off x="7191542" y="1"/>
            <a:ext cx="5000459" cy="1425992"/>
            <a:chOff x="7191542" y="1"/>
            <a:chExt cx="5000459" cy="1425992"/>
          </a:xfrm>
        </p:grpSpPr>
        <p:pic>
          <p:nvPicPr>
            <p:cNvPr id="1614" name="Google Shape;1614;p2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5" name="Google Shape;1615;p207"/>
            <p:cNvGrpSpPr/>
            <p:nvPr/>
          </p:nvGrpSpPr>
          <p:grpSpPr>
            <a:xfrm>
              <a:off x="7191542" y="1"/>
              <a:ext cx="5000459" cy="1425992"/>
              <a:chOff x="7186272" y="0"/>
              <a:chExt cx="5005729" cy="1427495"/>
            </a:xfrm>
          </p:grpSpPr>
          <p:sp>
            <p:nvSpPr>
              <p:cNvPr id="1616" name="Google Shape;1616;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7" name="Google Shape;1617;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18" name="Google Shape;1618;p2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6093898"/>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398506"/>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0396555"/>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786002030"/>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81518450"/>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20156231"/>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42630569"/>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3236041"/>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9157839"/>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164277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1619"/>
        <p:cNvGrpSpPr/>
        <p:nvPr/>
      </p:nvGrpSpPr>
      <p:grpSpPr>
        <a:xfrm>
          <a:off x="0" y="0"/>
          <a:ext cx="0" cy="0"/>
          <a:chOff x="0" y="0"/>
          <a:chExt cx="0" cy="0"/>
        </a:xfrm>
      </p:grpSpPr>
      <p:grpSp>
        <p:nvGrpSpPr>
          <p:cNvPr id="1620" name="Google Shape;1620;p208"/>
          <p:cNvGrpSpPr/>
          <p:nvPr/>
        </p:nvGrpSpPr>
        <p:grpSpPr>
          <a:xfrm>
            <a:off x="7191542" y="1"/>
            <a:ext cx="5000459" cy="1425992"/>
            <a:chOff x="7191542" y="1"/>
            <a:chExt cx="5000459" cy="1425992"/>
          </a:xfrm>
        </p:grpSpPr>
        <p:pic>
          <p:nvPicPr>
            <p:cNvPr id="1621" name="Google Shape;1621;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2" name="Google Shape;1622;p208"/>
            <p:cNvGrpSpPr/>
            <p:nvPr/>
          </p:nvGrpSpPr>
          <p:grpSpPr>
            <a:xfrm>
              <a:off x="7191542" y="1"/>
              <a:ext cx="5000459" cy="1425992"/>
              <a:chOff x="7186272" y="0"/>
              <a:chExt cx="5005729" cy="1427495"/>
            </a:xfrm>
          </p:grpSpPr>
          <p:sp>
            <p:nvSpPr>
              <p:cNvPr id="1623" name="Google Shape;1623;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4" name="Google Shape;1624;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5" name="Google Shape;1625;p2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6" name="Google Shape;1626;p2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9248169"/>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8949385"/>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812819"/>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82670494"/>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176244273"/>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2601420"/>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4892213"/>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48465718"/>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59884483"/>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240358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630"/>
        <p:cNvGrpSpPr/>
        <p:nvPr/>
      </p:nvGrpSpPr>
      <p:grpSpPr>
        <a:xfrm>
          <a:off x="0" y="0"/>
          <a:ext cx="0" cy="0"/>
          <a:chOff x="0" y="0"/>
          <a:chExt cx="0" cy="0"/>
        </a:xfrm>
      </p:grpSpPr>
      <p:sp>
        <p:nvSpPr>
          <p:cNvPr id="1631" name="Google Shape;1631;p2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2" name="Google Shape;1632;p2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33" name="Google Shape;1633;p209"/>
          <p:cNvGrpSpPr/>
          <p:nvPr/>
        </p:nvGrpSpPr>
        <p:grpSpPr>
          <a:xfrm>
            <a:off x="7191542" y="1"/>
            <a:ext cx="5000459" cy="1425992"/>
            <a:chOff x="7191542" y="1"/>
            <a:chExt cx="5000459" cy="1425992"/>
          </a:xfrm>
        </p:grpSpPr>
        <p:pic>
          <p:nvPicPr>
            <p:cNvPr id="1634" name="Google Shape;1634;p2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5" name="Google Shape;1635;p209"/>
            <p:cNvGrpSpPr/>
            <p:nvPr/>
          </p:nvGrpSpPr>
          <p:grpSpPr>
            <a:xfrm>
              <a:off x="7191542" y="1"/>
              <a:ext cx="5000459" cy="1425992"/>
              <a:chOff x="7186272" y="0"/>
              <a:chExt cx="5005729" cy="1427495"/>
            </a:xfrm>
          </p:grpSpPr>
          <p:sp>
            <p:nvSpPr>
              <p:cNvPr id="1636" name="Google Shape;1636;p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7" name="Google Shape;1637;p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8" name="Google Shape;1638;p2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0" name="Google Shape;1640;p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1" name="Google Shape;1641;p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140224"/>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346407"/>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4460402"/>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87606752"/>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53595582"/>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653337"/>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267458648"/>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56681506"/>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0172044"/>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28056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642"/>
        <p:cNvGrpSpPr/>
        <p:nvPr/>
      </p:nvGrpSpPr>
      <p:grpSpPr>
        <a:xfrm>
          <a:off x="0" y="0"/>
          <a:ext cx="0" cy="0"/>
          <a:chOff x="0" y="0"/>
          <a:chExt cx="0" cy="0"/>
        </a:xfrm>
      </p:grpSpPr>
      <p:grpSp>
        <p:nvGrpSpPr>
          <p:cNvPr id="1643" name="Google Shape;1643;p210"/>
          <p:cNvGrpSpPr/>
          <p:nvPr/>
        </p:nvGrpSpPr>
        <p:grpSpPr>
          <a:xfrm>
            <a:off x="7191542" y="1"/>
            <a:ext cx="5000459" cy="1425992"/>
            <a:chOff x="7191542" y="1"/>
            <a:chExt cx="5000459" cy="1425992"/>
          </a:xfrm>
        </p:grpSpPr>
        <p:pic>
          <p:nvPicPr>
            <p:cNvPr id="1644" name="Google Shape;1644;p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5" name="Google Shape;1645;p210"/>
            <p:cNvGrpSpPr/>
            <p:nvPr/>
          </p:nvGrpSpPr>
          <p:grpSpPr>
            <a:xfrm>
              <a:off x="7191542" y="1"/>
              <a:ext cx="5000459" cy="1425992"/>
              <a:chOff x="7186272" y="0"/>
              <a:chExt cx="5005729" cy="1427495"/>
            </a:xfrm>
          </p:grpSpPr>
          <p:sp>
            <p:nvSpPr>
              <p:cNvPr id="1646" name="Google Shape;1646;p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7" name="Google Shape;1647;p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48" name="Google Shape;1648;p2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9" name="Google Shape;1649;p2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0" name="Google Shape;1650;p2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1" name="Google Shape;1651;p2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2" name="Google Shape;1652;p2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3" name="Google Shape;1653;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4" name="Google Shape;1654;p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5" name="Google Shape;1655;p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9602613"/>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3671667"/>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4496956"/>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84798282"/>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43407645"/>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57721111"/>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9399049"/>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01916928"/>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11937862"/>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6413046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56"/>
        <p:cNvGrpSpPr/>
        <p:nvPr/>
      </p:nvGrpSpPr>
      <p:grpSpPr>
        <a:xfrm>
          <a:off x="0" y="0"/>
          <a:ext cx="0" cy="0"/>
          <a:chOff x="0" y="0"/>
          <a:chExt cx="0" cy="0"/>
        </a:xfrm>
      </p:grpSpPr>
      <p:grpSp>
        <p:nvGrpSpPr>
          <p:cNvPr id="1657" name="Google Shape;1657;p211"/>
          <p:cNvGrpSpPr/>
          <p:nvPr/>
        </p:nvGrpSpPr>
        <p:grpSpPr>
          <a:xfrm>
            <a:off x="7191542" y="1"/>
            <a:ext cx="5000459" cy="1425992"/>
            <a:chOff x="7191542" y="1"/>
            <a:chExt cx="5000459" cy="1425992"/>
          </a:xfrm>
        </p:grpSpPr>
        <p:pic>
          <p:nvPicPr>
            <p:cNvPr id="1658" name="Google Shape;1658;p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9" name="Google Shape;1659;p211"/>
            <p:cNvGrpSpPr/>
            <p:nvPr/>
          </p:nvGrpSpPr>
          <p:grpSpPr>
            <a:xfrm>
              <a:off x="7191542" y="1"/>
              <a:ext cx="5000459" cy="1425992"/>
              <a:chOff x="7186272" y="0"/>
              <a:chExt cx="5005729" cy="1427495"/>
            </a:xfrm>
          </p:grpSpPr>
          <p:sp>
            <p:nvSpPr>
              <p:cNvPr id="1660" name="Google Shape;1660;p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61" name="Google Shape;1661;p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62" name="Google Shape;1662;p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3" name="Google Shape;1663;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4" name="Google Shape;1664;p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5" name="Google Shape;1665;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9784783"/>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38916857"/>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600245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6145598"/>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1287158"/>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3957577"/>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39585372"/>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8745541"/>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79156816"/>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387669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666"/>
        <p:cNvGrpSpPr/>
        <p:nvPr/>
      </p:nvGrpSpPr>
      <p:grpSpPr>
        <a:xfrm>
          <a:off x="0" y="0"/>
          <a:ext cx="0" cy="0"/>
          <a:chOff x="0" y="0"/>
          <a:chExt cx="0" cy="0"/>
        </a:xfrm>
      </p:grpSpPr>
      <p:grpSp>
        <p:nvGrpSpPr>
          <p:cNvPr id="1667" name="Google Shape;1667;p212"/>
          <p:cNvGrpSpPr/>
          <p:nvPr/>
        </p:nvGrpSpPr>
        <p:grpSpPr>
          <a:xfrm>
            <a:off x="0" y="0"/>
            <a:ext cx="12192000" cy="2148830"/>
            <a:chOff x="0" y="0"/>
            <a:chExt cx="12192000" cy="2148830"/>
          </a:xfrm>
        </p:grpSpPr>
        <p:sp>
          <p:nvSpPr>
            <p:cNvPr id="1668" name="Google Shape;1668;p2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69" name="Google Shape;1669;p2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70" name="Google Shape;1670;p2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71" name="Google Shape;1671;p2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2" name="Google Shape;1672;p2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73" name="Google Shape;1673;p2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74" name="Google Shape;1674;p2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9288818"/>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5006998"/>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671939"/>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2583343"/>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1621033"/>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9107351"/>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28087964"/>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6338508"/>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1565664"/>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0370338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675"/>
        <p:cNvGrpSpPr/>
        <p:nvPr/>
      </p:nvGrpSpPr>
      <p:grpSpPr>
        <a:xfrm>
          <a:off x="0" y="0"/>
          <a:ext cx="0" cy="0"/>
          <a:chOff x="0" y="0"/>
          <a:chExt cx="0" cy="0"/>
        </a:xfrm>
      </p:grpSpPr>
      <p:sp>
        <p:nvSpPr>
          <p:cNvPr id="1676" name="Google Shape;1676;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7" name="Google Shape;1677;p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8" name="Google Shape;1678;p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79" name="Google Shape;1679;p213"/>
          <p:cNvGrpSpPr/>
          <p:nvPr/>
        </p:nvGrpSpPr>
        <p:grpSpPr>
          <a:xfrm>
            <a:off x="7191542" y="1"/>
            <a:ext cx="5000459" cy="1425992"/>
            <a:chOff x="7191542" y="1"/>
            <a:chExt cx="5000459" cy="1425992"/>
          </a:xfrm>
        </p:grpSpPr>
        <p:pic>
          <p:nvPicPr>
            <p:cNvPr id="1680" name="Google Shape;1680;p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1" name="Google Shape;1681;p213"/>
            <p:cNvGrpSpPr/>
            <p:nvPr/>
          </p:nvGrpSpPr>
          <p:grpSpPr>
            <a:xfrm>
              <a:off x="7191542" y="1"/>
              <a:ext cx="5000459" cy="1425992"/>
              <a:chOff x="7186272" y="0"/>
              <a:chExt cx="5005729" cy="1427495"/>
            </a:xfrm>
          </p:grpSpPr>
          <p:sp>
            <p:nvSpPr>
              <p:cNvPr id="1682" name="Google Shape;1682;p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83" name="Google Shape;1683;p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9857657"/>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5399561"/>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8487584"/>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8057793"/>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98467591"/>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3328834"/>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3860857"/>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6246098"/>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8200976"/>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7256646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684"/>
        <p:cNvGrpSpPr/>
        <p:nvPr/>
      </p:nvGrpSpPr>
      <p:grpSpPr>
        <a:xfrm>
          <a:off x="0" y="0"/>
          <a:ext cx="0" cy="0"/>
          <a:chOff x="0" y="0"/>
          <a:chExt cx="0" cy="0"/>
        </a:xfrm>
      </p:grpSpPr>
      <p:sp>
        <p:nvSpPr>
          <p:cNvPr id="1685" name="Google Shape;1685;p2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86" name="Google Shape;1686;p2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7" name="Google Shape;1687;p2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88" name="Google Shape;1688;p214"/>
          <p:cNvSpPr>
            <a:spLocks noGrp="1"/>
          </p:cNvSpPr>
          <p:nvPr>
            <p:ph type="pic" idx="2"/>
          </p:nvPr>
        </p:nvSpPr>
        <p:spPr>
          <a:xfrm>
            <a:off x="7118684" y="233915"/>
            <a:ext cx="5073316" cy="5943600"/>
          </a:xfrm>
          <a:prstGeom prst="rect">
            <a:avLst/>
          </a:prstGeom>
          <a:noFill/>
          <a:ln>
            <a:noFill/>
          </a:ln>
        </p:spPr>
      </p:sp>
      <p:grpSp>
        <p:nvGrpSpPr>
          <p:cNvPr id="1689" name="Google Shape;1689;p214"/>
          <p:cNvGrpSpPr/>
          <p:nvPr/>
        </p:nvGrpSpPr>
        <p:grpSpPr>
          <a:xfrm>
            <a:off x="0" y="5020348"/>
            <a:ext cx="12192000" cy="1837653"/>
            <a:chOff x="0" y="5020348"/>
            <a:chExt cx="12192000" cy="1837653"/>
          </a:xfrm>
        </p:grpSpPr>
        <p:sp>
          <p:nvSpPr>
            <p:cNvPr id="1690" name="Google Shape;1690;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91" name="Google Shape;1691;p2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92" name="Google Shape;1692;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82137306"/>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2606036"/>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2829700"/>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1760941"/>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390124"/>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87597485"/>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16020348"/>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41693037"/>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17852415"/>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922451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1693"/>
        <p:cNvGrpSpPr/>
        <p:nvPr/>
      </p:nvGrpSpPr>
      <p:grpSpPr>
        <a:xfrm>
          <a:off x="0" y="0"/>
          <a:ext cx="0" cy="0"/>
          <a:chOff x="0" y="0"/>
          <a:chExt cx="0" cy="0"/>
        </a:xfrm>
      </p:grpSpPr>
      <p:grpSp>
        <p:nvGrpSpPr>
          <p:cNvPr id="1694" name="Google Shape;1694;p215"/>
          <p:cNvGrpSpPr/>
          <p:nvPr/>
        </p:nvGrpSpPr>
        <p:grpSpPr>
          <a:xfrm>
            <a:off x="0" y="5020347"/>
            <a:ext cx="12192000" cy="1837653"/>
            <a:chOff x="0" y="5020347"/>
            <a:chExt cx="12192000" cy="1837653"/>
          </a:xfrm>
        </p:grpSpPr>
        <p:sp>
          <p:nvSpPr>
            <p:cNvPr id="1695" name="Google Shape;1695;p2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96" name="Google Shape;1696;p2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97" name="Google Shape;1697;p2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98" name="Google Shape;1698;p2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99" name="Google Shape;1699;p2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0" name="Google Shape;1700;p2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00611234"/>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263836"/>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2335142"/>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6080754"/>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2423078"/>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17891067"/>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41590761"/>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90456885"/>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14964181"/>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639339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701"/>
        <p:cNvGrpSpPr/>
        <p:nvPr/>
      </p:nvGrpSpPr>
      <p:grpSpPr>
        <a:xfrm>
          <a:off x="0" y="0"/>
          <a:ext cx="0" cy="0"/>
          <a:chOff x="0" y="0"/>
          <a:chExt cx="0" cy="0"/>
        </a:xfrm>
      </p:grpSpPr>
      <p:sp>
        <p:nvSpPr>
          <p:cNvPr id="1702" name="Google Shape;1702;p2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3" name="Google Shape;1703;p2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04" name="Google Shape;1704;p216"/>
          <p:cNvGrpSpPr/>
          <p:nvPr/>
        </p:nvGrpSpPr>
        <p:grpSpPr>
          <a:xfrm>
            <a:off x="0" y="5379426"/>
            <a:ext cx="2807368" cy="753891"/>
            <a:chOff x="0" y="5379426"/>
            <a:chExt cx="2807368" cy="753891"/>
          </a:xfrm>
        </p:grpSpPr>
        <p:sp>
          <p:nvSpPr>
            <p:cNvPr id="1705" name="Google Shape;1705;p2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06" name="Google Shape;1706;p2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07" name="Google Shape;1707;p216"/>
          <p:cNvSpPr>
            <a:spLocks noGrp="1"/>
          </p:cNvSpPr>
          <p:nvPr>
            <p:ph type="pic" idx="2"/>
          </p:nvPr>
        </p:nvSpPr>
        <p:spPr>
          <a:xfrm>
            <a:off x="2807368" y="457202"/>
            <a:ext cx="8915400" cy="5943598"/>
          </a:xfrm>
          <a:prstGeom prst="rect">
            <a:avLst/>
          </a:prstGeom>
          <a:noFill/>
          <a:ln>
            <a:noFill/>
          </a:ln>
        </p:spPr>
      </p:sp>
      <p:pic>
        <p:nvPicPr>
          <p:cNvPr id="1708" name="Google Shape;1708;p2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185600232"/>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7944328"/>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53694446"/>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3053845"/>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2438741"/>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6570926"/>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9619766"/>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81556099"/>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07141958"/>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8450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3"/>
        <p:cNvGrpSpPr/>
        <p:nvPr/>
      </p:nvGrpSpPr>
      <p:grpSpPr>
        <a:xfrm>
          <a:off x="0" y="0"/>
          <a:ext cx="0" cy="0"/>
          <a:chOff x="0" y="0"/>
          <a:chExt cx="0" cy="0"/>
        </a:xfrm>
      </p:grpSpPr>
      <p:grpSp>
        <p:nvGrpSpPr>
          <p:cNvPr id="184" name="Google Shape;184;p73"/>
          <p:cNvGrpSpPr/>
          <p:nvPr/>
        </p:nvGrpSpPr>
        <p:grpSpPr>
          <a:xfrm>
            <a:off x="7191542" y="1"/>
            <a:ext cx="5000459" cy="1425992"/>
            <a:chOff x="7191542" y="1"/>
            <a:chExt cx="5000459" cy="1425992"/>
          </a:xfrm>
        </p:grpSpPr>
        <p:pic>
          <p:nvPicPr>
            <p:cNvPr id="185" name="Google Shape;185;p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6" name="Google Shape;186;p73"/>
            <p:cNvGrpSpPr/>
            <p:nvPr/>
          </p:nvGrpSpPr>
          <p:grpSpPr>
            <a:xfrm>
              <a:off x="7191542" y="1"/>
              <a:ext cx="5000459" cy="1425992"/>
              <a:chOff x="7186272" y="0"/>
              <a:chExt cx="5005729" cy="1427495"/>
            </a:xfrm>
          </p:grpSpPr>
          <p:sp>
            <p:nvSpPr>
              <p:cNvPr id="187" name="Google Shape;187;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 name="Google Shape;188;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 name="Google Shape;189;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 name="Google Shape;190;p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 name="Google Shape;191;p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 name="Google Shape;193;p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709"/>
        <p:cNvGrpSpPr/>
        <p:nvPr/>
      </p:nvGrpSpPr>
      <p:grpSpPr>
        <a:xfrm>
          <a:off x="0" y="0"/>
          <a:ext cx="0" cy="0"/>
          <a:chOff x="0" y="0"/>
          <a:chExt cx="0" cy="0"/>
        </a:xfrm>
      </p:grpSpPr>
      <p:sp>
        <p:nvSpPr>
          <p:cNvPr id="1710" name="Google Shape;1710;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1" name="Google Shape;1711;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4" name="Google Shape;1714;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5" name="Google Shape;1715;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16" name="Google Shape;1716;p217"/>
          <p:cNvGrpSpPr/>
          <p:nvPr/>
        </p:nvGrpSpPr>
        <p:grpSpPr>
          <a:xfrm>
            <a:off x="7191542" y="1"/>
            <a:ext cx="5000459" cy="1425992"/>
            <a:chOff x="7191542" y="1"/>
            <a:chExt cx="5000459" cy="1425992"/>
          </a:xfrm>
        </p:grpSpPr>
        <p:pic>
          <p:nvPicPr>
            <p:cNvPr id="1717" name="Google Shape;1717;p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8" name="Google Shape;1718;p217"/>
            <p:cNvGrpSpPr/>
            <p:nvPr/>
          </p:nvGrpSpPr>
          <p:grpSpPr>
            <a:xfrm>
              <a:off x="7191542" y="1"/>
              <a:ext cx="5000459" cy="1425992"/>
              <a:chOff x="7186272" y="0"/>
              <a:chExt cx="5005729" cy="1427495"/>
            </a:xfrm>
          </p:grpSpPr>
          <p:sp>
            <p:nvSpPr>
              <p:cNvPr id="1719" name="Google Shape;1719;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0" name="Google Shape;1720;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21" name="Google Shape;1721;p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399651613"/>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48783756"/>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21824851"/>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81822188"/>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27725493"/>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7105806"/>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93012577"/>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3030241"/>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7754307"/>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098228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1722"/>
        <p:cNvGrpSpPr/>
        <p:nvPr/>
      </p:nvGrpSpPr>
      <p:grpSpPr>
        <a:xfrm>
          <a:off x="0" y="0"/>
          <a:ext cx="0" cy="0"/>
          <a:chOff x="0" y="0"/>
          <a:chExt cx="0" cy="0"/>
        </a:xfrm>
      </p:grpSpPr>
      <p:grpSp>
        <p:nvGrpSpPr>
          <p:cNvPr id="1723" name="Google Shape;1723;p218"/>
          <p:cNvGrpSpPr/>
          <p:nvPr/>
        </p:nvGrpSpPr>
        <p:grpSpPr>
          <a:xfrm>
            <a:off x="7191542" y="1"/>
            <a:ext cx="5000459" cy="1425992"/>
            <a:chOff x="7191542" y="1"/>
            <a:chExt cx="5000459" cy="1425992"/>
          </a:xfrm>
        </p:grpSpPr>
        <p:pic>
          <p:nvPicPr>
            <p:cNvPr id="1724" name="Google Shape;1724;p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5" name="Google Shape;1725;p218"/>
            <p:cNvGrpSpPr/>
            <p:nvPr/>
          </p:nvGrpSpPr>
          <p:grpSpPr>
            <a:xfrm>
              <a:off x="7191542" y="1"/>
              <a:ext cx="5000459" cy="1425992"/>
              <a:chOff x="7186272" y="0"/>
              <a:chExt cx="5005729" cy="1427495"/>
            </a:xfrm>
          </p:grpSpPr>
          <p:sp>
            <p:nvSpPr>
              <p:cNvPr id="1726" name="Google Shape;1726;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7" name="Google Shape;1727;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28" name="Google Shape;1728;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9" name="Google Shape;1729;p21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0" name="Google Shape;1730;p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1" name="Google Shape;1731;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2" name="Google Shape;1732;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5446289"/>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08042666"/>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06668628"/>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9672104"/>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0800026"/>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14233604"/>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3703879"/>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73528461"/>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303244"/>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4402812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733"/>
        <p:cNvGrpSpPr/>
        <p:nvPr/>
      </p:nvGrpSpPr>
      <p:grpSpPr>
        <a:xfrm>
          <a:off x="0" y="0"/>
          <a:ext cx="0" cy="0"/>
          <a:chOff x="0" y="0"/>
          <a:chExt cx="0" cy="0"/>
        </a:xfrm>
      </p:grpSpPr>
      <p:sp>
        <p:nvSpPr>
          <p:cNvPr id="1734" name="Google Shape;1734;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 name="Google Shape;1735;p2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36" name="Google Shape;1736;p219"/>
          <p:cNvGrpSpPr/>
          <p:nvPr/>
        </p:nvGrpSpPr>
        <p:grpSpPr>
          <a:xfrm>
            <a:off x="7191542" y="1"/>
            <a:ext cx="5000459" cy="1425992"/>
            <a:chOff x="7191542" y="1"/>
            <a:chExt cx="5000459" cy="1425992"/>
          </a:xfrm>
        </p:grpSpPr>
        <p:pic>
          <p:nvPicPr>
            <p:cNvPr id="1737" name="Google Shape;1737;p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9"/>
            <p:cNvGrpSpPr/>
            <p:nvPr/>
          </p:nvGrpSpPr>
          <p:grpSpPr>
            <a:xfrm>
              <a:off x="7191542" y="1"/>
              <a:ext cx="5000459" cy="1425992"/>
              <a:chOff x="7186272" y="0"/>
              <a:chExt cx="5005729" cy="1427495"/>
            </a:xfrm>
          </p:grpSpPr>
          <p:sp>
            <p:nvSpPr>
              <p:cNvPr id="1739" name="Google Shape;1739;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41" name="Google Shape;1741;p2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2" name="Google Shape;1742;p2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3" name="Google Shape;1743;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4" name="Google Shape;1744;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3717634"/>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6862947"/>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10578461"/>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0515342"/>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1315839"/>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25919132"/>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84467782"/>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60795872"/>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12868833"/>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089148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745"/>
        <p:cNvGrpSpPr/>
        <p:nvPr/>
      </p:nvGrpSpPr>
      <p:grpSpPr>
        <a:xfrm>
          <a:off x="0" y="0"/>
          <a:ext cx="0" cy="0"/>
          <a:chOff x="0" y="0"/>
          <a:chExt cx="0" cy="0"/>
        </a:xfrm>
      </p:grpSpPr>
      <p:grpSp>
        <p:nvGrpSpPr>
          <p:cNvPr id="1746" name="Google Shape;1746;p220"/>
          <p:cNvGrpSpPr/>
          <p:nvPr/>
        </p:nvGrpSpPr>
        <p:grpSpPr>
          <a:xfrm>
            <a:off x="7191542" y="1"/>
            <a:ext cx="5000459" cy="1425992"/>
            <a:chOff x="7191542" y="1"/>
            <a:chExt cx="5000459" cy="1425992"/>
          </a:xfrm>
        </p:grpSpPr>
        <p:pic>
          <p:nvPicPr>
            <p:cNvPr id="1747" name="Google Shape;1747;p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48" name="Google Shape;1748;p220"/>
            <p:cNvGrpSpPr/>
            <p:nvPr/>
          </p:nvGrpSpPr>
          <p:grpSpPr>
            <a:xfrm>
              <a:off x="7191542" y="1"/>
              <a:ext cx="5000459" cy="1425992"/>
              <a:chOff x="7186272" y="0"/>
              <a:chExt cx="5005729" cy="1427495"/>
            </a:xfrm>
          </p:grpSpPr>
          <p:sp>
            <p:nvSpPr>
              <p:cNvPr id="1749" name="Google Shape;1749;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0" name="Google Shape;1750;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51" name="Google Shape;1751;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2" name="Google Shape;1752;p2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3" name="Google Shape;1753;p2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4" name="Google Shape;1754;p2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5" name="Google Shape;1755;p2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56" name="Google Shape;1756;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57" name="Google Shape;1757;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8" name="Google Shape;1758;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5674055"/>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6176733"/>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4844061"/>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5671986"/>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8431843"/>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0430851"/>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58433421"/>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9928096"/>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662129719"/>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3598886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759"/>
        <p:cNvGrpSpPr/>
        <p:nvPr/>
      </p:nvGrpSpPr>
      <p:grpSpPr>
        <a:xfrm>
          <a:off x="0" y="0"/>
          <a:ext cx="0" cy="0"/>
          <a:chOff x="0" y="0"/>
          <a:chExt cx="0" cy="0"/>
        </a:xfrm>
      </p:grpSpPr>
      <p:grpSp>
        <p:nvGrpSpPr>
          <p:cNvPr id="1760" name="Google Shape;1760;p221"/>
          <p:cNvGrpSpPr/>
          <p:nvPr/>
        </p:nvGrpSpPr>
        <p:grpSpPr>
          <a:xfrm>
            <a:off x="7191542" y="1"/>
            <a:ext cx="5000459" cy="1425992"/>
            <a:chOff x="7191542" y="1"/>
            <a:chExt cx="5000459" cy="1425992"/>
          </a:xfrm>
        </p:grpSpPr>
        <p:pic>
          <p:nvPicPr>
            <p:cNvPr id="1761" name="Google Shape;1761;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2" name="Google Shape;1762;p221"/>
            <p:cNvGrpSpPr/>
            <p:nvPr/>
          </p:nvGrpSpPr>
          <p:grpSpPr>
            <a:xfrm>
              <a:off x="7191542" y="1"/>
              <a:ext cx="5000459" cy="1425992"/>
              <a:chOff x="7186272" y="0"/>
              <a:chExt cx="5005729" cy="1427495"/>
            </a:xfrm>
          </p:grpSpPr>
          <p:sp>
            <p:nvSpPr>
              <p:cNvPr id="1763" name="Google Shape;1763;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4" name="Google Shape;1764;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5" name="Google Shape;1765;p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6" name="Google Shape;1766;p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7" name="Google Shape;1767;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8" name="Google Shape;1768;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36698804"/>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38182630"/>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28384005"/>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67108346"/>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04589523"/>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1529128"/>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97860709"/>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4716467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1793580"/>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44156280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769"/>
        <p:cNvGrpSpPr/>
        <p:nvPr/>
      </p:nvGrpSpPr>
      <p:grpSpPr>
        <a:xfrm>
          <a:off x="0" y="0"/>
          <a:ext cx="0" cy="0"/>
          <a:chOff x="0" y="0"/>
          <a:chExt cx="0" cy="0"/>
        </a:xfrm>
      </p:grpSpPr>
      <p:grpSp>
        <p:nvGrpSpPr>
          <p:cNvPr id="1770" name="Google Shape;1770;p222"/>
          <p:cNvGrpSpPr/>
          <p:nvPr/>
        </p:nvGrpSpPr>
        <p:grpSpPr>
          <a:xfrm>
            <a:off x="0" y="0"/>
            <a:ext cx="12192000" cy="2148830"/>
            <a:chOff x="0" y="0"/>
            <a:chExt cx="12192000" cy="2148830"/>
          </a:xfrm>
        </p:grpSpPr>
        <p:sp>
          <p:nvSpPr>
            <p:cNvPr id="1771" name="Google Shape;1771;p2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2" name="Google Shape;1772;p2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73" name="Google Shape;1773;p2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74" name="Google Shape;1774;p2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76" name="Google Shape;1776;p2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77" name="Google Shape;1777;p2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408312995"/>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96710877"/>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48808062"/>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98705426"/>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07092413"/>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89751962"/>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68475020"/>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58532482"/>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81805591"/>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354852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778"/>
        <p:cNvGrpSpPr/>
        <p:nvPr/>
      </p:nvGrpSpPr>
      <p:grpSpPr>
        <a:xfrm>
          <a:off x="0" y="0"/>
          <a:ext cx="0" cy="0"/>
          <a:chOff x="0" y="0"/>
          <a:chExt cx="0" cy="0"/>
        </a:xfrm>
      </p:grpSpPr>
      <p:sp>
        <p:nvSpPr>
          <p:cNvPr id="1779" name="Google Shape;1779;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0" name="Google Shape;1780;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1" name="Google Shape;1781;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82" name="Google Shape;1782;p223"/>
          <p:cNvGrpSpPr/>
          <p:nvPr/>
        </p:nvGrpSpPr>
        <p:grpSpPr>
          <a:xfrm>
            <a:off x="7191542" y="1"/>
            <a:ext cx="5000459" cy="1425992"/>
            <a:chOff x="7191542" y="1"/>
            <a:chExt cx="5000459" cy="1425992"/>
          </a:xfrm>
        </p:grpSpPr>
        <p:pic>
          <p:nvPicPr>
            <p:cNvPr id="1783" name="Google Shape;1783;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84" name="Google Shape;1784;p223"/>
            <p:cNvGrpSpPr/>
            <p:nvPr/>
          </p:nvGrpSpPr>
          <p:grpSpPr>
            <a:xfrm>
              <a:off x="7191542" y="1"/>
              <a:ext cx="5000459" cy="1425992"/>
              <a:chOff x="7186272" y="0"/>
              <a:chExt cx="5005729" cy="1427495"/>
            </a:xfrm>
          </p:grpSpPr>
          <p:sp>
            <p:nvSpPr>
              <p:cNvPr id="1785" name="Google Shape;1785;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6" name="Google Shape;1786;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1891015"/>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8813061"/>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66662072"/>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90904619"/>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94501929"/>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6843891"/>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24369540"/>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37867667"/>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88465549"/>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1769964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787"/>
        <p:cNvGrpSpPr/>
        <p:nvPr/>
      </p:nvGrpSpPr>
      <p:grpSpPr>
        <a:xfrm>
          <a:off x="0" y="0"/>
          <a:ext cx="0" cy="0"/>
          <a:chOff x="0" y="0"/>
          <a:chExt cx="0" cy="0"/>
        </a:xfrm>
      </p:grpSpPr>
      <p:sp>
        <p:nvSpPr>
          <p:cNvPr id="1788" name="Google Shape;1788;p2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89" name="Google Shape;1789;p2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0" name="Google Shape;1790;p2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1" name="Google Shape;1791;p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92" name="Google Shape;1792;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3" name="Google Shape;1793;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4" name="Google Shape;1794;p224"/>
          <p:cNvGrpSpPr/>
          <p:nvPr/>
        </p:nvGrpSpPr>
        <p:grpSpPr>
          <a:xfrm>
            <a:off x="7191542" y="1"/>
            <a:ext cx="5000459" cy="1425992"/>
            <a:chOff x="7191542" y="1"/>
            <a:chExt cx="5000459" cy="1425992"/>
          </a:xfrm>
        </p:grpSpPr>
        <p:pic>
          <p:nvPicPr>
            <p:cNvPr id="1795" name="Google Shape;1795;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6" name="Google Shape;1796;p224"/>
            <p:cNvGrpSpPr/>
            <p:nvPr/>
          </p:nvGrpSpPr>
          <p:grpSpPr>
            <a:xfrm>
              <a:off x="7191542" y="1"/>
              <a:ext cx="5000459" cy="1425992"/>
              <a:chOff x="7186272" y="0"/>
              <a:chExt cx="5005729" cy="1427495"/>
            </a:xfrm>
          </p:grpSpPr>
          <p:sp>
            <p:nvSpPr>
              <p:cNvPr id="1797" name="Google Shape;1797;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8" name="Google Shape;1798;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99" name="Google Shape;1799;p2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59748642"/>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4375870"/>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9162861"/>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2157804"/>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9153849"/>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3370907"/>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4320498"/>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7221773"/>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68125486"/>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2618131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800"/>
        <p:cNvGrpSpPr/>
        <p:nvPr/>
      </p:nvGrpSpPr>
      <p:grpSpPr>
        <a:xfrm>
          <a:off x="0" y="0"/>
          <a:ext cx="0" cy="0"/>
          <a:chOff x="0" y="0"/>
          <a:chExt cx="0" cy="0"/>
        </a:xfrm>
      </p:grpSpPr>
      <p:sp>
        <p:nvSpPr>
          <p:cNvPr id="1801" name="Google Shape;1801;p2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2" name="Google Shape;1802;p22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803" name="Google Shape;1803;p2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804" name="Google Shape;1804;p22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805" name="Google Shape;1805;p22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806" name="Google Shape;1806;p2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8" name="Google Shape;1808;p2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809" name="Google Shape;1809;p22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 name="Google Shape;1810;p2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11" name="Google Shape;1811;p22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71379752"/>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0581196"/>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957353"/>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9301019"/>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4061609"/>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4068867"/>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9931281"/>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985749789"/>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94157885"/>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1021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812"/>
        <p:cNvGrpSpPr/>
        <p:nvPr/>
      </p:nvGrpSpPr>
      <p:grpSpPr>
        <a:xfrm>
          <a:off x="0" y="0"/>
          <a:ext cx="0" cy="0"/>
          <a:chOff x="0" y="0"/>
          <a:chExt cx="0" cy="0"/>
        </a:xfrm>
      </p:grpSpPr>
      <p:sp>
        <p:nvSpPr>
          <p:cNvPr id="1813" name="Google Shape;1813;p2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4" name="Google Shape;1814;p2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 name="Google Shape;1815;p2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6" name="Google Shape;1816;p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7" name="Google Shape;1817;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8" name="Google Shape;1818;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9" name="Google Shape;1819;p226"/>
          <p:cNvGrpSpPr/>
          <p:nvPr/>
        </p:nvGrpSpPr>
        <p:grpSpPr>
          <a:xfrm>
            <a:off x="7191542" y="1"/>
            <a:ext cx="5000459" cy="1425992"/>
            <a:chOff x="7191542" y="1"/>
            <a:chExt cx="5000459" cy="1425992"/>
          </a:xfrm>
        </p:grpSpPr>
        <p:pic>
          <p:nvPicPr>
            <p:cNvPr id="1820" name="Google Shape;1820;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21" name="Google Shape;1821;p226"/>
            <p:cNvGrpSpPr/>
            <p:nvPr/>
          </p:nvGrpSpPr>
          <p:grpSpPr>
            <a:xfrm>
              <a:off x="7191542" y="1"/>
              <a:ext cx="5000459" cy="1425992"/>
              <a:chOff x="7186272" y="0"/>
              <a:chExt cx="5005729" cy="1427495"/>
            </a:xfrm>
          </p:grpSpPr>
          <p:sp>
            <p:nvSpPr>
              <p:cNvPr id="1822" name="Google Shape;1822;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3" name="Google Shape;1823;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4" name="Google Shape;1824;p2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7383369"/>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37494359"/>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18513124"/>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6213570"/>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69224175"/>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8570507"/>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7559987"/>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9590729"/>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75737632"/>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684457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97"/>
        <p:cNvGrpSpPr/>
        <p:nvPr/>
      </p:nvGrpSpPr>
      <p:grpSpPr>
        <a:xfrm>
          <a:off x="0" y="0"/>
          <a:ext cx="0" cy="0"/>
          <a:chOff x="0" y="0"/>
          <a:chExt cx="0" cy="0"/>
        </a:xfrm>
      </p:grpSpPr>
      <p:grpSp>
        <p:nvGrpSpPr>
          <p:cNvPr id="198" name="Google Shape;198;p74"/>
          <p:cNvGrpSpPr/>
          <p:nvPr/>
        </p:nvGrpSpPr>
        <p:grpSpPr>
          <a:xfrm>
            <a:off x="7191542" y="1"/>
            <a:ext cx="5000459" cy="1425992"/>
            <a:chOff x="7191542" y="1"/>
            <a:chExt cx="5000459" cy="1425992"/>
          </a:xfrm>
        </p:grpSpPr>
        <p:pic>
          <p:nvPicPr>
            <p:cNvPr id="199" name="Google Shape;199;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74"/>
            <p:cNvGrpSpPr/>
            <p:nvPr/>
          </p:nvGrpSpPr>
          <p:grpSpPr>
            <a:xfrm>
              <a:off x="7191542" y="1"/>
              <a:ext cx="5000459" cy="1425992"/>
              <a:chOff x="7186272" y="0"/>
              <a:chExt cx="5005729" cy="1427495"/>
            </a:xfrm>
          </p:grpSpPr>
          <p:sp>
            <p:nvSpPr>
              <p:cNvPr id="201" name="Google Shape;201;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5" name="Google Shape;205;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6" name="Google Shape;206;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825"/>
        <p:cNvGrpSpPr/>
        <p:nvPr/>
      </p:nvGrpSpPr>
      <p:grpSpPr>
        <a:xfrm>
          <a:off x="0" y="0"/>
          <a:ext cx="0" cy="0"/>
          <a:chOff x="0" y="0"/>
          <a:chExt cx="0" cy="0"/>
        </a:xfrm>
      </p:grpSpPr>
      <p:sp>
        <p:nvSpPr>
          <p:cNvPr id="1826" name="Google Shape;1826;p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27" name="Google Shape;1827;p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8" name="Google Shape;1828;p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9" name="Google Shape;1829;p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0" name="Google Shape;1830;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1" name="Google Shape;1831;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2" name="Google Shape;1832;p227"/>
          <p:cNvGrpSpPr/>
          <p:nvPr/>
        </p:nvGrpSpPr>
        <p:grpSpPr>
          <a:xfrm>
            <a:off x="7191542" y="1"/>
            <a:ext cx="5000459" cy="1425992"/>
            <a:chOff x="7191542" y="1"/>
            <a:chExt cx="5000459" cy="1425992"/>
          </a:xfrm>
        </p:grpSpPr>
        <p:pic>
          <p:nvPicPr>
            <p:cNvPr id="1833" name="Google Shape;1833;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34" name="Google Shape;1834;p227"/>
            <p:cNvGrpSpPr/>
            <p:nvPr/>
          </p:nvGrpSpPr>
          <p:grpSpPr>
            <a:xfrm>
              <a:off x="7191542" y="1"/>
              <a:ext cx="5000459" cy="1425992"/>
              <a:chOff x="7186272" y="0"/>
              <a:chExt cx="5005729" cy="1427495"/>
            </a:xfrm>
          </p:grpSpPr>
          <p:sp>
            <p:nvSpPr>
              <p:cNvPr id="1835" name="Google Shape;1835;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6" name="Google Shape;1836;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37" name="Google Shape;1837;p2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30477749"/>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07485047"/>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111319633"/>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48862015"/>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5354239"/>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87278245"/>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2371149"/>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3136956"/>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1950852"/>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1703756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38"/>
        <p:cNvGrpSpPr/>
        <p:nvPr/>
      </p:nvGrpSpPr>
      <p:grpSpPr>
        <a:xfrm>
          <a:off x="0" y="0"/>
          <a:ext cx="0" cy="0"/>
          <a:chOff x="0" y="0"/>
          <a:chExt cx="0" cy="0"/>
        </a:xfrm>
      </p:grpSpPr>
      <p:sp>
        <p:nvSpPr>
          <p:cNvPr id="1839" name="Google Shape;1839;p2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0" name="Google Shape;1840;p2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41" name="Google Shape;1841;p2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42" name="Google Shape;1842;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3" name="Google Shape;1843;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2426903"/>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7000424"/>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3003855"/>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28236372"/>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51342322"/>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46101904"/>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51872616"/>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810539"/>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3690428"/>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3321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844"/>
        <p:cNvGrpSpPr/>
        <p:nvPr/>
      </p:nvGrpSpPr>
      <p:grpSpPr>
        <a:xfrm>
          <a:off x="0" y="0"/>
          <a:ext cx="0" cy="0"/>
          <a:chOff x="0" y="0"/>
          <a:chExt cx="0" cy="0"/>
        </a:xfrm>
      </p:grpSpPr>
      <p:sp>
        <p:nvSpPr>
          <p:cNvPr id="1845" name="Google Shape;1845;p2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46" name="Google Shape;1846;p2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7" name="Google Shape;1847;p2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48" name="Google Shape;1848;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9" name="Google Shape;1849;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50" name="Google Shape;1850;p2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51" name="Google Shape;1851;p2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52" name="Google Shape;1852;p2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53" name="Google Shape;1853;p2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1844365"/>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4436177"/>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92701157"/>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5688689"/>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347199501"/>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9938283"/>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99597982"/>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3013903"/>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2819691"/>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513650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854"/>
        <p:cNvGrpSpPr/>
        <p:nvPr/>
      </p:nvGrpSpPr>
      <p:grpSpPr>
        <a:xfrm>
          <a:off x="0" y="0"/>
          <a:ext cx="0" cy="0"/>
          <a:chOff x="0" y="0"/>
          <a:chExt cx="0" cy="0"/>
        </a:xfrm>
      </p:grpSpPr>
      <p:sp>
        <p:nvSpPr>
          <p:cNvPr id="1855" name="Google Shape;1855;p2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6" name="Google Shape;1856;p2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7" name="Google Shape;1857;p2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58" name="Google Shape;1858;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9" name="Google Shape;1859;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60" name="Google Shape;1860;p2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1" name="Google Shape;1861;p2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2" name="Google Shape;1862;p2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3" name="Google Shape;1863;p2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62490731"/>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66276271"/>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5133114"/>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41854637"/>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5836256"/>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15597943"/>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5888807"/>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41717721"/>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5430112"/>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737671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864"/>
        <p:cNvGrpSpPr/>
        <p:nvPr/>
      </p:nvGrpSpPr>
      <p:grpSpPr>
        <a:xfrm>
          <a:off x="0" y="0"/>
          <a:ext cx="0" cy="0"/>
          <a:chOff x="0" y="0"/>
          <a:chExt cx="0" cy="0"/>
        </a:xfrm>
      </p:grpSpPr>
      <p:sp>
        <p:nvSpPr>
          <p:cNvPr id="1865" name="Google Shape;1865;p2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6" name="Google Shape;1866;p2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7" name="Google Shape;1867;p2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8" name="Google Shape;1868;p2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9" name="Google Shape;1869;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3033592"/>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6836063"/>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21870127"/>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43556780"/>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03615648"/>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32728903"/>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22986069"/>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9864424"/>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776503"/>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257780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870"/>
        <p:cNvGrpSpPr/>
        <p:nvPr/>
      </p:nvGrpSpPr>
      <p:grpSpPr>
        <a:xfrm>
          <a:off x="0" y="0"/>
          <a:ext cx="0" cy="0"/>
          <a:chOff x="0" y="0"/>
          <a:chExt cx="0" cy="0"/>
        </a:xfrm>
      </p:grpSpPr>
      <p:sp>
        <p:nvSpPr>
          <p:cNvPr id="1871" name="Google Shape;1871;p2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872" name="Google Shape;1872;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73" name="Google Shape;1873;p2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4" name="Google Shape;1874;p2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5" name="Google Shape;1875;p2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84701829"/>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3961309"/>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55204284"/>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02239573"/>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11866777"/>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20434289"/>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42687790"/>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2849045"/>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0352390"/>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859437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876"/>
        <p:cNvGrpSpPr/>
        <p:nvPr/>
      </p:nvGrpSpPr>
      <p:grpSpPr>
        <a:xfrm>
          <a:off x="0" y="0"/>
          <a:ext cx="0" cy="0"/>
          <a:chOff x="0" y="0"/>
          <a:chExt cx="0" cy="0"/>
        </a:xfrm>
      </p:grpSpPr>
      <p:sp>
        <p:nvSpPr>
          <p:cNvPr id="1877" name="Google Shape;1877;p2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8" name="Google Shape;1878;p2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9" name="Google Shape;1879;p2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0" name="Google Shape;1880;p2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2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82" name="Google Shape;1882;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43569619"/>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80054468"/>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64377029"/>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52519186"/>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968963"/>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24584227"/>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6240603"/>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1923424"/>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4726736"/>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49636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883"/>
        <p:cNvGrpSpPr/>
        <p:nvPr/>
      </p:nvGrpSpPr>
      <p:grpSpPr>
        <a:xfrm>
          <a:off x="0" y="0"/>
          <a:ext cx="0" cy="0"/>
          <a:chOff x="0" y="0"/>
          <a:chExt cx="0" cy="0"/>
        </a:xfrm>
      </p:grpSpPr>
      <p:sp>
        <p:nvSpPr>
          <p:cNvPr id="1884" name="Google Shape;1884;p2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2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87" name="Google Shape;1887;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8" name="Google Shape;1888;p2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89" name="Google Shape;1889;p2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0" name="Google Shape;1890;p2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1" name="Google Shape;1891;p2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2" name="Google Shape;1892;p2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9070974"/>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14448420"/>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2425340"/>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8519184"/>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64022546"/>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6501162"/>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73477300"/>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5592696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88336091"/>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10800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893"/>
        <p:cNvGrpSpPr/>
        <p:nvPr/>
      </p:nvGrpSpPr>
      <p:grpSpPr>
        <a:xfrm>
          <a:off x="0" y="0"/>
          <a:ext cx="0" cy="0"/>
          <a:chOff x="0" y="0"/>
          <a:chExt cx="0" cy="0"/>
        </a:xfrm>
      </p:grpSpPr>
      <p:sp>
        <p:nvSpPr>
          <p:cNvPr id="1894" name="Google Shape;1894;p2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5" name="Google Shape;1895;p2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96" name="Google Shape;1896;p2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97" name="Google Shape;1897;p2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8" name="Google Shape;1898;p2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6728645"/>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144584"/>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8831982"/>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36356861"/>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99999329"/>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73033410"/>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306054"/>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41085810"/>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5184080"/>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625143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899"/>
        <p:cNvGrpSpPr/>
        <p:nvPr/>
      </p:nvGrpSpPr>
      <p:grpSpPr>
        <a:xfrm>
          <a:off x="0" y="0"/>
          <a:ext cx="0" cy="0"/>
          <a:chOff x="0" y="0"/>
          <a:chExt cx="0" cy="0"/>
        </a:xfrm>
      </p:grpSpPr>
      <p:sp>
        <p:nvSpPr>
          <p:cNvPr id="1900" name="Google Shape;1900;p2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01" name="Google Shape;1901;p2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02" name="Google Shape;1902;p2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03" name="Google Shape;1903;p2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4" name="Google Shape;1904;p2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9192655"/>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0803618"/>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252282"/>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0619218"/>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61354566"/>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8643919"/>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4957818"/>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417007074"/>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29504743"/>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56032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07"/>
        <p:cNvGrpSpPr/>
        <p:nvPr/>
      </p:nvGrpSpPr>
      <p:grpSpPr>
        <a:xfrm>
          <a:off x="0" y="0"/>
          <a:ext cx="0" cy="0"/>
          <a:chOff x="0" y="0"/>
          <a:chExt cx="0" cy="0"/>
        </a:xfrm>
      </p:grpSpPr>
      <p:grpSp>
        <p:nvGrpSpPr>
          <p:cNvPr id="208" name="Google Shape;208;p75"/>
          <p:cNvGrpSpPr/>
          <p:nvPr/>
        </p:nvGrpSpPr>
        <p:grpSpPr>
          <a:xfrm>
            <a:off x="0" y="0"/>
            <a:ext cx="12192000" cy="2148830"/>
            <a:chOff x="0" y="0"/>
            <a:chExt cx="12192000" cy="2148830"/>
          </a:xfrm>
        </p:grpSpPr>
        <p:sp>
          <p:nvSpPr>
            <p:cNvPr id="209" name="Google Shape;209;p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 name="Google Shape;210;p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1" name="Google Shape;211;p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2" name="Google Shape;212;p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 name="Google Shape;213;p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4" name="Google Shape;214;p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 name="Google Shape;215;p7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905"/>
        <p:cNvGrpSpPr/>
        <p:nvPr/>
      </p:nvGrpSpPr>
      <p:grpSpPr>
        <a:xfrm>
          <a:off x="0" y="0"/>
          <a:ext cx="0" cy="0"/>
          <a:chOff x="0" y="0"/>
          <a:chExt cx="0" cy="0"/>
        </a:xfrm>
      </p:grpSpPr>
      <p:sp>
        <p:nvSpPr>
          <p:cNvPr id="1906" name="Google Shape;1906;p2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07" name="Google Shape;1907;p2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08" name="Google Shape;1908;p2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2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 name="Google Shape;1910;p2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1" name="Google Shape;1911;p2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446104"/>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8864154"/>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85680480"/>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5923872"/>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8879814"/>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2790911"/>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7812639"/>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34828976"/>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55193249"/>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2395695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912"/>
        <p:cNvGrpSpPr/>
        <p:nvPr/>
      </p:nvGrpSpPr>
      <p:grpSpPr>
        <a:xfrm>
          <a:off x="0" y="0"/>
          <a:ext cx="0" cy="0"/>
          <a:chOff x="0" y="0"/>
          <a:chExt cx="0" cy="0"/>
        </a:xfrm>
      </p:grpSpPr>
      <p:sp>
        <p:nvSpPr>
          <p:cNvPr id="1913" name="Google Shape;1913;p2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4" name="Google Shape;1914;p2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5" name="Google Shape;1915;p2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16" name="Google Shape;1916;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7" name="Google Shape;1917;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18" name="Google Shape;1918;p2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19" name="Google Shape;1919;p2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20" name="Google Shape;1920;p2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21" name="Google Shape;1921;p2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61011501"/>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82208434"/>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21591900"/>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9668945"/>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73745238"/>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05812660"/>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37767285"/>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011800"/>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51138056"/>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193784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922"/>
        <p:cNvGrpSpPr/>
        <p:nvPr/>
      </p:nvGrpSpPr>
      <p:grpSpPr>
        <a:xfrm>
          <a:off x="0" y="0"/>
          <a:ext cx="0" cy="0"/>
          <a:chOff x="0" y="0"/>
          <a:chExt cx="0" cy="0"/>
        </a:xfrm>
      </p:grpSpPr>
      <p:sp>
        <p:nvSpPr>
          <p:cNvPr id="1923" name="Google Shape;1923;p2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 name="Google Shape;1924;p2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 name="Google Shape;1925;p2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26" name="Google Shape;1926;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7" name="Google Shape;1927;p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28" name="Google Shape;1928;p2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29" name="Google Shape;1929;p2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30" name="Google Shape;1930;p2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31" name="Google Shape;1931;p2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3332443"/>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39175586"/>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26484158"/>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61656251"/>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9010660"/>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74770431"/>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34872425"/>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9168750"/>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589390"/>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713821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932"/>
        <p:cNvGrpSpPr/>
        <p:nvPr/>
      </p:nvGrpSpPr>
      <p:grpSpPr>
        <a:xfrm>
          <a:off x="0" y="0"/>
          <a:ext cx="0" cy="0"/>
          <a:chOff x="0" y="0"/>
          <a:chExt cx="0" cy="0"/>
        </a:xfrm>
      </p:grpSpPr>
      <p:sp>
        <p:nvSpPr>
          <p:cNvPr id="1933" name="Google Shape;1933;p2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 name="Google Shape;1934;p2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5" name="Google Shape;1935;p2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36" name="Google Shape;1936;p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7" name="Google Shape;1937;p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38" name="Google Shape;1938;p2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39" name="Google Shape;1939;p2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40" name="Google Shape;1940;p2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1" name="Google Shape;1941;p2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0508736"/>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10423002"/>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5695429"/>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0743497"/>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516771824"/>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54001147"/>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5155414"/>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37948806"/>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61747099"/>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11973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942"/>
        <p:cNvGrpSpPr/>
        <p:nvPr/>
      </p:nvGrpSpPr>
      <p:grpSpPr>
        <a:xfrm>
          <a:off x="0" y="0"/>
          <a:ext cx="0" cy="0"/>
          <a:chOff x="0" y="0"/>
          <a:chExt cx="0" cy="0"/>
        </a:xfrm>
      </p:grpSpPr>
      <p:sp>
        <p:nvSpPr>
          <p:cNvPr id="1943" name="Google Shape;1943;p2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4" name="Google Shape;1944;p2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5" name="Google Shape;1945;p2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6" name="Google Shape;1946;p2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7" name="Google Shape;1947;p2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17721270"/>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193474"/>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53326298"/>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34529114"/>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58926623"/>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6012738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30986952"/>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55063641"/>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94349538"/>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8098061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948"/>
        <p:cNvGrpSpPr/>
        <p:nvPr/>
      </p:nvGrpSpPr>
      <p:grpSpPr>
        <a:xfrm>
          <a:off x="0" y="0"/>
          <a:ext cx="0" cy="0"/>
          <a:chOff x="0" y="0"/>
          <a:chExt cx="0" cy="0"/>
        </a:xfrm>
      </p:grpSpPr>
      <p:sp>
        <p:nvSpPr>
          <p:cNvPr id="1949" name="Google Shape;1949;p2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50" name="Google Shape;1950;p2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51" name="Google Shape;1951;p2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2" name="Google Shape;1952;p2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3" name="Google Shape;1953;p2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82937961"/>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73491892"/>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5172651"/>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23640599"/>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4802309"/>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p:cSld name="4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9006655"/>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132520"/>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475274915"/>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34045505"/>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6670269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954"/>
        <p:cNvGrpSpPr/>
        <p:nvPr/>
      </p:nvGrpSpPr>
      <p:grpSpPr>
        <a:xfrm>
          <a:off x="0" y="0"/>
          <a:ext cx="0" cy="0"/>
          <a:chOff x="0" y="0"/>
          <a:chExt cx="0" cy="0"/>
        </a:xfrm>
      </p:grpSpPr>
      <p:sp>
        <p:nvSpPr>
          <p:cNvPr id="1955" name="Google Shape;1955;p2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6" name="Google Shape;1956;p2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7" name="Google Shape;1957;p2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2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 name="Google Shape;1959;p2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60" name="Google Shape;1960;p2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4869227"/>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06431964"/>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5517912"/>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46383661"/>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42550676"/>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03909923"/>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56721906"/>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46258193"/>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45071701"/>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6424142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961"/>
        <p:cNvGrpSpPr/>
        <p:nvPr/>
      </p:nvGrpSpPr>
      <p:grpSpPr>
        <a:xfrm>
          <a:off x="0" y="0"/>
          <a:ext cx="0" cy="0"/>
          <a:chOff x="0" y="0"/>
          <a:chExt cx="0" cy="0"/>
        </a:xfrm>
      </p:grpSpPr>
      <p:sp>
        <p:nvSpPr>
          <p:cNvPr id="1962" name="Google Shape;1962;p2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3" name="Google Shape;1963;p2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4" name="Google Shape;1964;p2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65" name="Google Shape;1965;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6" name="Google Shape;1966;p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67" name="Google Shape;1967;p2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68" name="Google Shape;1968;p2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69" name="Google Shape;1969;p2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0" name="Google Shape;1970;p2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15235633"/>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10378786"/>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5414295"/>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0702829"/>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693995"/>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79787905"/>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6511234"/>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38857188"/>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821624"/>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2839203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971"/>
        <p:cNvGrpSpPr/>
        <p:nvPr/>
      </p:nvGrpSpPr>
      <p:grpSpPr>
        <a:xfrm>
          <a:off x="0" y="0"/>
          <a:ext cx="0" cy="0"/>
          <a:chOff x="0" y="0"/>
          <a:chExt cx="0" cy="0"/>
        </a:xfrm>
      </p:grpSpPr>
      <p:sp>
        <p:nvSpPr>
          <p:cNvPr id="1972" name="Google Shape;1972;p2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3" name="Google Shape;1973;p2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4" name="Google Shape;1974;p2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5" name="Google Shape;1975;p2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76" name="Google Shape;1976;p2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38943491"/>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28153098"/>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9098865"/>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5617616"/>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70211"/>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331164492"/>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620080461"/>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83903235"/>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4904474"/>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7659989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977"/>
        <p:cNvGrpSpPr/>
        <p:nvPr/>
      </p:nvGrpSpPr>
      <p:grpSpPr>
        <a:xfrm>
          <a:off x="0" y="0"/>
          <a:ext cx="0" cy="0"/>
          <a:chOff x="0" y="0"/>
          <a:chExt cx="0" cy="0"/>
        </a:xfrm>
      </p:grpSpPr>
      <p:sp>
        <p:nvSpPr>
          <p:cNvPr id="1978" name="Google Shape;1978;p2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79" name="Google Shape;1979;p2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80" name="Google Shape;1980;p2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81" name="Google Shape;1981;p2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2" name="Google Shape;1982;p2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2143237754"/>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22745591"/>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94952034"/>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17367303"/>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29658065"/>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5012323"/>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62604060"/>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965203"/>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1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83108333"/>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9806744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16"/>
        <p:cNvGrpSpPr/>
        <p:nvPr/>
      </p:nvGrpSpPr>
      <p:grpSpPr>
        <a:xfrm>
          <a:off x="0" y="0"/>
          <a:ext cx="0" cy="0"/>
          <a:chOff x="0" y="0"/>
          <a:chExt cx="0" cy="0"/>
        </a:xfrm>
      </p:grpSpPr>
      <p:sp>
        <p:nvSpPr>
          <p:cNvPr id="217" name="Google Shape;217;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8" name="Google Shape;218;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9" name="Google Shape;21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0" name="Google Shape;220;p76"/>
          <p:cNvGrpSpPr/>
          <p:nvPr/>
        </p:nvGrpSpPr>
        <p:grpSpPr>
          <a:xfrm>
            <a:off x="7191542" y="1"/>
            <a:ext cx="5000459" cy="1425992"/>
            <a:chOff x="7191542" y="1"/>
            <a:chExt cx="5000459" cy="1425992"/>
          </a:xfrm>
        </p:grpSpPr>
        <p:pic>
          <p:nvPicPr>
            <p:cNvPr id="221" name="Google Shape;221;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 name="Google Shape;222;p76"/>
            <p:cNvGrpSpPr/>
            <p:nvPr/>
          </p:nvGrpSpPr>
          <p:grpSpPr>
            <a:xfrm>
              <a:off x="7191542" y="1"/>
              <a:ext cx="5000459" cy="1425992"/>
              <a:chOff x="7186272" y="0"/>
              <a:chExt cx="5005729" cy="1427495"/>
            </a:xfrm>
          </p:grpSpPr>
          <p:sp>
            <p:nvSpPr>
              <p:cNvPr id="223" name="Google Shape;223;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983"/>
        <p:cNvGrpSpPr/>
        <p:nvPr/>
      </p:nvGrpSpPr>
      <p:grpSpPr>
        <a:xfrm>
          <a:off x="0" y="0"/>
          <a:ext cx="0" cy="0"/>
          <a:chOff x="0" y="0"/>
          <a:chExt cx="0" cy="0"/>
        </a:xfrm>
      </p:grpSpPr>
      <p:sp>
        <p:nvSpPr>
          <p:cNvPr id="1984" name="Google Shape;1984;p2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85" name="Google Shape;1985;p2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86" name="Google Shape;1986;p2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7" name="Google Shape;1987;p2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8" name="Google Shape;1988;p2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9" name="Google Shape;1989;p2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84466008"/>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2724464"/>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95924573"/>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512981320"/>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9416269"/>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927255249"/>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2982232"/>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1342032"/>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5310732"/>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421121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990"/>
        <p:cNvGrpSpPr/>
        <p:nvPr/>
      </p:nvGrpSpPr>
      <p:grpSpPr>
        <a:xfrm>
          <a:off x="0" y="0"/>
          <a:ext cx="0" cy="0"/>
          <a:chOff x="0" y="0"/>
          <a:chExt cx="0" cy="0"/>
        </a:xfrm>
      </p:grpSpPr>
      <p:sp>
        <p:nvSpPr>
          <p:cNvPr id="1991" name="Google Shape;1991;p24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2" name="Google Shape;1992;p24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93" name="Google Shape;1993;p24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94" name="Google Shape;1994;p24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95" name="Google Shape;1995;p2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35990629"/>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5347626"/>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48698246"/>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898450"/>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54886669"/>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7621583"/>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2741771"/>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96735663"/>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67559140"/>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0011157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996"/>
        <p:cNvGrpSpPr/>
        <p:nvPr/>
      </p:nvGrpSpPr>
      <p:grpSpPr>
        <a:xfrm>
          <a:off x="0" y="0"/>
          <a:ext cx="0" cy="0"/>
          <a:chOff x="0" y="0"/>
          <a:chExt cx="0" cy="0"/>
        </a:xfrm>
      </p:grpSpPr>
      <p:sp>
        <p:nvSpPr>
          <p:cNvPr id="1997" name="Google Shape;1997;p24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98" name="Google Shape;1998;p2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99" name="Google Shape;1999;p24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0" name="Google Shape;2000;p24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1" name="Google Shape;2001;p24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11399149"/>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301916349"/>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597187"/>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63298215"/>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8352389"/>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029477706"/>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98572458"/>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62820087"/>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97060737"/>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8279789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2002"/>
        <p:cNvGrpSpPr/>
        <p:nvPr/>
      </p:nvGrpSpPr>
      <p:grpSpPr>
        <a:xfrm>
          <a:off x="0" y="0"/>
          <a:ext cx="0" cy="0"/>
          <a:chOff x="0" y="0"/>
          <a:chExt cx="0" cy="0"/>
        </a:xfrm>
      </p:grpSpPr>
      <p:sp>
        <p:nvSpPr>
          <p:cNvPr id="2003" name="Google Shape;2003;p2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4" name="Google Shape;2004;p2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5" name="Google Shape;2005;p25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6" name="Google Shape;2006;p25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7" name="Google Shape;2007;p25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08" name="Google Shape;2008;p2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627846829"/>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85619761"/>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2000946"/>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1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3277771249"/>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1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854491622"/>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75300253"/>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98667293"/>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5420291"/>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839457270"/>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1584382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2009"/>
        <p:cNvGrpSpPr/>
        <p:nvPr/>
      </p:nvGrpSpPr>
      <p:grpSpPr>
        <a:xfrm>
          <a:off x="0" y="0"/>
          <a:ext cx="0" cy="0"/>
          <a:chOff x="0" y="0"/>
          <a:chExt cx="0" cy="0"/>
        </a:xfrm>
      </p:grpSpPr>
      <p:sp>
        <p:nvSpPr>
          <p:cNvPr id="2010" name="Google Shape;2010;p2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 name="Google Shape;2011;p2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2" name="Google Shape;2012;p2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13" name="Google Shape;2013;p2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4" name="Google Shape;2014;p2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15" name="Google Shape;2015;p2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16" name="Google Shape;2016;p2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17" name="Google Shape;2017;p2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18" name="Google Shape;2018;p25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51918"/>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55804150"/>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73828263"/>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45332133"/>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93222834"/>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0543303"/>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5490416"/>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17385"/>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8627874"/>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4259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2019"/>
        <p:cNvGrpSpPr/>
        <p:nvPr/>
      </p:nvGrpSpPr>
      <p:grpSpPr>
        <a:xfrm>
          <a:off x="0" y="0"/>
          <a:ext cx="0" cy="0"/>
          <a:chOff x="0" y="0"/>
          <a:chExt cx="0" cy="0"/>
        </a:xfrm>
      </p:grpSpPr>
      <p:sp>
        <p:nvSpPr>
          <p:cNvPr id="2020" name="Google Shape;2020;p25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 name="Google Shape;2021;p25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2" name="Google Shape;2022;p2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23" name="Google Shape;2023;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4" name="Google Shape;2024;p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25" name="Google Shape;2025;p25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6" name="Google Shape;2026;p25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7" name="Google Shape;2027;p25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28" name="Google Shape;2028;p25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5193760"/>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18647159"/>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867918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29"/>
        <p:cNvGrpSpPr/>
        <p:nvPr/>
      </p:nvGrpSpPr>
      <p:grpSpPr>
        <a:xfrm>
          <a:off x="0" y="0"/>
          <a:ext cx="0" cy="0"/>
          <a:chOff x="0" y="0"/>
          <a:chExt cx="0" cy="0"/>
        </a:xfrm>
      </p:grpSpPr>
      <p:sp>
        <p:nvSpPr>
          <p:cNvPr id="2030" name="Google Shape;2030;p25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1" name="Google Shape;2031;p2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2" name="Google Shape;2032;p2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3" name="Google Shape;2033;p25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34" name="Google Shape;2034;p2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35"/>
        <p:cNvGrpSpPr/>
        <p:nvPr/>
      </p:nvGrpSpPr>
      <p:grpSpPr>
        <a:xfrm>
          <a:off x="0" y="0"/>
          <a:ext cx="0" cy="0"/>
          <a:chOff x="0" y="0"/>
          <a:chExt cx="0" cy="0"/>
        </a:xfrm>
      </p:grpSpPr>
      <p:sp>
        <p:nvSpPr>
          <p:cNvPr id="2036" name="Google Shape;2036;p2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37" name="Google Shape;2037;p2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38" name="Google Shape;2038;p2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9" name="Google Shape;2039;p25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0" name="Google Shape;2040;p25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41"/>
        <p:cNvGrpSpPr/>
        <p:nvPr/>
      </p:nvGrpSpPr>
      <p:grpSpPr>
        <a:xfrm>
          <a:off x="0" y="0"/>
          <a:ext cx="0" cy="0"/>
          <a:chOff x="0" y="0"/>
          <a:chExt cx="0" cy="0"/>
        </a:xfrm>
      </p:grpSpPr>
      <p:sp>
        <p:nvSpPr>
          <p:cNvPr id="2042" name="Google Shape;2042;p2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3" name="Google Shape;2043;p2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4" name="Google Shape;2044;p25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5" name="Google Shape;2045;p25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 name="Google Shape;2046;p25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47" name="Google Shape;2047;p2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0">
    <p:spTree>
      <p:nvGrpSpPr>
        <p:cNvPr id="1" name="Shape 2048"/>
        <p:cNvGrpSpPr/>
        <p:nvPr/>
      </p:nvGrpSpPr>
      <p:grpSpPr>
        <a:xfrm>
          <a:off x="0" y="0"/>
          <a:ext cx="0" cy="0"/>
          <a:chOff x="0" y="0"/>
          <a:chExt cx="0" cy="0"/>
        </a:xfrm>
      </p:grpSpPr>
      <p:sp>
        <p:nvSpPr>
          <p:cNvPr id="2049" name="Google Shape;2049;p2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0" name="Google Shape;2050;p2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1" name="Google Shape;2051;p2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52" name="Google Shape;2052;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3" name="Google Shape;2053;p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54" name="Google Shape;2054;p2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55" name="Google Shape;2055;p2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56" name="Google Shape;2056;p2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7" name="Google Shape;2057;p2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3"/>
        <p:cNvGrpSpPr/>
        <p:nvPr/>
      </p:nvGrpSpPr>
      <p:grpSpPr>
        <a:xfrm>
          <a:off x="0" y="0"/>
          <a:ext cx="0" cy="0"/>
          <a:chOff x="0" y="0"/>
          <a:chExt cx="0" cy="0"/>
        </a:xfrm>
      </p:grpSpPr>
      <p:grpSp>
        <p:nvGrpSpPr>
          <p:cNvPr id="24" name="Google Shape;24;p50"/>
          <p:cNvGrpSpPr/>
          <p:nvPr/>
        </p:nvGrpSpPr>
        <p:grpSpPr>
          <a:xfrm>
            <a:off x="0" y="5020347"/>
            <a:ext cx="12192000" cy="1837653"/>
            <a:chOff x="0" y="5020347"/>
            <a:chExt cx="12192000" cy="1837653"/>
          </a:xfrm>
        </p:grpSpPr>
        <p:sp>
          <p:nvSpPr>
            <p:cNvPr id="25" name="Google Shape;25;p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 name="Google Shape;26;p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 name="Google Shape;27;p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 name="Google Shape;28;p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 name="Google Shape;29;p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25"/>
        <p:cNvGrpSpPr/>
        <p:nvPr/>
      </p:nvGrpSpPr>
      <p:grpSpPr>
        <a:xfrm>
          <a:off x="0" y="0"/>
          <a:ext cx="0" cy="0"/>
          <a:chOff x="0" y="0"/>
          <a:chExt cx="0" cy="0"/>
        </a:xfrm>
      </p:grpSpPr>
      <p:sp>
        <p:nvSpPr>
          <p:cNvPr id="226" name="Google Shape;226;p7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7" name="Google Shape;227;p7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 name="Google Shape;228;p7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9" name="Google Shape;229;p77"/>
          <p:cNvSpPr>
            <a:spLocks noGrp="1"/>
          </p:cNvSpPr>
          <p:nvPr>
            <p:ph type="pic" idx="2"/>
          </p:nvPr>
        </p:nvSpPr>
        <p:spPr>
          <a:xfrm>
            <a:off x="7118684" y="233915"/>
            <a:ext cx="5073316" cy="5943600"/>
          </a:xfrm>
          <a:prstGeom prst="rect">
            <a:avLst/>
          </a:prstGeom>
          <a:noFill/>
          <a:ln>
            <a:noFill/>
          </a:ln>
        </p:spPr>
      </p:sp>
      <p:grpSp>
        <p:nvGrpSpPr>
          <p:cNvPr id="230" name="Google Shape;230;p77"/>
          <p:cNvGrpSpPr/>
          <p:nvPr/>
        </p:nvGrpSpPr>
        <p:grpSpPr>
          <a:xfrm>
            <a:off x="0" y="5020348"/>
            <a:ext cx="12192000" cy="1837653"/>
            <a:chOff x="0" y="5020348"/>
            <a:chExt cx="12192000" cy="1837653"/>
          </a:xfrm>
        </p:grpSpPr>
        <p:sp>
          <p:nvSpPr>
            <p:cNvPr id="231" name="Google Shape;231;p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2" name="Google Shape;232;p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33" name="Google Shape;233;p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58"/>
        <p:cNvGrpSpPr/>
        <p:nvPr/>
      </p:nvGrpSpPr>
      <p:grpSpPr>
        <a:xfrm>
          <a:off x="0" y="0"/>
          <a:ext cx="0" cy="0"/>
          <a:chOff x="0" y="0"/>
          <a:chExt cx="0" cy="0"/>
        </a:xfrm>
      </p:grpSpPr>
      <p:sp>
        <p:nvSpPr>
          <p:cNvPr id="2059" name="Google Shape;2059;p2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0" name="Google Shape;2060;p2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61" name="Google Shape;2061;p2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62" name="Google Shape;2062;p2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3" name="Google Shape;2063;p2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64"/>
        <p:cNvGrpSpPr/>
        <p:nvPr/>
      </p:nvGrpSpPr>
      <p:grpSpPr>
        <a:xfrm>
          <a:off x="0" y="0"/>
          <a:ext cx="0" cy="0"/>
          <a:chOff x="0" y="0"/>
          <a:chExt cx="0" cy="0"/>
        </a:xfrm>
      </p:grpSpPr>
      <p:sp>
        <p:nvSpPr>
          <p:cNvPr id="2065" name="Google Shape;2065;p2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66" name="Google Shape;2066;p25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7" name="Google Shape;2067;p2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68" name="Google Shape;2068;p2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9" name="Google Shape;2069;p2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70"/>
        <p:cNvGrpSpPr/>
        <p:nvPr/>
      </p:nvGrpSpPr>
      <p:grpSpPr>
        <a:xfrm>
          <a:off x="0" y="0"/>
          <a:ext cx="0" cy="0"/>
          <a:chOff x="0" y="0"/>
          <a:chExt cx="0" cy="0"/>
        </a:xfrm>
      </p:grpSpPr>
      <p:sp>
        <p:nvSpPr>
          <p:cNvPr id="2071" name="Google Shape;2071;p2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72" name="Google Shape;2072;p2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73" name="Google Shape;2073;p2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 name="Google Shape;2074;p2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5" name="Google Shape;2075;p2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76" name="Google Shape;2076;p2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2077"/>
        <p:cNvGrpSpPr/>
        <p:nvPr/>
      </p:nvGrpSpPr>
      <p:grpSpPr>
        <a:xfrm>
          <a:off x="0" y="0"/>
          <a:ext cx="0" cy="0"/>
          <a:chOff x="0" y="0"/>
          <a:chExt cx="0" cy="0"/>
        </a:xfrm>
      </p:grpSpPr>
      <p:sp>
        <p:nvSpPr>
          <p:cNvPr id="2078" name="Google Shape;2078;p2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9" name="Google Shape;2079;p2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0" name="Google Shape;2080;p2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81" name="Google Shape;2081;p260"/>
          <p:cNvSpPr>
            <a:spLocks noGrp="1"/>
          </p:cNvSpPr>
          <p:nvPr>
            <p:ph type="pic" idx="2"/>
          </p:nvPr>
        </p:nvSpPr>
        <p:spPr>
          <a:xfrm>
            <a:off x="7118684" y="233915"/>
            <a:ext cx="5073316" cy="5943600"/>
          </a:xfrm>
          <a:prstGeom prst="rect">
            <a:avLst/>
          </a:prstGeom>
          <a:noFill/>
          <a:ln>
            <a:noFill/>
          </a:ln>
        </p:spPr>
      </p:sp>
      <p:grpSp>
        <p:nvGrpSpPr>
          <p:cNvPr id="2082" name="Google Shape;2082;p260"/>
          <p:cNvGrpSpPr/>
          <p:nvPr/>
        </p:nvGrpSpPr>
        <p:grpSpPr>
          <a:xfrm>
            <a:off x="0" y="5020348"/>
            <a:ext cx="12192000" cy="1837653"/>
            <a:chOff x="0" y="5020348"/>
            <a:chExt cx="12192000" cy="1837653"/>
          </a:xfrm>
        </p:grpSpPr>
        <p:sp>
          <p:nvSpPr>
            <p:cNvPr id="2083" name="Google Shape;2083;p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84" name="Google Shape;2084;p2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85" name="Google Shape;2085;p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2086"/>
        <p:cNvGrpSpPr/>
        <p:nvPr/>
      </p:nvGrpSpPr>
      <p:grpSpPr>
        <a:xfrm>
          <a:off x="0" y="0"/>
          <a:ext cx="0" cy="0"/>
          <a:chOff x="0" y="0"/>
          <a:chExt cx="0" cy="0"/>
        </a:xfrm>
      </p:grpSpPr>
      <p:grpSp>
        <p:nvGrpSpPr>
          <p:cNvPr id="2087" name="Google Shape;2087;p261"/>
          <p:cNvGrpSpPr/>
          <p:nvPr/>
        </p:nvGrpSpPr>
        <p:grpSpPr>
          <a:xfrm>
            <a:off x="0" y="5020347"/>
            <a:ext cx="12192000" cy="1837653"/>
            <a:chOff x="0" y="5020347"/>
            <a:chExt cx="12192000" cy="1837653"/>
          </a:xfrm>
        </p:grpSpPr>
        <p:sp>
          <p:nvSpPr>
            <p:cNvPr id="2088" name="Google Shape;2088;p2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89" name="Google Shape;2089;p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0" name="Google Shape;2090;p2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91" name="Google Shape;2091;p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92" name="Google Shape;2092;p2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3" name="Google Shape;2093;p2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94"/>
        <p:cNvGrpSpPr/>
        <p:nvPr/>
      </p:nvGrpSpPr>
      <p:grpSpPr>
        <a:xfrm>
          <a:off x="0" y="0"/>
          <a:ext cx="0" cy="0"/>
          <a:chOff x="0" y="0"/>
          <a:chExt cx="0" cy="0"/>
        </a:xfrm>
      </p:grpSpPr>
      <p:sp>
        <p:nvSpPr>
          <p:cNvPr id="2095" name="Google Shape;2095;p2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6" name="Google Shape;2096;p2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7" name="Google Shape;2097;p262"/>
          <p:cNvGrpSpPr/>
          <p:nvPr/>
        </p:nvGrpSpPr>
        <p:grpSpPr>
          <a:xfrm>
            <a:off x="0" y="5379426"/>
            <a:ext cx="2807368" cy="753891"/>
            <a:chOff x="0" y="5379426"/>
            <a:chExt cx="2807368" cy="753891"/>
          </a:xfrm>
        </p:grpSpPr>
        <p:sp>
          <p:nvSpPr>
            <p:cNvPr id="2098" name="Google Shape;2098;p2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9" name="Google Shape;2099;p2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00" name="Google Shape;2100;p262"/>
          <p:cNvSpPr>
            <a:spLocks noGrp="1"/>
          </p:cNvSpPr>
          <p:nvPr>
            <p:ph type="pic" idx="2"/>
          </p:nvPr>
        </p:nvSpPr>
        <p:spPr>
          <a:xfrm>
            <a:off x="2807368" y="457202"/>
            <a:ext cx="8915400" cy="5943598"/>
          </a:xfrm>
          <a:prstGeom prst="rect">
            <a:avLst/>
          </a:prstGeom>
          <a:noFill/>
          <a:ln>
            <a:noFill/>
          </a:ln>
        </p:spPr>
      </p:sp>
      <p:pic>
        <p:nvPicPr>
          <p:cNvPr id="2101" name="Google Shape;2101;p2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102"/>
        <p:cNvGrpSpPr/>
        <p:nvPr/>
      </p:nvGrpSpPr>
      <p:grpSpPr>
        <a:xfrm>
          <a:off x="0" y="0"/>
          <a:ext cx="0" cy="0"/>
          <a:chOff x="0" y="0"/>
          <a:chExt cx="0" cy="0"/>
        </a:xfrm>
      </p:grpSpPr>
      <p:sp>
        <p:nvSpPr>
          <p:cNvPr id="2103" name="Google Shape;2103;p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04" name="Google Shape;2104;p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5" name="Google Shape;2105;p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6" name="Google Shape;2106;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7" name="Google Shape;2107;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8" name="Google Shape;2108;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09" name="Google Shape;2109;p263"/>
          <p:cNvGrpSpPr/>
          <p:nvPr/>
        </p:nvGrpSpPr>
        <p:grpSpPr>
          <a:xfrm>
            <a:off x="7191542" y="1"/>
            <a:ext cx="5000459" cy="1425992"/>
            <a:chOff x="7191542" y="1"/>
            <a:chExt cx="5000459" cy="1425992"/>
          </a:xfrm>
        </p:grpSpPr>
        <p:pic>
          <p:nvPicPr>
            <p:cNvPr id="2110" name="Google Shape;2110;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1" name="Google Shape;2111;p263"/>
            <p:cNvGrpSpPr/>
            <p:nvPr/>
          </p:nvGrpSpPr>
          <p:grpSpPr>
            <a:xfrm>
              <a:off x="7191542" y="1"/>
              <a:ext cx="5000459" cy="1425992"/>
              <a:chOff x="7186272" y="0"/>
              <a:chExt cx="5005729" cy="1427495"/>
            </a:xfrm>
          </p:grpSpPr>
          <p:sp>
            <p:nvSpPr>
              <p:cNvPr id="2112" name="Google Shape;2112;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13" name="Google Shape;2113;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14" name="Google Shape;2114;p2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115"/>
        <p:cNvGrpSpPr/>
        <p:nvPr/>
      </p:nvGrpSpPr>
      <p:grpSpPr>
        <a:xfrm>
          <a:off x="0" y="0"/>
          <a:ext cx="0" cy="0"/>
          <a:chOff x="0" y="0"/>
          <a:chExt cx="0" cy="0"/>
        </a:xfrm>
      </p:grpSpPr>
      <p:sp>
        <p:nvSpPr>
          <p:cNvPr id="2116" name="Google Shape;2116;p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7" name="Google Shape;2117;p2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18" name="Google Shape;2118;p264"/>
          <p:cNvGrpSpPr/>
          <p:nvPr/>
        </p:nvGrpSpPr>
        <p:grpSpPr>
          <a:xfrm>
            <a:off x="7191542" y="1"/>
            <a:ext cx="5000459" cy="1425992"/>
            <a:chOff x="7191542" y="1"/>
            <a:chExt cx="5000459" cy="1425992"/>
          </a:xfrm>
        </p:grpSpPr>
        <p:pic>
          <p:nvPicPr>
            <p:cNvPr id="2119" name="Google Shape;2119;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20" name="Google Shape;2120;p264"/>
            <p:cNvGrpSpPr/>
            <p:nvPr/>
          </p:nvGrpSpPr>
          <p:grpSpPr>
            <a:xfrm>
              <a:off x="7191542" y="1"/>
              <a:ext cx="5000459" cy="1425992"/>
              <a:chOff x="7186272" y="0"/>
              <a:chExt cx="5005729" cy="1427495"/>
            </a:xfrm>
          </p:grpSpPr>
          <p:sp>
            <p:nvSpPr>
              <p:cNvPr id="2121" name="Google Shape;2121;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2" name="Google Shape;2122;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23" name="Google Shape;2123;p2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4" name="Google Shape;2124;p2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25" name="Google Shape;2125;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6" name="Google Shape;2126;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127"/>
        <p:cNvGrpSpPr/>
        <p:nvPr/>
      </p:nvGrpSpPr>
      <p:grpSpPr>
        <a:xfrm>
          <a:off x="0" y="0"/>
          <a:ext cx="0" cy="0"/>
          <a:chOff x="0" y="0"/>
          <a:chExt cx="0" cy="0"/>
        </a:xfrm>
      </p:grpSpPr>
      <p:grpSp>
        <p:nvGrpSpPr>
          <p:cNvPr id="2128" name="Google Shape;2128;p265"/>
          <p:cNvGrpSpPr/>
          <p:nvPr/>
        </p:nvGrpSpPr>
        <p:grpSpPr>
          <a:xfrm>
            <a:off x="7191542" y="1"/>
            <a:ext cx="5000459" cy="1425992"/>
            <a:chOff x="7191542" y="1"/>
            <a:chExt cx="5000459" cy="1425992"/>
          </a:xfrm>
        </p:grpSpPr>
        <p:pic>
          <p:nvPicPr>
            <p:cNvPr id="2129" name="Google Shape;2129;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0" name="Google Shape;2130;p265"/>
            <p:cNvGrpSpPr/>
            <p:nvPr/>
          </p:nvGrpSpPr>
          <p:grpSpPr>
            <a:xfrm>
              <a:off x="7191542" y="1"/>
              <a:ext cx="5000459" cy="1425992"/>
              <a:chOff x="7186272" y="0"/>
              <a:chExt cx="5005729" cy="1427495"/>
            </a:xfrm>
          </p:grpSpPr>
          <p:sp>
            <p:nvSpPr>
              <p:cNvPr id="2131" name="Google Shape;2131;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32" name="Google Shape;2132;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33" name="Google Shape;2133;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4" name="Google Shape;2134;p2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5" name="Google Shape;2135;p2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6" name="Google Shape;2136;p2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37" name="Google Shape;2137;p2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38" name="Google Shape;2138;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9" name="Google Shape;2139;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40" name="Google Shape;2140;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141"/>
        <p:cNvGrpSpPr/>
        <p:nvPr/>
      </p:nvGrpSpPr>
      <p:grpSpPr>
        <a:xfrm>
          <a:off x="0" y="0"/>
          <a:ext cx="0" cy="0"/>
          <a:chOff x="0" y="0"/>
          <a:chExt cx="0" cy="0"/>
        </a:xfrm>
      </p:grpSpPr>
      <p:grpSp>
        <p:nvGrpSpPr>
          <p:cNvPr id="2142" name="Google Shape;2142;p266"/>
          <p:cNvGrpSpPr/>
          <p:nvPr/>
        </p:nvGrpSpPr>
        <p:grpSpPr>
          <a:xfrm>
            <a:off x="7191542" y="1"/>
            <a:ext cx="5000459" cy="1425992"/>
            <a:chOff x="7191542" y="1"/>
            <a:chExt cx="5000459" cy="1425992"/>
          </a:xfrm>
        </p:grpSpPr>
        <p:pic>
          <p:nvPicPr>
            <p:cNvPr id="2143" name="Google Shape;2143;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4" name="Google Shape;2144;p266"/>
            <p:cNvGrpSpPr/>
            <p:nvPr/>
          </p:nvGrpSpPr>
          <p:grpSpPr>
            <a:xfrm>
              <a:off x="7191542" y="1"/>
              <a:ext cx="5000459" cy="1425992"/>
              <a:chOff x="7186272" y="0"/>
              <a:chExt cx="5005729" cy="1427495"/>
            </a:xfrm>
          </p:grpSpPr>
          <p:sp>
            <p:nvSpPr>
              <p:cNvPr id="2145" name="Google Shape;2145;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46" name="Google Shape;2146;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47" name="Google Shape;2147;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8" name="Google Shape;2148;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49" name="Google Shape;2149;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50" name="Google Shape;2150;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34"/>
        <p:cNvGrpSpPr/>
        <p:nvPr/>
      </p:nvGrpSpPr>
      <p:grpSpPr>
        <a:xfrm>
          <a:off x="0" y="0"/>
          <a:ext cx="0" cy="0"/>
          <a:chOff x="0" y="0"/>
          <a:chExt cx="0" cy="0"/>
        </a:xfrm>
      </p:grpSpPr>
      <p:sp>
        <p:nvSpPr>
          <p:cNvPr id="235" name="Google Shape;235;p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6" name="Google Shape;236;p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7" name="Google Shape;237;p78"/>
          <p:cNvGrpSpPr/>
          <p:nvPr/>
        </p:nvGrpSpPr>
        <p:grpSpPr>
          <a:xfrm>
            <a:off x="0" y="5379426"/>
            <a:ext cx="2807368" cy="753891"/>
            <a:chOff x="0" y="5379426"/>
            <a:chExt cx="2807368" cy="753891"/>
          </a:xfrm>
        </p:grpSpPr>
        <p:sp>
          <p:nvSpPr>
            <p:cNvPr id="238" name="Google Shape;238;p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39" name="Google Shape;239;p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0" name="Google Shape;240;p78"/>
          <p:cNvSpPr>
            <a:spLocks noGrp="1"/>
          </p:cNvSpPr>
          <p:nvPr>
            <p:ph type="pic" idx="2"/>
          </p:nvPr>
        </p:nvSpPr>
        <p:spPr>
          <a:xfrm>
            <a:off x="2807368" y="457202"/>
            <a:ext cx="8915400" cy="5943598"/>
          </a:xfrm>
          <a:prstGeom prst="rect">
            <a:avLst/>
          </a:prstGeom>
          <a:noFill/>
          <a:ln>
            <a:noFill/>
          </a:ln>
        </p:spPr>
      </p:sp>
      <p:pic>
        <p:nvPicPr>
          <p:cNvPr id="241" name="Google Shape;241;p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151"/>
        <p:cNvGrpSpPr/>
        <p:nvPr/>
      </p:nvGrpSpPr>
      <p:grpSpPr>
        <a:xfrm>
          <a:off x="0" y="0"/>
          <a:ext cx="0" cy="0"/>
          <a:chOff x="0" y="0"/>
          <a:chExt cx="0" cy="0"/>
        </a:xfrm>
      </p:grpSpPr>
      <p:grpSp>
        <p:nvGrpSpPr>
          <p:cNvPr id="2152" name="Google Shape;2152;p267"/>
          <p:cNvGrpSpPr/>
          <p:nvPr/>
        </p:nvGrpSpPr>
        <p:grpSpPr>
          <a:xfrm>
            <a:off x="0" y="0"/>
            <a:ext cx="12192000" cy="2148830"/>
            <a:chOff x="0" y="0"/>
            <a:chExt cx="12192000" cy="2148830"/>
          </a:xfrm>
        </p:grpSpPr>
        <p:sp>
          <p:nvSpPr>
            <p:cNvPr id="2153" name="Google Shape;2153;p2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54" name="Google Shape;2154;p2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55" name="Google Shape;2155;p2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6" name="Google Shape;2156;p2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57" name="Google Shape;2157;p2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58" name="Google Shape;2158;p2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59" name="Google Shape;2159;p2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2160"/>
        <p:cNvGrpSpPr/>
        <p:nvPr/>
      </p:nvGrpSpPr>
      <p:grpSpPr>
        <a:xfrm>
          <a:off x="0" y="0"/>
          <a:ext cx="0" cy="0"/>
          <a:chOff x="0" y="0"/>
          <a:chExt cx="0" cy="0"/>
        </a:xfrm>
      </p:grpSpPr>
      <p:sp>
        <p:nvSpPr>
          <p:cNvPr id="2161" name="Google Shape;2161;p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62" name="Google Shape;2162;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3" name="Google Shape;2163;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64" name="Google Shape;2164;p268"/>
          <p:cNvGrpSpPr/>
          <p:nvPr/>
        </p:nvGrpSpPr>
        <p:grpSpPr>
          <a:xfrm>
            <a:off x="7191542" y="1"/>
            <a:ext cx="5000459" cy="1425992"/>
            <a:chOff x="7191542" y="1"/>
            <a:chExt cx="5000459" cy="1425992"/>
          </a:xfrm>
        </p:grpSpPr>
        <p:pic>
          <p:nvPicPr>
            <p:cNvPr id="2165" name="Google Shape;2165;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66" name="Google Shape;2166;p268"/>
            <p:cNvGrpSpPr/>
            <p:nvPr/>
          </p:nvGrpSpPr>
          <p:grpSpPr>
            <a:xfrm>
              <a:off x="7191542" y="1"/>
              <a:ext cx="5000459" cy="1425992"/>
              <a:chOff x="7186272" y="0"/>
              <a:chExt cx="5005729" cy="1427495"/>
            </a:xfrm>
          </p:grpSpPr>
          <p:sp>
            <p:nvSpPr>
              <p:cNvPr id="2167" name="Google Shape;2167;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8" name="Google Shape;2168;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Cover">
  <p:cSld name="Cover 17">
    <p:spTree>
      <p:nvGrpSpPr>
        <p:cNvPr id="1" name="Shape 2169"/>
        <p:cNvGrpSpPr/>
        <p:nvPr/>
      </p:nvGrpSpPr>
      <p:grpSpPr>
        <a:xfrm>
          <a:off x="0" y="0"/>
          <a:ext cx="0" cy="0"/>
          <a:chOff x="0" y="0"/>
          <a:chExt cx="0" cy="0"/>
        </a:xfrm>
      </p:grpSpPr>
      <p:sp>
        <p:nvSpPr>
          <p:cNvPr id="2170" name="Google Shape;2170;p2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1" name="Google Shape;2171;p2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2" name="Google Shape;2172;p2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73" name="Google Shape;2173;p269"/>
          <p:cNvSpPr>
            <a:spLocks noGrp="1"/>
          </p:cNvSpPr>
          <p:nvPr>
            <p:ph type="pic" idx="2"/>
          </p:nvPr>
        </p:nvSpPr>
        <p:spPr>
          <a:xfrm>
            <a:off x="7118684" y="233915"/>
            <a:ext cx="5073316" cy="5943600"/>
          </a:xfrm>
          <a:prstGeom prst="rect">
            <a:avLst/>
          </a:prstGeom>
          <a:noFill/>
          <a:ln>
            <a:noFill/>
          </a:ln>
        </p:spPr>
      </p:sp>
      <p:grpSp>
        <p:nvGrpSpPr>
          <p:cNvPr id="2174" name="Google Shape;2174;p269"/>
          <p:cNvGrpSpPr/>
          <p:nvPr/>
        </p:nvGrpSpPr>
        <p:grpSpPr>
          <a:xfrm>
            <a:off x="0" y="5020348"/>
            <a:ext cx="12192000" cy="1837653"/>
            <a:chOff x="0" y="5020348"/>
            <a:chExt cx="12192000" cy="1837653"/>
          </a:xfrm>
        </p:grpSpPr>
        <p:sp>
          <p:nvSpPr>
            <p:cNvPr id="2175" name="Google Shape;2175;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76" name="Google Shape;2176;p2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77" name="Google Shape;2177;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2178"/>
        <p:cNvGrpSpPr/>
        <p:nvPr/>
      </p:nvGrpSpPr>
      <p:grpSpPr>
        <a:xfrm>
          <a:off x="0" y="0"/>
          <a:ext cx="0" cy="0"/>
          <a:chOff x="0" y="0"/>
          <a:chExt cx="0" cy="0"/>
        </a:xfrm>
      </p:grpSpPr>
      <p:grpSp>
        <p:nvGrpSpPr>
          <p:cNvPr id="2179" name="Google Shape;2179;p270"/>
          <p:cNvGrpSpPr/>
          <p:nvPr/>
        </p:nvGrpSpPr>
        <p:grpSpPr>
          <a:xfrm>
            <a:off x="0" y="5020347"/>
            <a:ext cx="12192000" cy="1837653"/>
            <a:chOff x="0" y="5020347"/>
            <a:chExt cx="12192000" cy="1837653"/>
          </a:xfrm>
        </p:grpSpPr>
        <p:sp>
          <p:nvSpPr>
            <p:cNvPr id="2180" name="Google Shape;2180;p2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1" name="Google Shape;2181;p2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82" name="Google Shape;2182;p2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83" name="Google Shape;2183;p2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84" name="Google Shape;2184;p2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5" name="Google Shape;2185;p2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Photo Slide">
  <p:cSld name="Photo Slide 16">
    <p:spTree>
      <p:nvGrpSpPr>
        <p:cNvPr id="1" name="Shape 2186"/>
        <p:cNvGrpSpPr/>
        <p:nvPr/>
      </p:nvGrpSpPr>
      <p:grpSpPr>
        <a:xfrm>
          <a:off x="0" y="0"/>
          <a:ext cx="0" cy="0"/>
          <a:chOff x="0" y="0"/>
          <a:chExt cx="0" cy="0"/>
        </a:xfrm>
      </p:grpSpPr>
      <p:sp>
        <p:nvSpPr>
          <p:cNvPr id="2187" name="Google Shape;2187;p2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88" name="Google Shape;2188;p2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89" name="Google Shape;2189;p271"/>
          <p:cNvGrpSpPr/>
          <p:nvPr/>
        </p:nvGrpSpPr>
        <p:grpSpPr>
          <a:xfrm>
            <a:off x="0" y="5379426"/>
            <a:ext cx="2807368" cy="753891"/>
            <a:chOff x="0" y="5379426"/>
            <a:chExt cx="2807368" cy="753891"/>
          </a:xfrm>
        </p:grpSpPr>
        <p:sp>
          <p:nvSpPr>
            <p:cNvPr id="2190" name="Google Shape;2190;p2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1" name="Google Shape;2191;p2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92" name="Google Shape;2192;p271"/>
          <p:cNvSpPr>
            <a:spLocks noGrp="1"/>
          </p:cNvSpPr>
          <p:nvPr>
            <p:ph type="pic" idx="2"/>
          </p:nvPr>
        </p:nvSpPr>
        <p:spPr>
          <a:xfrm>
            <a:off x="2807368" y="457202"/>
            <a:ext cx="8915400" cy="5943598"/>
          </a:xfrm>
          <a:prstGeom prst="rect">
            <a:avLst/>
          </a:prstGeom>
          <a:noFill/>
          <a:ln>
            <a:noFill/>
          </a:ln>
        </p:spPr>
      </p:sp>
      <p:pic>
        <p:nvPicPr>
          <p:cNvPr id="2193" name="Google Shape;2193;p2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94"/>
        <p:cNvGrpSpPr/>
        <p:nvPr/>
      </p:nvGrpSpPr>
      <p:grpSpPr>
        <a:xfrm>
          <a:off x="0" y="0"/>
          <a:ext cx="0" cy="0"/>
          <a:chOff x="0" y="0"/>
          <a:chExt cx="0" cy="0"/>
        </a:xfrm>
      </p:grpSpPr>
      <p:sp>
        <p:nvSpPr>
          <p:cNvPr id="2195" name="Google Shape;2195;p2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96" name="Google Shape;2196;p2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97" name="Google Shape;2197;p2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8" name="Google Shape;2198;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9" name="Google Shape;2199;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0" name="Google Shape;2200;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01" name="Google Shape;2201;p272"/>
          <p:cNvGrpSpPr/>
          <p:nvPr/>
        </p:nvGrpSpPr>
        <p:grpSpPr>
          <a:xfrm>
            <a:off x="7191542" y="1"/>
            <a:ext cx="5000459" cy="1425992"/>
            <a:chOff x="7191542" y="1"/>
            <a:chExt cx="5000459" cy="1425992"/>
          </a:xfrm>
        </p:grpSpPr>
        <p:pic>
          <p:nvPicPr>
            <p:cNvPr id="2202" name="Google Shape;2202;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3" name="Google Shape;2203;p272"/>
            <p:cNvGrpSpPr/>
            <p:nvPr/>
          </p:nvGrpSpPr>
          <p:grpSpPr>
            <a:xfrm>
              <a:off x="7191542" y="1"/>
              <a:ext cx="5000459" cy="1425992"/>
              <a:chOff x="7186272" y="0"/>
              <a:chExt cx="5005729" cy="1427495"/>
            </a:xfrm>
          </p:grpSpPr>
          <p:sp>
            <p:nvSpPr>
              <p:cNvPr id="2204" name="Google Shape;2204;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05" name="Google Shape;2205;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06" name="Google Shape;2206;p2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2207"/>
        <p:cNvGrpSpPr/>
        <p:nvPr/>
      </p:nvGrpSpPr>
      <p:grpSpPr>
        <a:xfrm>
          <a:off x="0" y="0"/>
          <a:ext cx="0" cy="0"/>
          <a:chOff x="0" y="0"/>
          <a:chExt cx="0" cy="0"/>
        </a:xfrm>
      </p:grpSpPr>
      <p:grpSp>
        <p:nvGrpSpPr>
          <p:cNvPr id="2208" name="Google Shape;2208;p273"/>
          <p:cNvGrpSpPr/>
          <p:nvPr/>
        </p:nvGrpSpPr>
        <p:grpSpPr>
          <a:xfrm>
            <a:off x="7191542" y="1"/>
            <a:ext cx="5000459" cy="1425992"/>
            <a:chOff x="7191542" y="1"/>
            <a:chExt cx="5000459" cy="1425992"/>
          </a:xfrm>
        </p:grpSpPr>
        <p:pic>
          <p:nvPicPr>
            <p:cNvPr id="2209" name="Google Shape;2209;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10" name="Google Shape;2210;p273"/>
            <p:cNvGrpSpPr/>
            <p:nvPr/>
          </p:nvGrpSpPr>
          <p:grpSpPr>
            <a:xfrm>
              <a:off x="7191542" y="1"/>
              <a:ext cx="5000459" cy="1425992"/>
              <a:chOff x="7186272" y="0"/>
              <a:chExt cx="5005729" cy="1427495"/>
            </a:xfrm>
          </p:grpSpPr>
          <p:sp>
            <p:nvSpPr>
              <p:cNvPr id="2211" name="Google Shape;2211;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12" name="Google Shape;2212;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13" name="Google Shape;2213;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14" name="Google Shape;2214;p2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5" name="Google Shape;2215;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6" name="Google Shape;2216;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7" name="Google Shape;2217;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2218"/>
        <p:cNvGrpSpPr/>
        <p:nvPr/>
      </p:nvGrpSpPr>
      <p:grpSpPr>
        <a:xfrm>
          <a:off x="0" y="0"/>
          <a:ext cx="0" cy="0"/>
          <a:chOff x="0" y="0"/>
          <a:chExt cx="0" cy="0"/>
        </a:xfrm>
      </p:grpSpPr>
      <p:sp>
        <p:nvSpPr>
          <p:cNvPr id="2219" name="Google Shape;2219;p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20" name="Google Shape;2220;p2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21" name="Google Shape;2221;p274"/>
          <p:cNvGrpSpPr/>
          <p:nvPr/>
        </p:nvGrpSpPr>
        <p:grpSpPr>
          <a:xfrm>
            <a:off x="7191542" y="1"/>
            <a:ext cx="5000459" cy="1425992"/>
            <a:chOff x="7191542" y="1"/>
            <a:chExt cx="5000459" cy="1425992"/>
          </a:xfrm>
        </p:grpSpPr>
        <p:pic>
          <p:nvPicPr>
            <p:cNvPr id="2222" name="Google Shape;2222;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23" name="Google Shape;2223;p274"/>
            <p:cNvGrpSpPr/>
            <p:nvPr/>
          </p:nvGrpSpPr>
          <p:grpSpPr>
            <a:xfrm>
              <a:off x="7191542" y="1"/>
              <a:ext cx="5000459" cy="1425992"/>
              <a:chOff x="7186272" y="0"/>
              <a:chExt cx="5005729" cy="1427495"/>
            </a:xfrm>
          </p:grpSpPr>
          <p:sp>
            <p:nvSpPr>
              <p:cNvPr id="2224" name="Google Shape;2224;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5" name="Google Shape;2225;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26" name="Google Shape;2226;p2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7" name="Google Shape;2227;p2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28" name="Google Shape;2228;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9" name="Google Shape;2229;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2230"/>
        <p:cNvGrpSpPr/>
        <p:nvPr/>
      </p:nvGrpSpPr>
      <p:grpSpPr>
        <a:xfrm>
          <a:off x="0" y="0"/>
          <a:ext cx="0" cy="0"/>
          <a:chOff x="0" y="0"/>
          <a:chExt cx="0" cy="0"/>
        </a:xfrm>
      </p:grpSpPr>
      <p:grpSp>
        <p:nvGrpSpPr>
          <p:cNvPr id="2231" name="Google Shape;2231;p1230"/>
          <p:cNvGrpSpPr/>
          <p:nvPr/>
        </p:nvGrpSpPr>
        <p:grpSpPr>
          <a:xfrm>
            <a:off x="7191542" y="1"/>
            <a:ext cx="5000459" cy="1425992"/>
            <a:chOff x="7191542" y="1"/>
            <a:chExt cx="5000459" cy="1425992"/>
          </a:xfrm>
        </p:grpSpPr>
        <p:pic>
          <p:nvPicPr>
            <p:cNvPr id="2232" name="Google Shape;2232;p12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3" name="Google Shape;2233;p1230"/>
            <p:cNvGrpSpPr/>
            <p:nvPr/>
          </p:nvGrpSpPr>
          <p:grpSpPr>
            <a:xfrm>
              <a:off x="7191542" y="1"/>
              <a:ext cx="5000459" cy="1425992"/>
              <a:chOff x="7186272" y="0"/>
              <a:chExt cx="5005729" cy="1427495"/>
            </a:xfrm>
          </p:grpSpPr>
          <p:sp>
            <p:nvSpPr>
              <p:cNvPr id="2234" name="Google Shape;2234;p1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35" name="Google Shape;2235;p1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36" name="Google Shape;2236;p1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7" name="Google Shape;2237;p123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38" name="Google Shape;2238;p123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9" name="Google Shape;2239;p123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40" name="Google Shape;2240;p123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41" name="Google Shape;2241;p1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42" name="Google Shape;2242;p1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3" name="Google Shape;2243;p1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2244"/>
        <p:cNvGrpSpPr/>
        <p:nvPr/>
      </p:nvGrpSpPr>
      <p:grpSpPr>
        <a:xfrm>
          <a:off x="0" y="0"/>
          <a:ext cx="0" cy="0"/>
          <a:chOff x="0" y="0"/>
          <a:chExt cx="0" cy="0"/>
        </a:xfrm>
      </p:grpSpPr>
      <p:grpSp>
        <p:nvGrpSpPr>
          <p:cNvPr id="2245" name="Google Shape;2245;p276"/>
          <p:cNvGrpSpPr/>
          <p:nvPr/>
        </p:nvGrpSpPr>
        <p:grpSpPr>
          <a:xfrm>
            <a:off x="7191542" y="1"/>
            <a:ext cx="5000459" cy="1425992"/>
            <a:chOff x="7191542" y="1"/>
            <a:chExt cx="5000459" cy="1425992"/>
          </a:xfrm>
        </p:grpSpPr>
        <p:pic>
          <p:nvPicPr>
            <p:cNvPr id="2246" name="Google Shape;2246;p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7" name="Google Shape;2247;p276"/>
            <p:cNvGrpSpPr/>
            <p:nvPr/>
          </p:nvGrpSpPr>
          <p:grpSpPr>
            <a:xfrm>
              <a:off x="7191542" y="1"/>
              <a:ext cx="5000459" cy="1425992"/>
              <a:chOff x="7186272" y="0"/>
              <a:chExt cx="5005729" cy="1427495"/>
            </a:xfrm>
          </p:grpSpPr>
          <p:sp>
            <p:nvSpPr>
              <p:cNvPr id="2248" name="Google Shape;2248;p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9" name="Google Shape;2249;p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50" name="Google Shape;2250;p2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1" name="Google Shape;2251;p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52" name="Google Shape;2252;p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53" name="Google Shape;2253;p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42"/>
        <p:cNvGrpSpPr/>
        <p:nvPr/>
      </p:nvGrpSpPr>
      <p:grpSpPr>
        <a:xfrm>
          <a:off x="0" y="0"/>
          <a:ext cx="0" cy="0"/>
          <a:chOff x="0" y="0"/>
          <a:chExt cx="0" cy="0"/>
        </a:xfrm>
      </p:grpSpPr>
      <p:sp>
        <p:nvSpPr>
          <p:cNvPr id="243" name="Google Shape;243;p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 name="Google Shape;244;p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 name="Google Shape;245;p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 name="Google Shape;246;p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 name="Google Shape;247;p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 name="Google Shape;248;p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9" name="Google Shape;249;p79"/>
          <p:cNvGrpSpPr/>
          <p:nvPr/>
        </p:nvGrpSpPr>
        <p:grpSpPr>
          <a:xfrm>
            <a:off x="7191542" y="1"/>
            <a:ext cx="5000459" cy="1425992"/>
            <a:chOff x="7191542" y="1"/>
            <a:chExt cx="5000459" cy="1425992"/>
          </a:xfrm>
        </p:grpSpPr>
        <p:pic>
          <p:nvPicPr>
            <p:cNvPr id="250" name="Google Shape;250;p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 name="Google Shape;251;p79"/>
            <p:cNvGrpSpPr/>
            <p:nvPr/>
          </p:nvGrpSpPr>
          <p:grpSpPr>
            <a:xfrm>
              <a:off x="7191542" y="1"/>
              <a:ext cx="5000459" cy="1425992"/>
              <a:chOff x="7186272" y="0"/>
              <a:chExt cx="5005729" cy="1427495"/>
            </a:xfrm>
          </p:grpSpPr>
          <p:sp>
            <p:nvSpPr>
              <p:cNvPr id="252" name="Google Shape;252;p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3" name="Google Shape;253;p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4" name="Google Shape;254;p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End">
  <p:cSld name="End 16">
    <p:spTree>
      <p:nvGrpSpPr>
        <p:cNvPr id="1" name="Shape 2254"/>
        <p:cNvGrpSpPr/>
        <p:nvPr/>
      </p:nvGrpSpPr>
      <p:grpSpPr>
        <a:xfrm>
          <a:off x="0" y="0"/>
          <a:ext cx="0" cy="0"/>
          <a:chOff x="0" y="0"/>
          <a:chExt cx="0" cy="0"/>
        </a:xfrm>
      </p:grpSpPr>
      <p:grpSp>
        <p:nvGrpSpPr>
          <p:cNvPr id="2255" name="Google Shape;2255;p277"/>
          <p:cNvGrpSpPr/>
          <p:nvPr/>
        </p:nvGrpSpPr>
        <p:grpSpPr>
          <a:xfrm>
            <a:off x="0" y="0"/>
            <a:ext cx="12192000" cy="2148830"/>
            <a:chOff x="0" y="0"/>
            <a:chExt cx="12192000" cy="2148830"/>
          </a:xfrm>
        </p:grpSpPr>
        <p:sp>
          <p:nvSpPr>
            <p:cNvPr id="2256" name="Google Shape;2256;p2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7" name="Google Shape;2257;p2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8" name="Google Shape;2258;p2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59" name="Google Shape;2259;p2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0" name="Google Shape;2260;p2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61" name="Google Shape;2261;p2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62" name="Google Shape;2262;p2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2263"/>
        <p:cNvGrpSpPr/>
        <p:nvPr/>
      </p:nvGrpSpPr>
      <p:grpSpPr>
        <a:xfrm>
          <a:off x="0" y="0"/>
          <a:ext cx="0" cy="0"/>
          <a:chOff x="0" y="0"/>
          <a:chExt cx="0" cy="0"/>
        </a:xfrm>
      </p:grpSpPr>
      <p:sp>
        <p:nvSpPr>
          <p:cNvPr id="2264" name="Google Shape;2264;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65" name="Google Shape;2265;p2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66" name="Google Shape;2266;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67" name="Google Shape;2267;p278"/>
          <p:cNvGrpSpPr/>
          <p:nvPr/>
        </p:nvGrpSpPr>
        <p:grpSpPr>
          <a:xfrm>
            <a:off x="7191542" y="1"/>
            <a:ext cx="5000459" cy="1425992"/>
            <a:chOff x="7191542" y="1"/>
            <a:chExt cx="5000459" cy="1425992"/>
          </a:xfrm>
        </p:grpSpPr>
        <p:pic>
          <p:nvPicPr>
            <p:cNvPr id="2268" name="Google Shape;2268;p2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9" name="Google Shape;2269;p278"/>
            <p:cNvGrpSpPr/>
            <p:nvPr/>
          </p:nvGrpSpPr>
          <p:grpSpPr>
            <a:xfrm>
              <a:off x="7191542" y="1"/>
              <a:ext cx="5000459" cy="1425992"/>
              <a:chOff x="7186272" y="0"/>
              <a:chExt cx="5005729" cy="1427495"/>
            </a:xfrm>
          </p:grpSpPr>
          <p:sp>
            <p:nvSpPr>
              <p:cNvPr id="2270" name="Google Shape;2270;p2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71" name="Google Shape;2271;p2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272"/>
        <p:cNvGrpSpPr/>
        <p:nvPr/>
      </p:nvGrpSpPr>
      <p:grpSpPr>
        <a:xfrm>
          <a:off x="0" y="0"/>
          <a:ext cx="0" cy="0"/>
          <a:chOff x="0" y="0"/>
          <a:chExt cx="0" cy="0"/>
        </a:xfrm>
      </p:grpSpPr>
      <p:sp>
        <p:nvSpPr>
          <p:cNvPr id="2273" name="Google Shape;2273;p27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74" name="Google Shape;2274;p27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275" name="Google Shape;2275;p279"/>
          <p:cNvGrpSpPr/>
          <p:nvPr/>
        </p:nvGrpSpPr>
        <p:grpSpPr>
          <a:xfrm>
            <a:off x="0" y="0"/>
            <a:ext cx="1862667" cy="6629400"/>
            <a:chOff x="-15876" y="0"/>
            <a:chExt cx="1927803" cy="6858000"/>
          </a:xfrm>
        </p:grpSpPr>
        <p:sp>
          <p:nvSpPr>
            <p:cNvPr id="2276" name="Google Shape;2276;p27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77" name="Google Shape;2277;p279"/>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278" name="Google Shape;2278;p27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79" name="Google Shape;2279;p27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0" name="Google Shape;2280;p27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1" name="Google Shape;2281;p27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282"/>
        <p:cNvGrpSpPr/>
        <p:nvPr/>
      </p:nvGrpSpPr>
      <p:grpSpPr>
        <a:xfrm>
          <a:off x="0" y="0"/>
          <a:ext cx="0" cy="0"/>
          <a:chOff x="0" y="0"/>
          <a:chExt cx="0" cy="0"/>
        </a:xfrm>
      </p:grpSpPr>
      <p:sp>
        <p:nvSpPr>
          <p:cNvPr id="2283" name="Google Shape;2283;p28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284" name="Google Shape;2284;p28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5" name="Google Shape;2285;p28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6" name="Google Shape;2286;p28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7" name="Google Shape;2287;p2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88" name="Google Shape;2288;p28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89"/>
        <p:cNvGrpSpPr/>
        <p:nvPr/>
      </p:nvGrpSpPr>
      <p:grpSpPr>
        <a:xfrm>
          <a:off x="0" y="0"/>
          <a:ext cx="0" cy="0"/>
          <a:chOff x="0" y="0"/>
          <a:chExt cx="0" cy="0"/>
        </a:xfrm>
      </p:grpSpPr>
      <p:grpSp>
        <p:nvGrpSpPr>
          <p:cNvPr id="2290" name="Google Shape;2290;p281"/>
          <p:cNvGrpSpPr/>
          <p:nvPr/>
        </p:nvGrpSpPr>
        <p:grpSpPr>
          <a:xfrm>
            <a:off x="7191542" y="1"/>
            <a:ext cx="5000459" cy="1425992"/>
            <a:chOff x="7191542" y="1"/>
            <a:chExt cx="5000459" cy="1425992"/>
          </a:xfrm>
        </p:grpSpPr>
        <p:pic>
          <p:nvPicPr>
            <p:cNvPr id="2291" name="Google Shape;2291;p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92" name="Google Shape;2292;p281"/>
            <p:cNvGrpSpPr/>
            <p:nvPr/>
          </p:nvGrpSpPr>
          <p:grpSpPr>
            <a:xfrm>
              <a:off x="7191542" y="1"/>
              <a:ext cx="5000459" cy="1425992"/>
              <a:chOff x="7186272" y="0"/>
              <a:chExt cx="5005729" cy="1427495"/>
            </a:xfrm>
          </p:grpSpPr>
          <p:sp>
            <p:nvSpPr>
              <p:cNvPr id="2293" name="Google Shape;2293;p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294" name="Google Shape;2294;p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295" name="Google Shape;2295;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6" name="Google Shape;2296;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7" name="Google Shape;2297;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98" name="Google Shape;2298;p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99" name="Google Shape;2299;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300"/>
        <p:cNvGrpSpPr/>
        <p:nvPr/>
      </p:nvGrpSpPr>
      <p:grpSpPr>
        <a:xfrm>
          <a:off x="0" y="0"/>
          <a:ext cx="0" cy="0"/>
          <a:chOff x="0" y="0"/>
          <a:chExt cx="0" cy="0"/>
        </a:xfrm>
      </p:grpSpPr>
      <p:sp>
        <p:nvSpPr>
          <p:cNvPr id="2301" name="Google Shape;2301;p2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02" name="Google Shape;2302;p2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03" name="Google Shape;2303;p282"/>
          <p:cNvGrpSpPr/>
          <p:nvPr/>
        </p:nvGrpSpPr>
        <p:grpSpPr>
          <a:xfrm>
            <a:off x="0" y="5379426"/>
            <a:ext cx="2807368" cy="753891"/>
            <a:chOff x="0" y="5379426"/>
            <a:chExt cx="2807368" cy="753891"/>
          </a:xfrm>
        </p:grpSpPr>
        <p:sp>
          <p:nvSpPr>
            <p:cNvPr id="2304" name="Google Shape;2304;p2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305" name="Google Shape;2305;p2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306" name="Google Shape;2306;p282"/>
          <p:cNvSpPr>
            <a:spLocks noGrp="1"/>
          </p:cNvSpPr>
          <p:nvPr>
            <p:ph type="pic" idx="2"/>
          </p:nvPr>
        </p:nvSpPr>
        <p:spPr>
          <a:xfrm>
            <a:off x="2807368" y="457202"/>
            <a:ext cx="8915400" cy="5943598"/>
          </a:xfrm>
          <a:prstGeom prst="rect">
            <a:avLst/>
          </a:prstGeom>
          <a:noFill/>
          <a:ln>
            <a:noFill/>
          </a:ln>
        </p:spPr>
      </p:sp>
      <p:pic>
        <p:nvPicPr>
          <p:cNvPr id="2307" name="Google Shape;2307;p2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308"/>
        <p:cNvGrpSpPr/>
        <p:nvPr/>
      </p:nvGrpSpPr>
      <p:grpSpPr>
        <a:xfrm>
          <a:off x="0" y="0"/>
          <a:ext cx="0" cy="0"/>
          <a:chOff x="0" y="0"/>
          <a:chExt cx="0" cy="0"/>
        </a:xfrm>
      </p:grpSpPr>
      <p:pic>
        <p:nvPicPr>
          <p:cNvPr id="2309" name="Google Shape;2309;p28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10" name="Google Shape;2310;p28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11" name="Google Shape;2311;p28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2" name="Google Shape;2312;p28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2313"/>
        <p:cNvGrpSpPr/>
        <p:nvPr/>
      </p:nvGrpSpPr>
      <p:grpSpPr>
        <a:xfrm>
          <a:off x="0" y="0"/>
          <a:ext cx="0" cy="0"/>
          <a:chOff x="0" y="0"/>
          <a:chExt cx="0" cy="0"/>
        </a:xfrm>
      </p:grpSpPr>
      <p:pic>
        <p:nvPicPr>
          <p:cNvPr id="2314" name="Google Shape;2314;p1231"/>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315" name="Google Shape;2315;p1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16" name="Google Shape;2316;p12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17" name="Google Shape;2317;p1231"/>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318"/>
        <p:cNvGrpSpPr/>
        <p:nvPr/>
      </p:nvGrpSpPr>
      <p:grpSpPr>
        <a:xfrm>
          <a:off x="0" y="0"/>
          <a:ext cx="0" cy="0"/>
          <a:chOff x="0" y="0"/>
          <a:chExt cx="0" cy="0"/>
        </a:xfrm>
      </p:grpSpPr>
      <p:pic>
        <p:nvPicPr>
          <p:cNvPr id="2319" name="Google Shape;2319;p1232"/>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20" name="Google Shape;2320;p1232"/>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1" name="Google Shape;2321;p1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22" name="Google Shape;2322;p1232"/>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323"/>
        <p:cNvGrpSpPr/>
        <p:nvPr/>
      </p:nvGrpSpPr>
      <p:grpSpPr>
        <a:xfrm>
          <a:off x="0" y="0"/>
          <a:ext cx="0" cy="0"/>
          <a:chOff x="0" y="0"/>
          <a:chExt cx="0" cy="0"/>
        </a:xfrm>
      </p:grpSpPr>
      <p:pic>
        <p:nvPicPr>
          <p:cNvPr id="2324" name="Google Shape;2324;p28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25" name="Google Shape;2325;p28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26" name="Google Shape;2326;p28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7" name="Google Shape;2327;p28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255"/>
        <p:cNvGrpSpPr/>
        <p:nvPr/>
      </p:nvGrpSpPr>
      <p:grpSpPr>
        <a:xfrm>
          <a:off x="0" y="0"/>
          <a:ext cx="0" cy="0"/>
          <a:chOff x="0" y="0"/>
          <a:chExt cx="0" cy="0"/>
        </a:xfrm>
      </p:grpSpPr>
      <p:grpSp>
        <p:nvGrpSpPr>
          <p:cNvPr id="256" name="Google Shape;256;p80"/>
          <p:cNvGrpSpPr/>
          <p:nvPr/>
        </p:nvGrpSpPr>
        <p:grpSpPr>
          <a:xfrm>
            <a:off x="7191542" y="1"/>
            <a:ext cx="5000459" cy="1425992"/>
            <a:chOff x="7191542" y="1"/>
            <a:chExt cx="5000459" cy="1425992"/>
          </a:xfrm>
        </p:grpSpPr>
        <p:pic>
          <p:nvPicPr>
            <p:cNvPr id="257" name="Google Shape;257;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 name="Google Shape;258;p80"/>
            <p:cNvGrpSpPr/>
            <p:nvPr/>
          </p:nvGrpSpPr>
          <p:grpSpPr>
            <a:xfrm>
              <a:off x="7191542" y="1"/>
              <a:ext cx="5000459" cy="1425992"/>
              <a:chOff x="7186272" y="0"/>
              <a:chExt cx="5005729" cy="1427495"/>
            </a:xfrm>
          </p:grpSpPr>
          <p:sp>
            <p:nvSpPr>
              <p:cNvPr id="259" name="Google Shape;259;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 name="Google Shape;260;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1" name="Google Shape;261;p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2" name="Google Shape;262;p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 name="Google Shape;263;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328"/>
        <p:cNvGrpSpPr/>
        <p:nvPr/>
      </p:nvGrpSpPr>
      <p:grpSpPr>
        <a:xfrm>
          <a:off x="0" y="0"/>
          <a:ext cx="0" cy="0"/>
          <a:chOff x="0" y="0"/>
          <a:chExt cx="0" cy="0"/>
        </a:xfrm>
      </p:grpSpPr>
      <p:pic>
        <p:nvPicPr>
          <p:cNvPr id="2329" name="Google Shape;2329;p287"/>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30" name="Google Shape;2330;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1" name="Google Shape;2331;p2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32" name="Google Shape;2332;p287"/>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333"/>
        <p:cNvGrpSpPr/>
        <p:nvPr/>
      </p:nvGrpSpPr>
      <p:grpSpPr>
        <a:xfrm>
          <a:off x="0" y="0"/>
          <a:ext cx="0" cy="0"/>
          <a:chOff x="0" y="0"/>
          <a:chExt cx="0" cy="0"/>
        </a:xfrm>
      </p:grpSpPr>
      <p:pic>
        <p:nvPicPr>
          <p:cNvPr id="2334" name="Google Shape;2334;p288"/>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35" name="Google Shape;2335;p288"/>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36" name="Google Shape;2336;p288"/>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7" name="Google Shape;2337;p288"/>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338"/>
        <p:cNvGrpSpPr/>
        <p:nvPr/>
      </p:nvGrpSpPr>
      <p:grpSpPr>
        <a:xfrm>
          <a:off x="0" y="0"/>
          <a:ext cx="0" cy="0"/>
          <a:chOff x="0" y="0"/>
          <a:chExt cx="0" cy="0"/>
        </a:xfrm>
      </p:grpSpPr>
      <p:pic>
        <p:nvPicPr>
          <p:cNvPr id="2339" name="Google Shape;2339;p289"/>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40" name="Google Shape;2340;p28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341"/>
        <p:cNvGrpSpPr/>
        <p:nvPr/>
      </p:nvGrpSpPr>
      <p:grpSpPr>
        <a:xfrm>
          <a:off x="0" y="0"/>
          <a:ext cx="0" cy="0"/>
          <a:chOff x="0" y="0"/>
          <a:chExt cx="0" cy="0"/>
        </a:xfrm>
      </p:grpSpPr>
      <p:grpSp>
        <p:nvGrpSpPr>
          <p:cNvPr id="2342" name="Google Shape;2342;p290"/>
          <p:cNvGrpSpPr/>
          <p:nvPr/>
        </p:nvGrpSpPr>
        <p:grpSpPr>
          <a:xfrm>
            <a:off x="7191542" y="1"/>
            <a:ext cx="5000459" cy="1425992"/>
            <a:chOff x="7191542" y="1"/>
            <a:chExt cx="5000459" cy="1425992"/>
          </a:xfrm>
        </p:grpSpPr>
        <p:pic>
          <p:nvPicPr>
            <p:cNvPr id="2343" name="Google Shape;2343;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44" name="Google Shape;2344;p290"/>
            <p:cNvGrpSpPr/>
            <p:nvPr/>
          </p:nvGrpSpPr>
          <p:grpSpPr>
            <a:xfrm>
              <a:off x="7191542" y="1"/>
              <a:ext cx="5000459" cy="1425992"/>
              <a:chOff x="7186272" y="0"/>
              <a:chExt cx="5005729" cy="1427495"/>
            </a:xfrm>
          </p:grpSpPr>
          <p:sp>
            <p:nvSpPr>
              <p:cNvPr id="2345" name="Google Shape;2345;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346" name="Google Shape;2346;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347" name="Google Shape;2347;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8" name="Google Shape;2348;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9" name="Google Shape;2349;p2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50" name="Google Shape;2350;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51" name="Google Shape;2351;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352"/>
        <p:cNvGrpSpPr/>
        <p:nvPr/>
      </p:nvGrpSpPr>
      <p:grpSpPr>
        <a:xfrm>
          <a:off x="0" y="0"/>
          <a:ext cx="0" cy="0"/>
          <a:chOff x="0" y="0"/>
          <a:chExt cx="0" cy="0"/>
        </a:xfrm>
      </p:grpSpPr>
      <p:sp>
        <p:nvSpPr>
          <p:cNvPr id="2353" name="Google Shape;2353;p2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54" name="Google Shape;2354;p2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55" name="Google Shape;2355;p291"/>
          <p:cNvGrpSpPr/>
          <p:nvPr/>
        </p:nvGrpSpPr>
        <p:grpSpPr>
          <a:xfrm>
            <a:off x="0" y="5379426"/>
            <a:ext cx="2807368" cy="753891"/>
            <a:chOff x="0" y="5379426"/>
            <a:chExt cx="2807368" cy="753891"/>
          </a:xfrm>
        </p:grpSpPr>
        <p:sp>
          <p:nvSpPr>
            <p:cNvPr id="2356" name="Google Shape;2356;p2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357" name="Google Shape;2357;p2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358" name="Google Shape;2358;p291"/>
          <p:cNvSpPr>
            <a:spLocks noGrp="1"/>
          </p:cNvSpPr>
          <p:nvPr>
            <p:ph type="pic" idx="2"/>
          </p:nvPr>
        </p:nvSpPr>
        <p:spPr>
          <a:xfrm>
            <a:off x="2807368" y="457202"/>
            <a:ext cx="8915400" cy="5943598"/>
          </a:xfrm>
          <a:prstGeom prst="rect">
            <a:avLst/>
          </a:prstGeom>
          <a:noFill/>
          <a:ln>
            <a:noFill/>
          </a:ln>
        </p:spPr>
      </p:sp>
      <p:pic>
        <p:nvPicPr>
          <p:cNvPr id="2359" name="Google Shape;2359;p2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2360"/>
        <p:cNvGrpSpPr/>
        <p:nvPr/>
      </p:nvGrpSpPr>
      <p:grpSpPr>
        <a:xfrm>
          <a:off x="0" y="0"/>
          <a:ext cx="0" cy="0"/>
          <a:chOff x="0" y="0"/>
          <a:chExt cx="0" cy="0"/>
        </a:xfrm>
      </p:grpSpPr>
      <p:pic>
        <p:nvPicPr>
          <p:cNvPr id="2361" name="Google Shape;2361;p123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62" name="Google Shape;2362;p123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63" name="Google Shape;2363;p123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4" name="Google Shape;2364;p123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2365"/>
        <p:cNvGrpSpPr/>
        <p:nvPr/>
      </p:nvGrpSpPr>
      <p:grpSpPr>
        <a:xfrm>
          <a:off x="0" y="0"/>
          <a:ext cx="0" cy="0"/>
          <a:chOff x="0" y="0"/>
          <a:chExt cx="0" cy="0"/>
        </a:xfrm>
      </p:grpSpPr>
      <p:pic>
        <p:nvPicPr>
          <p:cNvPr id="2366" name="Google Shape;2366;p293"/>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67" name="Google Shape;2367;p29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8" name="Google Shape;2368;p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69" name="Google Shape;2369;p293"/>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2370"/>
        <p:cNvGrpSpPr/>
        <p:nvPr/>
      </p:nvGrpSpPr>
      <p:grpSpPr>
        <a:xfrm>
          <a:off x="0" y="0"/>
          <a:ext cx="0" cy="0"/>
          <a:chOff x="0" y="0"/>
          <a:chExt cx="0" cy="0"/>
        </a:xfrm>
      </p:grpSpPr>
      <p:pic>
        <p:nvPicPr>
          <p:cNvPr id="2371" name="Google Shape;2371;p29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72" name="Google Shape;2372;p29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73" name="Google Shape;2373;p29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4" name="Google Shape;2374;p29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2375"/>
        <p:cNvGrpSpPr/>
        <p:nvPr/>
      </p:nvGrpSpPr>
      <p:grpSpPr>
        <a:xfrm>
          <a:off x="0" y="0"/>
          <a:ext cx="0" cy="0"/>
          <a:chOff x="0" y="0"/>
          <a:chExt cx="0" cy="0"/>
        </a:xfrm>
      </p:grpSpPr>
      <p:pic>
        <p:nvPicPr>
          <p:cNvPr id="2376" name="Google Shape;2376;p295"/>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77" name="Google Shape;2377;p2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8" name="Google Shape;2378;p2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79" name="Google Shape;2379;p29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2380"/>
        <p:cNvGrpSpPr/>
        <p:nvPr/>
      </p:nvGrpSpPr>
      <p:grpSpPr>
        <a:xfrm>
          <a:off x="0" y="0"/>
          <a:ext cx="0" cy="0"/>
          <a:chOff x="0" y="0"/>
          <a:chExt cx="0" cy="0"/>
        </a:xfrm>
      </p:grpSpPr>
      <p:pic>
        <p:nvPicPr>
          <p:cNvPr id="2381" name="Google Shape;2381;p29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82" name="Google Shape;2382;p29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3" name="Google Shape;2383;p29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4" name="Google Shape;2384;p29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66"/>
        <p:cNvGrpSpPr/>
        <p:nvPr/>
      </p:nvGrpSpPr>
      <p:grpSpPr>
        <a:xfrm>
          <a:off x="0" y="0"/>
          <a:ext cx="0" cy="0"/>
          <a:chOff x="0" y="0"/>
          <a:chExt cx="0" cy="0"/>
        </a:xfrm>
      </p:grpSpPr>
      <p:sp>
        <p:nvSpPr>
          <p:cNvPr id="267" name="Google Shape;267;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8" name="Google Shape;268;p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9" name="Google Shape;269;p81"/>
          <p:cNvGrpSpPr/>
          <p:nvPr/>
        </p:nvGrpSpPr>
        <p:grpSpPr>
          <a:xfrm>
            <a:off x="7191542" y="1"/>
            <a:ext cx="5000459" cy="1425992"/>
            <a:chOff x="7191542" y="1"/>
            <a:chExt cx="5000459" cy="1425992"/>
          </a:xfrm>
        </p:grpSpPr>
        <p:pic>
          <p:nvPicPr>
            <p:cNvPr id="270" name="Google Shape;270;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 name="Google Shape;271;p81"/>
            <p:cNvGrpSpPr/>
            <p:nvPr/>
          </p:nvGrpSpPr>
          <p:grpSpPr>
            <a:xfrm>
              <a:off x="7191542" y="1"/>
              <a:ext cx="5000459" cy="1425992"/>
              <a:chOff x="7186272" y="0"/>
              <a:chExt cx="5005729" cy="1427495"/>
            </a:xfrm>
          </p:grpSpPr>
          <p:sp>
            <p:nvSpPr>
              <p:cNvPr id="272" name="Google Shape;27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 name="Google Shape;27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4" name="Google Shape;274;p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2385"/>
        <p:cNvGrpSpPr/>
        <p:nvPr/>
      </p:nvGrpSpPr>
      <p:grpSpPr>
        <a:xfrm>
          <a:off x="0" y="0"/>
          <a:ext cx="0" cy="0"/>
          <a:chOff x="0" y="0"/>
          <a:chExt cx="0" cy="0"/>
        </a:xfrm>
      </p:grpSpPr>
      <p:pic>
        <p:nvPicPr>
          <p:cNvPr id="2386" name="Google Shape;2386;p29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87" name="Google Shape;2387;p29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1">
    <p:spTree>
      <p:nvGrpSpPr>
        <p:cNvPr id="1" name="Shape 2388"/>
        <p:cNvGrpSpPr/>
        <p:nvPr/>
      </p:nvGrpSpPr>
      <p:grpSpPr>
        <a:xfrm>
          <a:off x="0" y="0"/>
          <a:ext cx="0" cy="0"/>
          <a:chOff x="0" y="0"/>
          <a:chExt cx="0" cy="0"/>
        </a:xfrm>
      </p:grpSpPr>
      <p:sp>
        <p:nvSpPr>
          <p:cNvPr id="2389" name="Google Shape;2389;p29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0" name="Google Shape;2390;p29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1" name="Google Shape;2391;p2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92" name="Google Shape;2392;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3" name="Google Shape;2393;p2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94" name="Google Shape;2394;p29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95" name="Google Shape;2395;p29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96" name="Google Shape;2396;p29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97" name="Google Shape;2397;p29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398"/>
        <p:cNvGrpSpPr/>
        <p:nvPr/>
      </p:nvGrpSpPr>
      <p:grpSpPr>
        <a:xfrm>
          <a:off x="0" y="0"/>
          <a:ext cx="0" cy="0"/>
          <a:chOff x="0" y="0"/>
          <a:chExt cx="0" cy="0"/>
        </a:xfrm>
      </p:grpSpPr>
      <p:sp>
        <p:nvSpPr>
          <p:cNvPr id="2399" name="Google Shape;2399;p29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400" name="Google Shape;2400;p29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1" name="Google Shape;2401;p29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2" name="Google Shape;2402;p29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3" name="Google Shape;2403;p2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04" name="Google Shape;2404;p29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405"/>
        <p:cNvGrpSpPr/>
        <p:nvPr/>
      </p:nvGrpSpPr>
      <p:grpSpPr>
        <a:xfrm>
          <a:off x="0" y="0"/>
          <a:ext cx="0" cy="0"/>
          <a:chOff x="0" y="0"/>
          <a:chExt cx="0" cy="0"/>
        </a:xfrm>
      </p:grpSpPr>
      <p:sp>
        <p:nvSpPr>
          <p:cNvPr id="2406" name="Google Shape;2406;p3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7" name="Google Shape;2407;p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408" name="Google Shape;2408;p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409" name="Google Shape;2409;p3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410" name="Google Shape;2410;p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411"/>
        <p:cNvGrpSpPr/>
        <p:nvPr/>
      </p:nvGrpSpPr>
      <p:grpSpPr>
        <a:xfrm>
          <a:off x="0" y="0"/>
          <a:ext cx="0" cy="0"/>
          <a:chOff x="0" y="0"/>
          <a:chExt cx="0" cy="0"/>
        </a:xfrm>
      </p:grpSpPr>
      <p:sp>
        <p:nvSpPr>
          <p:cNvPr id="2412" name="Google Shape;2412;p3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413" name="Google Shape;2413;p3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414" name="Google Shape;2414;p3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415" name="Google Shape;2415;p3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6" name="Google Shape;2416;p3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417"/>
        <p:cNvGrpSpPr/>
        <p:nvPr/>
      </p:nvGrpSpPr>
      <p:grpSpPr>
        <a:xfrm>
          <a:off x="0" y="0"/>
          <a:ext cx="0" cy="0"/>
          <a:chOff x="0" y="0"/>
          <a:chExt cx="0" cy="0"/>
        </a:xfrm>
      </p:grpSpPr>
      <p:sp>
        <p:nvSpPr>
          <p:cNvPr id="2418" name="Google Shape;2418;p3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419" name="Google Shape;2419;p3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420" name="Google Shape;2420;p3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1" name="Google Shape;2421;p3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2" name="Google Shape;2422;p3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423" name="Google Shape;2423;p3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424"/>
        <p:cNvGrpSpPr/>
        <p:nvPr/>
      </p:nvGrpSpPr>
      <p:grpSpPr>
        <a:xfrm>
          <a:off x="0" y="0"/>
          <a:ext cx="0" cy="0"/>
          <a:chOff x="0" y="0"/>
          <a:chExt cx="0" cy="0"/>
        </a:xfrm>
      </p:grpSpPr>
      <p:sp>
        <p:nvSpPr>
          <p:cNvPr id="2425" name="Google Shape;2425;p30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6" name="Google Shape;2426;p30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427" name="Google Shape;2427;p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28" name="Google Shape;2428;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9" name="Google Shape;2429;p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430"/>
        <p:cNvGrpSpPr/>
        <p:nvPr/>
      </p:nvGrpSpPr>
      <p:grpSpPr>
        <a:xfrm>
          <a:off x="0" y="0"/>
          <a:ext cx="0" cy="0"/>
          <a:chOff x="0" y="0"/>
          <a:chExt cx="0" cy="0"/>
        </a:xfrm>
      </p:grpSpPr>
      <p:sp>
        <p:nvSpPr>
          <p:cNvPr id="2431" name="Google Shape;2431;p30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2" name="Google Shape;2432;p30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433" name="Google Shape;2433;p30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434" name="Google Shape;2434;p3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35" name="Google Shape;2435;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6" name="Google Shape;2436;p3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437"/>
        <p:cNvGrpSpPr/>
        <p:nvPr/>
      </p:nvGrpSpPr>
      <p:grpSpPr>
        <a:xfrm>
          <a:off x="0" y="0"/>
          <a:ext cx="0" cy="0"/>
          <a:chOff x="0" y="0"/>
          <a:chExt cx="0" cy="0"/>
        </a:xfrm>
      </p:grpSpPr>
      <p:sp>
        <p:nvSpPr>
          <p:cNvPr id="2438" name="Google Shape;2438;p30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9" name="Google Shape;2439;p30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0" name="Google Shape;2440;p30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41" name="Google Shape;2441;p30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42" name="Google Shape;2442;p30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3" name="Google Shape;2443;p30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44" name="Google Shape;2444;p30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45" name="Google Shape;2445;p30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46" name="Google Shape;2446;p30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447"/>
        <p:cNvGrpSpPr/>
        <p:nvPr/>
      </p:nvGrpSpPr>
      <p:grpSpPr>
        <a:xfrm>
          <a:off x="0" y="0"/>
          <a:ext cx="0" cy="0"/>
          <a:chOff x="0" y="0"/>
          <a:chExt cx="0" cy="0"/>
        </a:xfrm>
      </p:grpSpPr>
      <p:sp>
        <p:nvSpPr>
          <p:cNvPr id="2448" name="Google Shape;2448;p3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49" name="Google Shape;2449;p3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50" name="Google Shape;2450;p3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1" name="Google Shape;2451;p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2" name="Google Shape;2452;p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3" name="Google Shape;2453;p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54" name="Google Shape;2454;p306"/>
          <p:cNvGrpSpPr/>
          <p:nvPr/>
        </p:nvGrpSpPr>
        <p:grpSpPr>
          <a:xfrm>
            <a:off x="7191542" y="1"/>
            <a:ext cx="5000459" cy="1425992"/>
            <a:chOff x="7191542" y="1"/>
            <a:chExt cx="5000459" cy="1425992"/>
          </a:xfrm>
        </p:grpSpPr>
        <p:pic>
          <p:nvPicPr>
            <p:cNvPr id="2455" name="Google Shape;2455;p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56" name="Google Shape;2456;p306"/>
            <p:cNvGrpSpPr/>
            <p:nvPr/>
          </p:nvGrpSpPr>
          <p:grpSpPr>
            <a:xfrm>
              <a:off x="7191542" y="1"/>
              <a:ext cx="5000459" cy="1425992"/>
              <a:chOff x="7186272" y="0"/>
              <a:chExt cx="5005729" cy="1427495"/>
            </a:xfrm>
          </p:grpSpPr>
          <p:sp>
            <p:nvSpPr>
              <p:cNvPr id="2457" name="Google Shape;2457;p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58" name="Google Shape;2458;p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59" name="Google Shape;2459;p3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78"/>
        <p:cNvGrpSpPr/>
        <p:nvPr/>
      </p:nvGrpSpPr>
      <p:grpSpPr>
        <a:xfrm>
          <a:off x="0" y="0"/>
          <a:ext cx="0" cy="0"/>
          <a:chOff x="0" y="0"/>
          <a:chExt cx="0" cy="0"/>
        </a:xfrm>
      </p:grpSpPr>
      <p:grpSp>
        <p:nvGrpSpPr>
          <p:cNvPr id="279" name="Google Shape;279;p82"/>
          <p:cNvGrpSpPr/>
          <p:nvPr/>
        </p:nvGrpSpPr>
        <p:grpSpPr>
          <a:xfrm>
            <a:off x="7191542" y="1"/>
            <a:ext cx="5000459" cy="1425992"/>
            <a:chOff x="7191542" y="1"/>
            <a:chExt cx="5000459" cy="1425992"/>
          </a:xfrm>
        </p:grpSpPr>
        <p:pic>
          <p:nvPicPr>
            <p:cNvPr id="280" name="Google Shape;280;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 name="Google Shape;281;p82"/>
            <p:cNvGrpSpPr/>
            <p:nvPr/>
          </p:nvGrpSpPr>
          <p:grpSpPr>
            <a:xfrm>
              <a:off x="7191542" y="1"/>
              <a:ext cx="5000459" cy="1425992"/>
              <a:chOff x="7186272" y="0"/>
              <a:chExt cx="5005729" cy="1427495"/>
            </a:xfrm>
          </p:grpSpPr>
          <p:sp>
            <p:nvSpPr>
              <p:cNvPr id="282" name="Google Shape;282;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3" name="Google Shape;283;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4" name="Google Shape;284;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 name="Google Shape;285;p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 name="Google Shape;286;p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 name="Google Shape;287;p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8" name="Google Shape;288;p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460"/>
        <p:cNvGrpSpPr/>
        <p:nvPr/>
      </p:nvGrpSpPr>
      <p:grpSpPr>
        <a:xfrm>
          <a:off x="0" y="0"/>
          <a:ext cx="0" cy="0"/>
          <a:chOff x="0" y="0"/>
          <a:chExt cx="0" cy="0"/>
        </a:xfrm>
      </p:grpSpPr>
      <p:sp>
        <p:nvSpPr>
          <p:cNvPr id="2461" name="Google Shape;2461;p30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2" name="Google Shape;2462;p30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3" name="Google Shape;2463;p30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4" name="Google Shape;2464;p30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5" name="Google Shape;2465;p30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6" name="Google Shape;2466;p30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7" name="Google Shape;2467;p30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8" name="Google Shape;2468;p30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69" name="Google Shape;2469;p30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470"/>
        <p:cNvGrpSpPr/>
        <p:nvPr/>
      </p:nvGrpSpPr>
      <p:grpSpPr>
        <a:xfrm>
          <a:off x="0" y="0"/>
          <a:ext cx="0" cy="0"/>
          <a:chOff x="0" y="0"/>
          <a:chExt cx="0" cy="0"/>
        </a:xfrm>
      </p:grpSpPr>
      <p:grpSp>
        <p:nvGrpSpPr>
          <p:cNvPr id="2471" name="Google Shape;2471;p308"/>
          <p:cNvGrpSpPr/>
          <p:nvPr/>
        </p:nvGrpSpPr>
        <p:grpSpPr>
          <a:xfrm>
            <a:off x="7191542" y="1"/>
            <a:ext cx="5000459" cy="1425992"/>
            <a:chOff x="7191542" y="1"/>
            <a:chExt cx="5000459" cy="1425992"/>
          </a:xfrm>
        </p:grpSpPr>
        <p:pic>
          <p:nvPicPr>
            <p:cNvPr id="2472" name="Google Shape;2472;p3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73" name="Google Shape;2473;p308"/>
            <p:cNvGrpSpPr/>
            <p:nvPr/>
          </p:nvGrpSpPr>
          <p:grpSpPr>
            <a:xfrm>
              <a:off x="7191542" y="1"/>
              <a:ext cx="5000459" cy="1425992"/>
              <a:chOff x="7186272" y="0"/>
              <a:chExt cx="5005729" cy="1427495"/>
            </a:xfrm>
          </p:grpSpPr>
          <p:sp>
            <p:nvSpPr>
              <p:cNvPr id="2474" name="Google Shape;2474;p3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75" name="Google Shape;2475;p3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76" name="Google Shape;2476;p3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7" name="Google Shape;2477;p3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8" name="Google Shape;2478;p3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9" name="Google Shape;2479;p3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0" name="Google Shape;2480;p3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481"/>
        <p:cNvGrpSpPr/>
        <p:nvPr/>
      </p:nvGrpSpPr>
      <p:grpSpPr>
        <a:xfrm>
          <a:off x="0" y="0"/>
          <a:ext cx="0" cy="0"/>
          <a:chOff x="0" y="0"/>
          <a:chExt cx="0" cy="0"/>
        </a:xfrm>
      </p:grpSpPr>
      <p:sp>
        <p:nvSpPr>
          <p:cNvPr id="2482" name="Google Shape;2482;p3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83" name="Google Shape;2483;p3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84" name="Google Shape;2484;p309"/>
          <p:cNvGrpSpPr/>
          <p:nvPr/>
        </p:nvGrpSpPr>
        <p:grpSpPr>
          <a:xfrm>
            <a:off x="0" y="5379426"/>
            <a:ext cx="2807368" cy="753891"/>
            <a:chOff x="0" y="5379426"/>
            <a:chExt cx="2807368" cy="753891"/>
          </a:xfrm>
        </p:grpSpPr>
        <p:sp>
          <p:nvSpPr>
            <p:cNvPr id="2485" name="Google Shape;2485;p3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6" name="Google Shape;2486;p3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87" name="Google Shape;2487;p309"/>
          <p:cNvSpPr>
            <a:spLocks noGrp="1"/>
          </p:cNvSpPr>
          <p:nvPr>
            <p:ph type="pic" idx="2"/>
          </p:nvPr>
        </p:nvSpPr>
        <p:spPr>
          <a:xfrm>
            <a:off x="2807368" y="457202"/>
            <a:ext cx="8915400" cy="5943598"/>
          </a:xfrm>
          <a:prstGeom prst="rect">
            <a:avLst/>
          </a:prstGeom>
          <a:noFill/>
          <a:ln>
            <a:noFill/>
          </a:ln>
        </p:spPr>
      </p:sp>
      <p:pic>
        <p:nvPicPr>
          <p:cNvPr id="2488" name="Google Shape;2488;p3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489"/>
        <p:cNvGrpSpPr/>
        <p:nvPr/>
      </p:nvGrpSpPr>
      <p:grpSpPr>
        <a:xfrm>
          <a:off x="0" y="0"/>
          <a:ext cx="0" cy="0"/>
          <a:chOff x="0" y="0"/>
          <a:chExt cx="0" cy="0"/>
        </a:xfrm>
      </p:grpSpPr>
      <p:sp>
        <p:nvSpPr>
          <p:cNvPr id="2490" name="Google Shape;2490;p31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1" name="Google Shape;2491;p31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92" name="Google Shape;2492;p31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93" name="Google Shape;2493;p31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94" name="Google Shape;2494;p31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95" name="Google Shape;2495;p31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96" name="Google Shape;2496;p31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97" name="Google Shape;2497;p31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98" name="Google Shape;2498;p31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499"/>
        <p:cNvGrpSpPr/>
        <p:nvPr/>
      </p:nvGrpSpPr>
      <p:grpSpPr>
        <a:xfrm>
          <a:off x="0" y="0"/>
          <a:ext cx="0" cy="0"/>
          <a:chOff x="0" y="0"/>
          <a:chExt cx="0" cy="0"/>
        </a:xfrm>
      </p:grpSpPr>
      <p:sp>
        <p:nvSpPr>
          <p:cNvPr id="2500" name="Google Shape;2500;p3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01" name="Google Shape;2501;p3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2" name="Google Shape;2502;p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3" name="Google Shape;2503;p3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4" name="Google Shape;2504;p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5" name="Google Shape;2505;p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06" name="Google Shape;2506;p311"/>
          <p:cNvGrpSpPr/>
          <p:nvPr/>
        </p:nvGrpSpPr>
        <p:grpSpPr>
          <a:xfrm>
            <a:off x="7191542" y="1"/>
            <a:ext cx="5000459" cy="1425992"/>
            <a:chOff x="7191542" y="1"/>
            <a:chExt cx="5000459" cy="1425992"/>
          </a:xfrm>
        </p:grpSpPr>
        <p:pic>
          <p:nvPicPr>
            <p:cNvPr id="2507" name="Google Shape;2507;p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8" name="Google Shape;2508;p311"/>
            <p:cNvGrpSpPr/>
            <p:nvPr/>
          </p:nvGrpSpPr>
          <p:grpSpPr>
            <a:xfrm>
              <a:off x="7191542" y="1"/>
              <a:ext cx="5000459" cy="1425992"/>
              <a:chOff x="7186272" y="0"/>
              <a:chExt cx="5005729" cy="1427495"/>
            </a:xfrm>
          </p:grpSpPr>
          <p:sp>
            <p:nvSpPr>
              <p:cNvPr id="2509" name="Google Shape;2509;p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10" name="Google Shape;2510;p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11" name="Google Shape;2511;p3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512"/>
        <p:cNvGrpSpPr/>
        <p:nvPr/>
      </p:nvGrpSpPr>
      <p:grpSpPr>
        <a:xfrm>
          <a:off x="0" y="0"/>
          <a:ext cx="0" cy="0"/>
          <a:chOff x="0" y="0"/>
          <a:chExt cx="0" cy="0"/>
        </a:xfrm>
      </p:grpSpPr>
      <p:sp>
        <p:nvSpPr>
          <p:cNvPr id="2513" name="Google Shape;2513;p3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4" name="Google Shape;2514;p3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5" name="Google Shape;2515;p3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6" name="Google Shape;2516;p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7" name="Google Shape;2517;p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8" name="Google Shape;2518;p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19" name="Google Shape;2519;p312"/>
          <p:cNvGrpSpPr/>
          <p:nvPr/>
        </p:nvGrpSpPr>
        <p:grpSpPr>
          <a:xfrm>
            <a:off x="7191542" y="1"/>
            <a:ext cx="5000459" cy="1425992"/>
            <a:chOff x="7191542" y="1"/>
            <a:chExt cx="5000459" cy="1425992"/>
          </a:xfrm>
        </p:grpSpPr>
        <p:pic>
          <p:nvPicPr>
            <p:cNvPr id="2520" name="Google Shape;2520;p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21" name="Google Shape;2521;p312"/>
            <p:cNvGrpSpPr/>
            <p:nvPr/>
          </p:nvGrpSpPr>
          <p:grpSpPr>
            <a:xfrm>
              <a:off x="7191542" y="1"/>
              <a:ext cx="5000459" cy="1425992"/>
              <a:chOff x="7186272" y="0"/>
              <a:chExt cx="5005729" cy="1427495"/>
            </a:xfrm>
          </p:grpSpPr>
          <p:sp>
            <p:nvSpPr>
              <p:cNvPr id="2522" name="Google Shape;2522;p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3" name="Google Shape;2523;p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24" name="Google Shape;2524;p3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525"/>
        <p:cNvGrpSpPr/>
        <p:nvPr/>
      </p:nvGrpSpPr>
      <p:grpSpPr>
        <a:xfrm>
          <a:off x="0" y="0"/>
          <a:ext cx="0" cy="0"/>
          <a:chOff x="0" y="0"/>
          <a:chExt cx="0" cy="0"/>
        </a:xfrm>
      </p:grpSpPr>
      <p:sp>
        <p:nvSpPr>
          <p:cNvPr id="2526" name="Google Shape;2526;p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7" name="Google Shape;2527;p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8" name="Google Shape;2528;p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29" name="Google Shape;2529;p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30" name="Google Shape;2530;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31" name="Google Shape;2531;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32" name="Google Shape;2532;p313"/>
          <p:cNvGrpSpPr/>
          <p:nvPr/>
        </p:nvGrpSpPr>
        <p:grpSpPr>
          <a:xfrm>
            <a:off x="7191542" y="1"/>
            <a:ext cx="5000459" cy="1425992"/>
            <a:chOff x="7191542" y="1"/>
            <a:chExt cx="5000459" cy="1425992"/>
          </a:xfrm>
        </p:grpSpPr>
        <p:pic>
          <p:nvPicPr>
            <p:cNvPr id="2533" name="Google Shape;2533;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34" name="Google Shape;2534;p313"/>
            <p:cNvGrpSpPr/>
            <p:nvPr/>
          </p:nvGrpSpPr>
          <p:grpSpPr>
            <a:xfrm>
              <a:off x="7191542" y="1"/>
              <a:ext cx="5000459" cy="1425992"/>
              <a:chOff x="7186272" y="0"/>
              <a:chExt cx="5005729" cy="1427495"/>
            </a:xfrm>
          </p:grpSpPr>
          <p:sp>
            <p:nvSpPr>
              <p:cNvPr id="2535" name="Google Shape;2535;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36" name="Google Shape;2536;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37" name="Google Shape;2537;p3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2538"/>
        <p:cNvGrpSpPr/>
        <p:nvPr/>
      </p:nvGrpSpPr>
      <p:grpSpPr>
        <a:xfrm>
          <a:off x="0" y="0"/>
          <a:ext cx="0" cy="0"/>
          <a:chOff x="0" y="0"/>
          <a:chExt cx="0" cy="0"/>
        </a:xfrm>
      </p:grpSpPr>
      <p:sp>
        <p:nvSpPr>
          <p:cNvPr id="2539" name="Google Shape;2539;p3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0" name="Google Shape;2540;p3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41" name="Google Shape;2541;p3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42" name="Google Shape;2542;p3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43" name="Google Shape;2543;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44" name="Google Shape;2544;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45" name="Google Shape;2545;p314"/>
          <p:cNvGrpSpPr/>
          <p:nvPr/>
        </p:nvGrpSpPr>
        <p:grpSpPr>
          <a:xfrm>
            <a:off x="7191542" y="1"/>
            <a:ext cx="5000459" cy="1425992"/>
            <a:chOff x="7191542" y="1"/>
            <a:chExt cx="5000459" cy="1425992"/>
          </a:xfrm>
        </p:grpSpPr>
        <p:pic>
          <p:nvPicPr>
            <p:cNvPr id="2546" name="Google Shape;2546;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7" name="Google Shape;2547;p314"/>
            <p:cNvGrpSpPr/>
            <p:nvPr/>
          </p:nvGrpSpPr>
          <p:grpSpPr>
            <a:xfrm>
              <a:off x="7191542" y="1"/>
              <a:ext cx="5000459" cy="1425992"/>
              <a:chOff x="7186272" y="0"/>
              <a:chExt cx="5005729" cy="1427495"/>
            </a:xfrm>
          </p:grpSpPr>
          <p:sp>
            <p:nvSpPr>
              <p:cNvPr id="2548" name="Google Shape;2548;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49" name="Google Shape;2549;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50" name="Google Shape;2550;p3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Cover">
  <p:cSld name="Cover 18">
    <p:spTree>
      <p:nvGrpSpPr>
        <p:cNvPr id="1" name="Shape 2551"/>
        <p:cNvGrpSpPr/>
        <p:nvPr/>
      </p:nvGrpSpPr>
      <p:grpSpPr>
        <a:xfrm>
          <a:off x="0" y="0"/>
          <a:ext cx="0" cy="0"/>
          <a:chOff x="0" y="0"/>
          <a:chExt cx="0" cy="0"/>
        </a:xfrm>
      </p:grpSpPr>
      <p:sp>
        <p:nvSpPr>
          <p:cNvPr id="2552" name="Google Shape;2552;p3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3" name="Google Shape;2553;p3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4" name="Google Shape;2554;p3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55" name="Google Shape;2555;p315"/>
          <p:cNvSpPr>
            <a:spLocks noGrp="1"/>
          </p:cNvSpPr>
          <p:nvPr>
            <p:ph type="pic" idx="2"/>
          </p:nvPr>
        </p:nvSpPr>
        <p:spPr>
          <a:xfrm>
            <a:off x="7118684" y="233915"/>
            <a:ext cx="5073316" cy="5943600"/>
          </a:xfrm>
          <a:prstGeom prst="rect">
            <a:avLst/>
          </a:prstGeom>
          <a:noFill/>
          <a:ln>
            <a:noFill/>
          </a:ln>
        </p:spPr>
      </p:sp>
      <p:grpSp>
        <p:nvGrpSpPr>
          <p:cNvPr id="2556" name="Google Shape;2556;p315"/>
          <p:cNvGrpSpPr/>
          <p:nvPr/>
        </p:nvGrpSpPr>
        <p:grpSpPr>
          <a:xfrm>
            <a:off x="0" y="5020348"/>
            <a:ext cx="12192000" cy="1837653"/>
            <a:chOff x="0" y="5020348"/>
            <a:chExt cx="12192000" cy="1837653"/>
          </a:xfrm>
        </p:grpSpPr>
        <p:sp>
          <p:nvSpPr>
            <p:cNvPr id="2557" name="Google Shape;2557;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8" name="Google Shape;2558;p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59" name="Google Shape;2559;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2560"/>
        <p:cNvGrpSpPr/>
        <p:nvPr/>
      </p:nvGrpSpPr>
      <p:grpSpPr>
        <a:xfrm>
          <a:off x="0" y="0"/>
          <a:ext cx="0" cy="0"/>
          <a:chOff x="0" y="0"/>
          <a:chExt cx="0" cy="0"/>
        </a:xfrm>
      </p:grpSpPr>
      <p:grpSp>
        <p:nvGrpSpPr>
          <p:cNvPr id="2561" name="Google Shape;2561;p316"/>
          <p:cNvGrpSpPr/>
          <p:nvPr/>
        </p:nvGrpSpPr>
        <p:grpSpPr>
          <a:xfrm>
            <a:off x="0" y="5020347"/>
            <a:ext cx="12192000" cy="1837653"/>
            <a:chOff x="0" y="5020347"/>
            <a:chExt cx="12192000" cy="1837653"/>
          </a:xfrm>
        </p:grpSpPr>
        <p:sp>
          <p:nvSpPr>
            <p:cNvPr id="2562" name="Google Shape;2562;p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3" name="Google Shape;2563;p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4" name="Google Shape;2564;p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65" name="Google Shape;2565;p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66" name="Google Shape;2566;p3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67" name="Google Shape;2567;p3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92"/>
        <p:cNvGrpSpPr/>
        <p:nvPr/>
      </p:nvGrpSpPr>
      <p:grpSpPr>
        <a:xfrm>
          <a:off x="0" y="0"/>
          <a:ext cx="0" cy="0"/>
          <a:chOff x="0" y="0"/>
          <a:chExt cx="0" cy="0"/>
        </a:xfrm>
      </p:grpSpPr>
      <p:grpSp>
        <p:nvGrpSpPr>
          <p:cNvPr id="293" name="Google Shape;293;p1196"/>
          <p:cNvGrpSpPr/>
          <p:nvPr/>
        </p:nvGrpSpPr>
        <p:grpSpPr>
          <a:xfrm>
            <a:off x="7191542" y="1"/>
            <a:ext cx="5000459" cy="1425992"/>
            <a:chOff x="7191542" y="1"/>
            <a:chExt cx="5000459" cy="1425992"/>
          </a:xfrm>
        </p:grpSpPr>
        <p:pic>
          <p:nvPicPr>
            <p:cNvPr id="294" name="Google Shape;294;p1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1196"/>
            <p:cNvGrpSpPr/>
            <p:nvPr/>
          </p:nvGrpSpPr>
          <p:grpSpPr>
            <a:xfrm>
              <a:off x="7191542" y="1"/>
              <a:ext cx="5000459" cy="1425992"/>
              <a:chOff x="7186272" y="0"/>
              <a:chExt cx="5005729" cy="1427495"/>
            </a:xfrm>
          </p:grpSpPr>
          <p:sp>
            <p:nvSpPr>
              <p:cNvPr id="296" name="Google Shape;296;p1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1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1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1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0" name="Google Shape;300;p1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 name="Google Shape;301;p1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Photo Slide">
  <p:cSld name="Photo Slide 17">
    <p:spTree>
      <p:nvGrpSpPr>
        <p:cNvPr id="1" name="Shape 2568"/>
        <p:cNvGrpSpPr/>
        <p:nvPr/>
      </p:nvGrpSpPr>
      <p:grpSpPr>
        <a:xfrm>
          <a:off x="0" y="0"/>
          <a:ext cx="0" cy="0"/>
          <a:chOff x="0" y="0"/>
          <a:chExt cx="0" cy="0"/>
        </a:xfrm>
      </p:grpSpPr>
      <p:sp>
        <p:nvSpPr>
          <p:cNvPr id="2569" name="Google Shape;2569;p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70" name="Google Shape;2570;p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71" name="Google Shape;2571;p317"/>
          <p:cNvGrpSpPr/>
          <p:nvPr/>
        </p:nvGrpSpPr>
        <p:grpSpPr>
          <a:xfrm>
            <a:off x="0" y="5379426"/>
            <a:ext cx="2807368" cy="753891"/>
            <a:chOff x="0" y="5379426"/>
            <a:chExt cx="2807368" cy="753891"/>
          </a:xfrm>
        </p:grpSpPr>
        <p:sp>
          <p:nvSpPr>
            <p:cNvPr id="2572" name="Google Shape;2572;p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3" name="Google Shape;2573;p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574" name="Google Shape;2574;p317"/>
          <p:cNvSpPr>
            <a:spLocks noGrp="1"/>
          </p:cNvSpPr>
          <p:nvPr>
            <p:ph type="pic" idx="2"/>
          </p:nvPr>
        </p:nvSpPr>
        <p:spPr>
          <a:xfrm>
            <a:off x="2807368" y="457202"/>
            <a:ext cx="8915400" cy="5943598"/>
          </a:xfrm>
          <a:prstGeom prst="rect">
            <a:avLst/>
          </a:prstGeom>
          <a:noFill/>
          <a:ln>
            <a:noFill/>
          </a:ln>
        </p:spPr>
      </p:sp>
      <p:pic>
        <p:nvPicPr>
          <p:cNvPr id="2575" name="Google Shape;2575;p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2576"/>
        <p:cNvGrpSpPr/>
        <p:nvPr/>
      </p:nvGrpSpPr>
      <p:grpSpPr>
        <a:xfrm>
          <a:off x="0" y="0"/>
          <a:ext cx="0" cy="0"/>
          <a:chOff x="0" y="0"/>
          <a:chExt cx="0" cy="0"/>
        </a:xfrm>
      </p:grpSpPr>
      <p:sp>
        <p:nvSpPr>
          <p:cNvPr id="2577" name="Google Shape;2577;p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8" name="Google Shape;2578;p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9" name="Google Shape;2579;p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80" name="Google Shape;2580;p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81" name="Google Shape;2581;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2" name="Google Shape;2582;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83" name="Google Shape;2583;p318"/>
          <p:cNvGrpSpPr/>
          <p:nvPr/>
        </p:nvGrpSpPr>
        <p:grpSpPr>
          <a:xfrm>
            <a:off x="7191542" y="1"/>
            <a:ext cx="5000459" cy="1425992"/>
            <a:chOff x="7191542" y="1"/>
            <a:chExt cx="5000459" cy="1425992"/>
          </a:xfrm>
        </p:grpSpPr>
        <p:pic>
          <p:nvPicPr>
            <p:cNvPr id="2584" name="Google Shape;2584;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5" name="Google Shape;2585;p318"/>
            <p:cNvGrpSpPr/>
            <p:nvPr/>
          </p:nvGrpSpPr>
          <p:grpSpPr>
            <a:xfrm>
              <a:off x="7191542" y="1"/>
              <a:ext cx="5000459" cy="1425992"/>
              <a:chOff x="7186272" y="0"/>
              <a:chExt cx="5005729" cy="1427495"/>
            </a:xfrm>
          </p:grpSpPr>
          <p:sp>
            <p:nvSpPr>
              <p:cNvPr id="2586" name="Google Shape;2586;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7" name="Google Shape;2587;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88" name="Google Shape;2588;p3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2589"/>
        <p:cNvGrpSpPr/>
        <p:nvPr/>
      </p:nvGrpSpPr>
      <p:grpSpPr>
        <a:xfrm>
          <a:off x="0" y="0"/>
          <a:ext cx="0" cy="0"/>
          <a:chOff x="0" y="0"/>
          <a:chExt cx="0" cy="0"/>
        </a:xfrm>
      </p:grpSpPr>
      <p:sp>
        <p:nvSpPr>
          <p:cNvPr id="2590" name="Google Shape;2590;p3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91" name="Google Shape;2591;p3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2" name="Google Shape;2592;p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3" name="Google Shape;2593;p3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4" name="Google Shape;2594;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95" name="Google Shape;2595;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96" name="Google Shape;2596;p319"/>
          <p:cNvGrpSpPr/>
          <p:nvPr/>
        </p:nvGrpSpPr>
        <p:grpSpPr>
          <a:xfrm>
            <a:off x="7191542" y="1"/>
            <a:ext cx="5000459" cy="1425992"/>
            <a:chOff x="7191542" y="1"/>
            <a:chExt cx="5000459" cy="1425992"/>
          </a:xfrm>
        </p:grpSpPr>
        <p:pic>
          <p:nvPicPr>
            <p:cNvPr id="2597" name="Google Shape;2597;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8" name="Google Shape;2598;p319"/>
            <p:cNvGrpSpPr/>
            <p:nvPr/>
          </p:nvGrpSpPr>
          <p:grpSpPr>
            <a:xfrm>
              <a:off x="7191542" y="1"/>
              <a:ext cx="5000459" cy="1425992"/>
              <a:chOff x="7186272" y="0"/>
              <a:chExt cx="5005729" cy="1427495"/>
            </a:xfrm>
          </p:grpSpPr>
          <p:sp>
            <p:nvSpPr>
              <p:cNvPr id="2599" name="Google Shape;2599;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0" name="Google Shape;2600;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01" name="Google Shape;2601;p3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2602"/>
        <p:cNvGrpSpPr/>
        <p:nvPr/>
      </p:nvGrpSpPr>
      <p:grpSpPr>
        <a:xfrm>
          <a:off x="0" y="0"/>
          <a:ext cx="0" cy="0"/>
          <a:chOff x="0" y="0"/>
          <a:chExt cx="0" cy="0"/>
        </a:xfrm>
      </p:grpSpPr>
      <p:sp>
        <p:nvSpPr>
          <p:cNvPr id="2603" name="Google Shape;2603;p3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04" name="Google Shape;2604;p3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05" name="Google Shape;2605;p3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6" name="Google Shape;2606;p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7" name="Google Shape;2607;p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08" name="Google Shape;2608;p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09" name="Google Shape;2609;p320"/>
          <p:cNvGrpSpPr/>
          <p:nvPr/>
        </p:nvGrpSpPr>
        <p:grpSpPr>
          <a:xfrm>
            <a:off x="7191542" y="1"/>
            <a:ext cx="5000459" cy="1425992"/>
            <a:chOff x="7191542" y="1"/>
            <a:chExt cx="5000459" cy="1425992"/>
          </a:xfrm>
        </p:grpSpPr>
        <p:pic>
          <p:nvPicPr>
            <p:cNvPr id="2610" name="Google Shape;2610;p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1" name="Google Shape;2611;p320"/>
            <p:cNvGrpSpPr/>
            <p:nvPr/>
          </p:nvGrpSpPr>
          <p:grpSpPr>
            <a:xfrm>
              <a:off x="7191542" y="1"/>
              <a:ext cx="5000459" cy="1425992"/>
              <a:chOff x="7186272" y="0"/>
              <a:chExt cx="5005729" cy="1427495"/>
            </a:xfrm>
          </p:grpSpPr>
          <p:sp>
            <p:nvSpPr>
              <p:cNvPr id="2612" name="Google Shape;2612;p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3" name="Google Shape;2613;p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14" name="Google Shape;2614;p3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2615"/>
        <p:cNvGrpSpPr/>
        <p:nvPr/>
      </p:nvGrpSpPr>
      <p:grpSpPr>
        <a:xfrm>
          <a:off x="0" y="0"/>
          <a:ext cx="0" cy="0"/>
          <a:chOff x="0" y="0"/>
          <a:chExt cx="0" cy="0"/>
        </a:xfrm>
      </p:grpSpPr>
      <p:sp>
        <p:nvSpPr>
          <p:cNvPr id="2616" name="Google Shape;2616;p3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17" name="Google Shape;2617;p3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8" name="Google Shape;2618;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9" name="Google Shape;2619;p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0" name="Google Shape;2620;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1" name="Google Shape;2621;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22" name="Google Shape;2622;p321"/>
          <p:cNvGrpSpPr/>
          <p:nvPr/>
        </p:nvGrpSpPr>
        <p:grpSpPr>
          <a:xfrm>
            <a:off x="7191542" y="1"/>
            <a:ext cx="5000459" cy="1425992"/>
            <a:chOff x="7191542" y="1"/>
            <a:chExt cx="5000459" cy="1425992"/>
          </a:xfrm>
        </p:grpSpPr>
        <p:pic>
          <p:nvPicPr>
            <p:cNvPr id="2623" name="Google Shape;2623;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4" name="Google Shape;2624;p321"/>
            <p:cNvGrpSpPr/>
            <p:nvPr/>
          </p:nvGrpSpPr>
          <p:grpSpPr>
            <a:xfrm>
              <a:off x="7191542" y="1"/>
              <a:ext cx="5000459" cy="1425992"/>
              <a:chOff x="7186272" y="0"/>
              <a:chExt cx="5005729" cy="1427495"/>
            </a:xfrm>
          </p:grpSpPr>
          <p:sp>
            <p:nvSpPr>
              <p:cNvPr id="2625" name="Google Shape;2625;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6" name="Google Shape;2626;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27" name="Google Shape;2627;p3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2628"/>
        <p:cNvGrpSpPr/>
        <p:nvPr/>
      </p:nvGrpSpPr>
      <p:grpSpPr>
        <a:xfrm>
          <a:off x="0" y="0"/>
          <a:ext cx="0" cy="0"/>
          <a:chOff x="0" y="0"/>
          <a:chExt cx="0" cy="0"/>
        </a:xfrm>
      </p:grpSpPr>
      <p:grpSp>
        <p:nvGrpSpPr>
          <p:cNvPr id="2629" name="Google Shape;2629;p322"/>
          <p:cNvGrpSpPr/>
          <p:nvPr/>
        </p:nvGrpSpPr>
        <p:grpSpPr>
          <a:xfrm>
            <a:off x="7191542" y="1"/>
            <a:ext cx="5000459" cy="1425992"/>
            <a:chOff x="7191542" y="1"/>
            <a:chExt cx="5000459" cy="1425992"/>
          </a:xfrm>
        </p:grpSpPr>
        <p:pic>
          <p:nvPicPr>
            <p:cNvPr id="2630" name="Google Shape;2630;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31" name="Google Shape;2631;p322"/>
            <p:cNvGrpSpPr/>
            <p:nvPr/>
          </p:nvGrpSpPr>
          <p:grpSpPr>
            <a:xfrm>
              <a:off x="7191542" y="1"/>
              <a:ext cx="5000459" cy="1425992"/>
              <a:chOff x="7186272" y="0"/>
              <a:chExt cx="5005729" cy="1427495"/>
            </a:xfrm>
          </p:grpSpPr>
          <p:sp>
            <p:nvSpPr>
              <p:cNvPr id="2632" name="Google Shape;2632;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33" name="Google Shape;2633;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34" name="Google Shape;2634;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35" name="Google Shape;2635;p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6" name="Google Shape;2636;p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7" name="Google Shape;2637;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8" name="Google Shape;2638;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2639"/>
        <p:cNvGrpSpPr/>
        <p:nvPr/>
      </p:nvGrpSpPr>
      <p:grpSpPr>
        <a:xfrm>
          <a:off x="0" y="0"/>
          <a:ext cx="0" cy="0"/>
          <a:chOff x="0" y="0"/>
          <a:chExt cx="0" cy="0"/>
        </a:xfrm>
      </p:grpSpPr>
      <p:sp>
        <p:nvSpPr>
          <p:cNvPr id="2640" name="Google Shape;2640;p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1" name="Google Shape;2641;p3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42" name="Google Shape;2642;p323"/>
          <p:cNvGrpSpPr/>
          <p:nvPr/>
        </p:nvGrpSpPr>
        <p:grpSpPr>
          <a:xfrm>
            <a:off x="7191542" y="1"/>
            <a:ext cx="5000459" cy="1425992"/>
            <a:chOff x="7191542" y="1"/>
            <a:chExt cx="5000459" cy="1425992"/>
          </a:xfrm>
        </p:grpSpPr>
        <p:pic>
          <p:nvPicPr>
            <p:cNvPr id="2643" name="Google Shape;2643;p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4" name="Google Shape;2644;p323"/>
            <p:cNvGrpSpPr/>
            <p:nvPr/>
          </p:nvGrpSpPr>
          <p:grpSpPr>
            <a:xfrm>
              <a:off x="7191542" y="1"/>
              <a:ext cx="5000459" cy="1425992"/>
              <a:chOff x="7186272" y="0"/>
              <a:chExt cx="5005729" cy="1427495"/>
            </a:xfrm>
          </p:grpSpPr>
          <p:sp>
            <p:nvSpPr>
              <p:cNvPr id="2645" name="Google Shape;2645;p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6" name="Google Shape;2646;p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47" name="Google Shape;2647;p3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48" name="Google Shape;2648;p3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9" name="Google Shape;2649;p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0" name="Google Shape;2650;p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2651"/>
        <p:cNvGrpSpPr/>
        <p:nvPr/>
      </p:nvGrpSpPr>
      <p:grpSpPr>
        <a:xfrm>
          <a:off x="0" y="0"/>
          <a:ext cx="0" cy="0"/>
          <a:chOff x="0" y="0"/>
          <a:chExt cx="0" cy="0"/>
        </a:xfrm>
      </p:grpSpPr>
      <p:grpSp>
        <p:nvGrpSpPr>
          <p:cNvPr id="2652" name="Google Shape;2652;p324"/>
          <p:cNvGrpSpPr/>
          <p:nvPr/>
        </p:nvGrpSpPr>
        <p:grpSpPr>
          <a:xfrm>
            <a:off x="7191542" y="1"/>
            <a:ext cx="5000459" cy="1425992"/>
            <a:chOff x="7191542" y="1"/>
            <a:chExt cx="5000459" cy="1425992"/>
          </a:xfrm>
        </p:grpSpPr>
        <p:pic>
          <p:nvPicPr>
            <p:cNvPr id="2653" name="Google Shape;2653;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4" name="Google Shape;2654;p324"/>
            <p:cNvGrpSpPr/>
            <p:nvPr/>
          </p:nvGrpSpPr>
          <p:grpSpPr>
            <a:xfrm>
              <a:off x="7191542" y="1"/>
              <a:ext cx="5000459" cy="1425992"/>
              <a:chOff x="7186272" y="0"/>
              <a:chExt cx="5005729" cy="1427495"/>
            </a:xfrm>
          </p:grpSpPr>
          <p:sp>
            <p:nvSpPr>
              <p:cNvPr id="2655" name="Google Shape;2655;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56" name="Google Shape;2656;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57" name="Google Shape;2657;p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58" name="Google Shape;2658;p3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59" name="Google Shape;2659;p3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0" name="Google Shape;2660;p3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61" name="Google Shape;2661;p3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62" name="Google Shape;2662;p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63" name="Google Shape;2663;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64" name="Google Shape;2664;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2665"/>
        <p:cNvGrpSpPr/>
        <p:nvPr/>
      </p:nvGrpSpPr>
      <p:grpSpPr>
        <a:xfrm>
          <a:off x="0" y="0"/>
          <a:ext cx="0" cy="0"/>
          <a:chOff x="0" y="0"/>
          <a:chExt cx="0" cy="0"/>
        </a:xfrm>
      </p:grpSpPr>
      <p:grpSp>
        <p:nvGrpSpPr>
          <p:cNvPr id="2666" name="Google Shape;2666;p325"/>
          <p:cNvGrpSpPr/>
          <p:nvPr/>
        </p:nvGrpSpPr>
        <p:grpSpPr>
          <a:xfrm>
            <a:off x="7191542" y="1"/>
            <a:ext cx="5000459" cy="1425992"/>
            <a:chOff x="7191542" y="1"/>
            <a:chExt cx="5000459" cy="1425992"/>
          </a:xfrm>
        </p:grpSpPr>
        <p:pic>
          <p:nvPicPr>
            <p:cNvPr id="2667" name="Google Shape;2667;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8" name="Google Shape;2668;p325"/>
            <p:cNvGrpSpPr/>
            <p:nvPr/>
          </p:nvGrpSpPr>
          <p:grpSpPr>
            <a:xfrm>
              <a:off x="7191542" y="1"/>
              <a:ext cx="5000459" cy="1425992"/>
              <a:chOff x="7186272" y="0"/>
              <a:chExt cx="5005729" cy="1427495"/>
            </a:xfrm>
          </p:grpSpPr>
          <p:sp>
            <p:nvSpPr>
              <p:cNvPr id="2669" name="Google Shape;2669;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0" name="Google Shape;2670;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71" name="Google Shape;2671;p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72" name="Google Shape;2672;p3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73" name="Google Shape;2673;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74" name="Google Shape;2674;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End">
  <p:cSld name="End 17">
    <p:spTree>
      <p:nvGrpSpPr>
        <p:cNvPr id="1" name="Shape 2675"/>
        <p:cNvGrpSpPr/>
        <p:nvPr/>
      </p:nvGrpSpPr>
      <p:grpSpPr>
        <a:xfrm>
          <a:off x="0" y="0"/>
          <a:ext cx="0" cy="0"/>
          <a:chOff x="0" y="0"/>
          <a:chExt cx="0" cy="0"/>
        </a:xfrm>
      </p:grpSpPr>
      <p:grpSp>
        <p:nvGrpSpPr>
          <p:cNvPr id="2676" name="Google Shape;2676;p326"/>
          <p:cNvGrpSpPr/>
          <p:nvPr/>
        </p:nvGrpSpPr>
        <p:grpSpPr>
          <a:xfrm>
            <a:off x="0" y="0"/>
            <a:ext cx="12192000" cy="2148830"/>
            <a:chOff x="0" y="0"/>
            <a:chExt cx="12192000" cy="2148830"/>
          </a:xfrm>
        </p:grpSpPr>
        <p:sp>
          <p:nvSpPr>
            <p:cNvPr id="2677" name="Google Shape;2677;p3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8" name="Google Shape;2678;p3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679" name="Google Shape;2679;p3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80" name="Google Shape;2680;p3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81" name="Google Shape;2681;p3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682" name="Google Shape;2682;p3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83" name="Google Shape;2683;p3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02"/>
        <p:cNvGrpSpPr/>
        <p:nvPr/>
      </p:nvGrpSpPr>
      <p:grpSpPr>
        <a:xfrm>
          <a:off x="0" y="0"/>
          <a:ext cx="0" cy="0"/>
          <a:chOff x="0" y="0"/>
          <a:chExt cx="0" cy="0"/>
        </a:xfrm>
      </p:grpSpPr>
      <p:grpSp>
        <p:nvGrpSpPr>
          <p:cNvPr id="303" name="Google Shape;303;p84"/>
          <p:cNvGrpSpPr/>
          <p:nvPr/>
        </p:nvGrpSpPr>
        <p:grpSpPr>
          <a:xfrm>
            <a:off x="0" y="0"/>
            <a:ext cx="12192000" cy="2148830"/>
            <a:chOff x="0" y="0"/>
            <a:chExt cx="12192000" cy="2148830"/>
          </a:xfrm>
        </p:grpSpPr>
        <p:sp>
          <p:nvSpPr>
            <p:cNvPr id="304" name="Google Shape;304;p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5" name="Google Shape;305;p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06" name="Google Shape;306;p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7" name="Google Shape;307;p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 name="Google Shape;308;p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09" name="Google Shape;309;p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10" name="Google Shape;310;p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2684"/>
        <p:cNvGrpSpPr/>
        <p:nvPr/>
      </p:nvGrpSpPr>
      <p:grpSpPr>
        <a:xfrm>
          <a:off x="0" y="0"/>
          <a:ext cx="0" cy="0"/>
          <a:chOff x="0" y="0"/>
          <a:chExt cx="0" cy="0"/>
        </a:xfrm>
      </p:grpSpPr>
      <p:sp>
        <p:nvSpPr>
          <p:cNvPr id="2685" name="Google Shape;2685;p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86" name="Google Shape;2686;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7" name="Google Shape;2687;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88" name="Google Shape;2688;p327"/>
          <p:cNvGrpSpPr/>
          <p:nvPr/>
        </p:nvGrpSpPr>
        <p:grpSpPr>
          <a:xfrm>
            <a:off x="7191542" y="1"/>
            <a:ext cx="5000459" cy="1425992"/>
            <a:chOff x="7191542" y="1"/>
            <a:chExt cx="5000459" cy="1425992"/>
          </a:xfrm>
        </p:grpSpPr>
        <p:pic>
          <p:nvPicPr>
            <p:cNvPr id="2689" name="Google Shape;2689;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90" name="Google Shape;2690;p327"/>
            <p:cNvGrpSpPr/>
            <p:nvPr/>
          </p:nvGrpSpPr>
          <p:grpSpPr>
            <a:xfrm>
              <a:off x="7191542" y="1"/>
              <a:ext cx="5000459" cy="1425992"/>
              <a:chOff x="7186272" y="0"/>
              <a:chExt cx="5005729" cy="1427495"/>
            </a:xfrm>
          </p:grpSpPr>
          <p:sp>
            <p:nvSpPr>
              <p:cNvPr id="2691" name="Google Shape;2691;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2" name="Google Shape;2692;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698"/>
        <p:cNvGrpSpPr/>
        <p:nvPr/>
      </p:nvGrpSpPr>
      <p:grpSpPr>
        <a:xfrm>
          <a:off x="0" y="0"/>
          <a:ext cx="0" cy="0"/>
          <a:chOff x="0" y="0"/>
          <a:chExt cx="0" cy="0"/>
        </a:xfrm>
      </p:grpSpPr>
      <p:grpSp>
        <p:nvGrpSpPr>
          <p:cNvPr id="2699" name="Google Shape;2699;p47"/>
          <p:cNvGrpSpPr/>
          <p:nvPr/>
        </p:nvGrpSpPr>
        <p:grpSpPr>
          <a:xfrm>
            <a:off x="7191542" y="1"/>
            <a:ext cx="5000459" cy="1425992"/>
            <a:chOff x="7191542" y="1"/>
            <a:chExt cx="5000459" cy="1425992"/>
          </a:xfrm>
        </p:grpSpPr>
        <p:pic>
          <p:nvPicPr>
            <p:cNvPr id="2700" name="Google Shape;2700;p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01" name="Google Shape;2701;p47"/>
            <p:cNvGrpSpPr/>
            <p:nvPr/>
          </p:nvGrpSpPr>
          <p:grpSpPr>
            <a:xfrm>
              <a:off x="7191542" y="1"/>
              <a:ext cx="5000459" cy="1425992"/>
              <a:chOff x="7186272" y="0"/>
              <a:chExt cx="5005729" cy="1427495"/>
            </a:xfrm>
          </p:grpSpPr>
          <p:sp>
            <p:nvSpPr>
              <p:cNvPr id="2702" name="Google Shape;2702;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03" name="Google Shape;2703;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04" name="Google Shape;2704;p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5" name="Google Shape;2705;p4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06" name="Google Shape;2706;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07" name="Google Shape;2707;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08" name="Google Shape;2708;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709"/>
        <p:cNvGrpSpPr/>
        <p:nvPr/>
      </p:nvGrpSpPr>
      <p:grpSpPr>
        <a:xfrm>
          <a:off x="0" y="0"/>
          <a:ext cx="0" cy="0"/>
          <a:chOff x="0" y="0"/>
          <a:chExt cx="0" cy="0"/>
        </a:xfrm>
      </p:grpSpPr>
      <p:sp>
        <p:nvSpPr>
          <p:cNvPr id="2710" name="Google Shape;2710;p47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1" name="Google Shape;2711;p47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2" name="Google Shape;2712;p47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13" name="Google Shape;2713;p476"/>
          <p:cNvSpPr>
            <a:spLocks noGrp="1"/>
          </p:cNvSpPr>
          <p:nvPr>
            <p:ph type="pic" idx="2"/>
          </p:nvPr>
        </p:nvSpPr>
        <p:spPr>
          <a:xfrm>
            <a:off x="7118684" y="233915"/>
            <a:ext cx="5073316" cy="5943600"/>
          </a:xfrm>
          <a:prstGeom prst="rect">
            <a:avLst/>
          </a:prstGeom>
          <a:noFill/>
          <a:ln>
            <a:noFill/>
          </a:ln>
        </p:spPr>
      </p:sp>
      <p:grpSp>
        <p:nvGrpSpPr>
          <p:cNvPr id="2714" name="Google Shape;2714;p476"/>
          <p:cNvGrpSpPr/>
          <p:nvPr/>
        </p:nvGrpSpPr>
        <p:grpSpPr>
          <a:xfrm>
            <a:off x="0" y="5020348"/>
            <a:ext cx="12192000" cy="1837653"/>
            <a:chOff x="0" y="5020348"/>
            <a:chExt cx="12192000" cy="1837653"/>
          </a:xfrm>
        </p:grpSpPr>
        <p:sp>
          <p:nvSpPr>
            <p:cNvPr id="2715" name="Google Shape;2715;p4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16" name="Google Shape;2716;p4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17" name="Google Shape;2717;p4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718"/>
        <p:cNvGrpSpPr/>
        <p:nvPr/>
      </p:nvGrpSpPr>
      <p:grpSpPr>
        <a:xfrm>
          <a:off x="0" y="0"/>
          <a:ext cx="0" cy="0"/>
          <a:chOff x="0" y="0"/>
          <a:chExt cx="0" cy="0"/>
        </a:xfrm>
      </p:grpSpPr>
      <p:grpSp>
        <p:nvGrpSpPr>
          <p:cNvPr id="2719" name="Google Shape;2719;p477"/>
          <p:cNvGrpSpPr/>
          <p:nvPr/>
        </p:nvGrpSpPr>
        <p:grpSpPr>
          <a:xfrm>
            <a:off x="0" y="5020347"/>
            <a:ext cx="12192000" cy="1837653"/>
            <a:chOff x="0" y="5020347"/>
            <a:chExt cx="12192000" cy="1837653"/>
          </a:xfrm>
        </p:grpSpPr>
        <p:sp>
          <p:nvSpPr>
            <p:cNvPr id="2720" name="Google Shape;2720;p47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21" name="Google Shape;2721;p4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22" name="Google Shape;2722;p47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23" name="Google Shape;2723;p4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724" name="Google Shape;2724;p47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25" name="Google Shape;2725;p47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726"/>
        <p:cNvGrpSpPr/>
        <p:nvPr/>
      </p:nvGrpSpPr>
      <p:grpSpPr>
        <a:xfrm>
          <a:off x="0" y="0"/>
          <a:ext cx="0" cy="0"/>
          <a:chOff x="0" y="0"/>
          <a:chExt cx="0" cy="0"/>
        </a:xfrm>
      </p:grpSpPr>
      <p:sp>
        <p:nvSpPr>
          <p:cNvPr id="2727" name="Google Shape;2727;p4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728" name="Google Shape;2728;p4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729" name="Google Shape;2729;p478"/>
          <p:cNvGrpSpPr/>
          <p:nvPr/>
        </p:nvGrpSpPr>
        <p:grpSpPr>
          <a:xfrm>
            <a:off x="0" y="5379426"/>
            <a:ext cx="2807368" cy="753891"/>
            <a:chOff x="0" y="5379426"/>
            <a:chExt cx="2807368" cy="753891"/>
          </a:xfrm>
        </p:grpSpPr>
        <p:sp>
          <p:nvSpPr>
            <p:cNvPr id="2730" name="Google Shape;2730;p4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31" name="Google Shape;2731;p4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732" name="Google Shape;2732;p478"/>
          <p:cNvSpPr>
            <a:spLocks noGrp="1"/>
          </p:cNvSpPr>
          <p:nvPr>
            <p:ph type="pic" idx="2"/>
          </p:nvPr>
        </p:nvSpPr>
        <p:spPr>
          <a:xfrm>
            <a:off x="2807368" y="457202"/>
            <a:ext cx="8915400" cy="5943598"/>
          </a:xfrm>
          <a:prstGeom prst="rect">
            <a:avLst/>
          </a:prstGeom>
          <a:noFill/>
          <a:ln>
            <a:noFill/>
          </a:ln>
        </p:spPr>
      </p:sp>
      <p:pic>
        <p:nvPicPr>
          <p:cNvPr id="2733" name="Google Shape;2733;p4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734"/>
        <p:cNvGrpSpPr/>
        <p:nvPr/>
      </p:nvGrpSpPr>
      <p:grpSpPr>
        <a:xfrm>
          <a:off x="0" y="0"/>
          <a:ext cx="0" cy="0"/>
          <a:chOff x="0" y="0"/>
          <a:chExt cx="0" cy="0"/>
        </a:xfrm>
      </p:grpSpPr>
      <p:sp>
        <p:nvSpPr>
          <p:cNvPr id="2735" name="Google Shape;2735;p4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36" name="Google Shape;2736;p4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7" name="Google Shape;2737;p4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38" name="Google Shape;2738;p4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39" name="Google Shape;2739;p4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0" name="Google Shape;2740;p4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41" name="Google Shape;2741;p479"/>
          <p:cNvGrpSpPr/>
          <p:nvPr/>
        </p:nvGrpSpPr>
        <p:grpSpPr>
          <a:xfrm>
            <a:off x="7191542" y="1"/>
            <a:ext cx="5000459" cy="1425992"/>
            <a:chOff x="7191542" y="1"/>
            <a:chExt cx="5000459" cy="1425992"/>
          </a:xfrm>
        </p:grpSpPr>
        <p:pic>
          <p:nvPicPr>
            <p:cNvPr id="2742" name="Google Shape;2742;p4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3" name="Google Shape;2743;p479"/>
            <p:cNvGrpSpPr/>
            <p:nvPr/>
          </p:nvGrpSpPr>
          <p:grpSpPr>
            <a:xfrm>
              <a:off x="7191542" y="1"/>
              <a:ext cx="5000459" cy="1425992"/>
              <a:chOff x="7186272" y="0"/>
              <a:chExt cx="5005729" cy="1427495"/>
            </a:xfrm>
          </p:grpSpPr>
          <p:sp>
            <p:nvSpPr>
              <p:cNvPr id="2744" name="Google Shape;2744;p4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5" name="Google Shape;2745;p4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746" name="Google Shape;2746;p4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747"/>
        <p:cNvGrpSpPr/>
        <p:nvPr/>
      </p:nvGrpSpPr>
      <p:grpSpPr>
        <a:xfrm>
          <a:off x="0" y="0"/>
          <a:ext cx="0" cy="0"/>
          <a:chOff x="0" y="0"/>
          <a:chExt cx="0" cy="0"/>
        </a:xfrm>
      </p:grpSpPr>
      <p:sp>
        <p:nvSpPr>
          <p:cNvPr id="2748" name="Google Shape;2748;p4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49" name="Google Shape;2749;p48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750" name="Google Shape;2750;p480"/>
          <p:cNvGrpSpPr/>
          <p:nvPr/>
        </p:nvGrpSpPr>
        <p:grpSpPr>
          <a:xfrm>
            <a:off x="7191542" y="1"/>
            <a:ext cx="5000459" cy="1425992"/>
            <a:chOff x="7191542" y="1"/>
            <a:chExt cx="5000459" cy="1425992"/>
          </a:xfrm>
        </p:grpSpPr>
        <p:pic>
          <p:nvPicPr>
            <p:cNvPr id="2751" name="Google Shape;2751;p4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52" name="Google Shape;2752;p480"/>
            <p:cNvGrpSpPr/>
            <p:nvPr/>
          </p:nvGrpSpPr>
          <p:grpSpPr>
            <a:xfrm>
              <a:off x="7191542" y="1"/>
              <a:ext cx="5000459" cy="1425992"/>
              <a:chOff x="7186272" y="0"/>
              <a:chExt cx="5005729" cy="1427495"/>
            </a:xfrm>
          </p:grpSpPr>
          <p:sp>
            <p:nvSpPr>
              <p:cNvPr id="2753" name="Google Shape;2753;p4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4" name="Google Shape;2754;p4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5" name="Google Shape;2755;p48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6" name="Google Shape;2756;p48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7" name="Google Shape;2757;p4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8" name="Google Shape;2758;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759"/>
        <p:cNvGrpSpPr/>
        <p:nvPr/>
      </p:nvGrpSpPr>
      <p:grpSpPr>
        <a:xfrm>
          <a:off x="0" y="0"/>
          <a:ext cx="0" cy="0"/>
          <a:chOff x="0" y="0"/>
          <a:chExt cx="0" cy="0"/>
        </a:xfrm>
      </p:grpSpPr>
      <p:grpSp>
        <p:nvGrpSpPr>
          <p:cNvPr id="2760" name="Google Shape;2760;p481"/>
          <p:cNvGrpSpPr/>
          <p:nvPr/>
        </p:nvGrpSpPr>
        <p:grpSpPr>
          <a:xfrm>
            <a:off x="7191542" y="1"/>
            <a:ext cx="5000459" cy="1425992"/>
            <a:chOff x="7191542" y="1"/>
            <a:chExt cx="5000459" cy="1425992"/>
          </a:xfrm>
        </p:grpSpPr>
        <p:pic>
          <p:nvPicPr>
            <p:cNvPr id="2761" name="Google Shape;2761;p4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62" name="Google Shape;2762;p481"/>
            <p:cNvGrpSpPr/>
            <p:nvPr/>
          </p:nvGrpSpPr>
          <p:grpSpPr>
            <a:xfrm>
              <a:off x="7191542" y="1"/>
              <a:ext cx="5000459" cy="1425992"/>
              <a:chOff x="7186272" y="0"/>
              <a:chExt cx="5005729" cy="1427495"/>
            </a:xfrm>
          </p:grpSpPr>
          <p:sp>
            <p:nvSpPr>
              <p:cNvPr id="2763" name="Google Shape;2763;p4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64" name="Google Shape;2764;p4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65" name="Google Shape;2765;p4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6" name="Google Shape;2766;p48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67" name="Google Shape;2767;p48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8" name="Google Shape;2768;p4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69" name="Google Shape;2769;p4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0" name="Google Shape;2770;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71" name="Google Shape;2771;p4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2" name="Google Shape;2772;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773"/>
        <p:cNvGrpSpPr/>
        <p:nvPr/>
      </p:nvGrpSpPr>
      <p:grpSpPr>
        <a:xfrm>
          <a:off x="0" y="0"/>
          <a:ext cx="0" cy="0"/>
          <a:chOff x="0" y="0"/>
          <a:chExt cx="0" cy="0"/>
        </a:xfrm>
      </p:grpSpPr>
      <p:grpSp>
        <p:nvGrpSpPr>
          <p:cNvPr id="2774" name="Google Shape;2774;p482"/>
          <p:cNvGrpSpPr/>
          <p:nvPr/>
        </p:nvGrpSpPr>
        <p:grpSpPr>
          <a:xfrm>
            <a:off x="7191542" y="1"/>
            <a:ext cx="5000459" cy="1425992"/>
            <a:chOff x="7191542" y="1"/>
            <a:chExt cx="5000459" cy="1425992"/>
          </a:xfrm>
        </p:grpSpPr>
        <p:pic>
          <p:nvPicPr>
            <p:cNvPr id="2775" name="Google Shape;2775;p4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76" name="Google Shape;2776;p482"/>
            <p:cNvGrpSpPr/>
            <p:nvPr/>
          </p:nvGrpSpPr>
          <p:grpSpPr>
            <a:xfrm>
              <a:off x="7191542" y="1"/>
              <a:ext cx="5000459" cy="1425992"/>
              <a:chOff x="7186272" y="0"/>
              <a:chExt cx="5005729" cy="1427495"/>
            </a:xfrm>
          </p:grpSpPr>
          <p:sp>
            <p:nvSpPr>
              <p:cNvPr id="2777" name="Google Shape;2777;p4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8" name="Google Shape;2778;p4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79" name="Google Shape;2779;p4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80" name="Google Shape;2780;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1" name="Google Shape;2781;p4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82" name="Google Shape;2782;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783"/>
        <p:cNvGrpSpPr/>
        <p:nvPr/>
      </p:nvGrpSpPr>
      <p:grpSpPr>
        <a:xfrm>
          <a:off x="0" y="0"/>
          <a:ext cx="0" cy="0"/>
          <a:chOff x="0" y="0"/>
          <a:chExt cx="0" cy="0"/>
        </a:xfrm>
      </p:grpSpPr>
      <p:grpSp>
        <p:nvGrpSpPr>
          <p:cNvPr id="2784" name="Google Shape;2784;p483"/>
          <p:cNvGrpSpPr/>
          <p:nvPr/>
        </p:nvGrpSpPr>
        <p:grpSpPr>
          <a:xfrm>
            <a:off x="0" y="0"/>
            <a:ext cx="12192000" cy="2148830"/>
            <a:chOff x="0" y="0"/>
            <a:chExt cx="12192000" cy="2148830"/>
          </a:xfrm>
        </p:grpSpPr>
        <p:sp>
          <p:nvSpPr>
            <p:cNvPr id="2785" name="Google Shape;2785;p4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86" name="Google Shape;2786;p4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787" name="Google Shape;2787;p48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8" name="Google Shape;2788;p48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89" name="Google Shape;2789;p4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790" name="Google Shape;2790;p48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791" name="Google Shape;2791;p48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311"/>
        <p:cNvGrpSpPr/>
        <p:nvPr/>
      </p:nvGrpSpPr>
      <p:grpSpPr>
        <a:xfrm>
          <a:off x="0" y="0"/>
          <a:ext cx="0" cy="0"/>
          <a:chOff x="0" y="0"/>
          <a:chExt cx="0" cy="0"/>
        </a:xfrm>
      </p:grpSpPr>
      <p:sp>
        <p:nvSpPr>
          <p:cNvPr id="312" name="Google Shape;312;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3" name="Google Shape;313;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 name="Google Shape;314;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5" name="Google Shape;315;p85"/>
          <p:cNvGrpSpPr/>
          <p:nvPr/>
        </p:nvGrpSpPr>
        <p:grpSpPr>
          <a:xfrm>
            <a:off x="7191542" y="1"/>
            <a:ext cx="5000459" cy="1425992"/>
            <a:chOff x="7191542" y="1"/>
            <a:chExt cx="5000459" cy="1425992"/>
          </a:xfrm>
        </p:grpSpPr>
        <p:pic>
          <p:nvPicPr>
            <p:cNvPr id="316" name="Google Shape;316;p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 name="Google Shape;317;p85"/>
            <p:cNvGrpSpPr/>
            <p:nvPr/>
          </p:nvGrpSpPr>
          <p:grpSpPr>
            <a:xfrm>
              <a:off x="7191542" y="1"/>
              <a:ext cx="5000459" cy="1425992"/>
              <a:chOff x="7186272" y="0"/>
              <a:chExt cx="5005729" cy="1427495"/>
            </a:xfrm>
          </p:grpSpPr>
          <p:sp>
            <p:nvSpPr>
              <p:cNvPr id="318" name="Google Shape;318;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9" name="Google Shape;319;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792"/>
        <p:cNvGrpSpPr/>
        <p:nvPr/>
      </p:nvGrpSpPr>
      <p:grpSpPr>
        <a:xfrm>
          <a:off x="0" y="0"/>
          <a:ext cx="0" cy="0"/>
          <a:chOff x="0" y="0"/>
          <a:chExt cx="0" cy="0"/>
        </a:xfrm>
      </p:grpSpPr>
      <p:sp>
        <p:nvSpPr>
          <p:cNvPr id="2793" name="Google Shape;2793;p4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94" name="Google Shape;2794;p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5" name="Google Shape;2795;p4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96" name="Google Shape;2796;p484"/>
          <p:cNvGrpSpPr/>
          <p:nvPr/>
        </p:nvGrpSpPr>
        <p:grpSpPr>
          <a:xfrm>
            <a:off x="7191542" y="1"/>
            <a:ext cx="5000459" cy="1425992"/>
            <a:chOff x="7191542" y="1"/>
            <a:chExt cx="5000459" cy="1425992"/>
          </a:xfrm>
        </p:grpSpPr>
        <p:pic>
          <p:nvPicPr>
            <p:cNvPr id="2797" name="Google Shape;2797;p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98" name="Google Shape;2798;p484"/>
            <p:cNvGrpSpPr/>
            <p:nvPr/>
          </p:nvGrpSpPr>
          <p:grpSpPr>
            <a:xfrm>
              <a:off x="7191542" y="1"/>
              <a:ext cx="5000459" cy="1425992"/>
              <a:chOff x="7186272" y="0"/>
              <a:chExt cx="5005729" cy="1427495"/>
            </a:xfrm>
          </p:grpSpPr>
          <p:sp>
            <p:nvSpPr>
              <p:cNvPr id="2799" name="Google Shape;2799;p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00" name="Google Shape;2800;p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801"/>
        <p:cNvGrpSpPr/>
        <p:nvPr/>
      </p:nvGrpSpPr>
      <p:grpSpPr>
        <a:xfrm>
          <a:off x="0" y="0"/>
          <a:ext cx="0" cy="0"/>
          <a:chOff x="0" y="0"/>
          <a:chExt cx="0" cy="0"/>
        </a:xfrm>
      </p:grpSpPr>
      <p:sp>
        <p:nvSpPr>
          <p:cNvPr id="2802" name="Google Shape;2802;p4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3" name="Google Shape;2803;p4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04" name="Google Shape;2804;p4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5" name="Google Shape;2805;p4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06" name="Google Shape;2806;p4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07" name="Google Shape;2807;p4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08" name="Google Shape;2808;p485"/>
          <p:cNvGrpSpPr/>
          <p:nvPr/>
        </p:nvGrpSpPr>
        <p:grpSpPr>
          <a:xfrm>
            <a:off x="7191542" y="1"/>
            <a:ext cx="5000459" cy="1425992"/>
            <a:chOff x="7191542" y="1"/>
            <a:chExt cx="5000459" cy="1425992"/>
          </a:xfrm>
        </p:grpSpPr>
        <p:pic>
          <p:nvPicPr>
            <p:cNvPr id="2809" name="Google Shape;2809;p4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10" name="Google Shape;2810;p485"/>
            <p:cNvGrpSpPr/>
            <p:nvPr/>
          </p:nvGrpSpPr>
          <p:grpSpPr>
            <a:xfrm>
              <a:off x="7191542" y="1"/>
              <a:ext cx="5000459" cy="1425992"/>
              <a:chOff x="7186272" y="0"/>
              <a:chExt cx="5005729" cy="1427495"/>
            </a:xfrm>
          </p:grpSpPr>
          <p:sp>
            <p:nvSpPr>
              <p:cNvPr id="2811" name="Google Shape;2811;p4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12" name="Google Shape;2812;p4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13" name="Google Shape;2813;p4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2814"/>
        <p:cNvGrpSpPr/>
        <p:nvPr/>
      </p:nvGrpSpPr>
      <p:grpSpPr>
        <a:xfrm>
          <a:off x="0" y="0"/>
          <a:ext cx="0" cy="0"/>
          <a:chOff x="0" y="0"/>
          <a:chExt cx="0" cy="0"/>
        </a:xfrm>
      </p:grpSpPr>
      <p:sp>
        <p:nvSpPr>
          <p:cNvPr id="2815" name="Google Shape;2815;p4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6" name="Google Shape;2816;p4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17" name="Google Shape;2817;p4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18" name="Google Shape;2818;p486"/>
          <p:cNvSpPr>
            <a:spLocks noGrp="1"/>
          </p:cNvSpPr>
          <p:nvPr>
            <p:ph type="pic" idx="2"/>
          </p:nvPr>
        </p:nvSpPr>
        <p:spPr>
          <a:xfrm>
            <a:off x="7118684" y="233915"/>
            <a:ext cx="5073316" cy="5943600"/>
          </a:xfrm>
          <a:prstGeom prst="rect">
            <a:avLst/>
          </a:prstGeom>
          <a:noFill/>
          <a:ln>
            <a:noFill/>
          </a:ln>
        </p:spPr>
      </p:sp>
      <p:grpSp>
        <p:nvGrpSpPr>
          <p:cNvPr id="2819" name="Google Shape;2819;p486"/>
          <p:cNvGrpSpPr/>
          <p:nvPr/>
        </p:nvGrpSpPr>
        <p:grpSpPr>
          <a:xfrm>
            <a:off x="0" y="5020348"/>
            <a:ext cx="12192000" cy="1837653"/>
            <a:chOff x="0" y="5020348"/>
            <a:chExt cx="12192000" cy="1837653"/>
          </a:xfrm>
        </p:grpSpPr>
        <p:sp>
          <p:nvSpPr>
            <p:cNvPr id="2820" name="Google Shape;2820;p4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1" name="Google Shape;2821;p4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22" name="Google Shape;2822;p4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2823"/>
        <p:cNvGrpSpPr/>
        <p:nvPr/>
      </p:nvGrpSpPr>
      <p:grpSpPr>
        <a:xfrm>
          <a:off x="0" y="0"/>
          <a:ext cx="0" cy="0"/>
          <a:chOff x="0" y="0"/>
          <a:chExt cx="0" cy="0"/>
        </a:xfrm>
      </p:grpSpPr>
      <p:grpSp>
        <p:nvGrpSpPr>
          <p:cNvPr id="2824" name="Google Shape;2824;p487"/>
          <p:cNvGrpSpPr/>
          <p:nvPr/>
        </p:nvGrpSpPr>
        <p:grpSpPr>
          <a:xfrm>
            <a:off x="0" y="5020347"/>
            <a:ext cx="12192000" cy="1837653"/>
            <a:chOff x="0" y="5020347"/>
            <a:chExt cx="12192000" cy="1837653"/>
          </a:xfrm>
        </p:grpSpPr>
        <p:sp>
          <p:nvSpPr>
            <p:cNvPr id="2825" name="Google Shape;2825;p4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6" name="Google Shape;2826;p4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7" name="Google Shape;2827;p4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28" name="Google Shape;2828;p4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29" name="Google Shape;2829;p4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30" name="Google Shape;2830;p4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2831"/>
        <p:cNvGrpSpPr/>
        <p:nvPr/>
      </p:nvGrpSpPr>
      <p:grpSpPr>
        <a:xfrm>
          <a:off x="0" y="0"/>
          <a:ext cx="0" cy="0"/>
          <a:chOff x="0" y="0"/>
          <a:chExt cx="0" cy="0"/>
        </a:xfrm>
      </p:grpSpPr>
      <p:sp>
        <p:nvSpPr>
          <p:cNvPr id="2832" name="Google Shape;2832;p4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33" name="Google Shape;2833;p4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34" name="Google Shape;2834;p488"/>
          <p:cNvGrpSpPr/>
          <p:nvPr/>
        </p:nvGrpSpPr>
        <p:grpSpPr>
          <a:xfrm>
            <a:off x="0" y="5379426"/>
            <a:ext cx="2807368" cy="753891"/>
            <a:chOff x="0" y="5379426"/>
            <a:chExt cx="2807368" cy="753891"/>
          </a:xfrm>
        </p:grpSpPr>
        <p:sp>
          <p:nvSpPr>
            <p:cNvPr id="2835" name="Google Shape;2835;p4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36" name="Google Shape;2836;p4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37" name="Google Shape;2837;p488"/>
          <p:cNvSpPr>
            <a:spLocks noGrp="1"/>
          </p:cNvSpPr>
          <p:nvPr>
            <p:ph type="pic" idx="2"/>
          </p:nvPr>
        </p:nvSpPr>
        <p:spPr>
          <a:xfrm>
            <a:off x="2807368" y="457202"/>
            <a:ext cx="8915400" cy="5943598"/>
          </a:xfrm>
          <a:prstGeom prst="rect">
            <a:avLst/>
          </a:prstGeom>
          <a:noFill/>
          <a:ln>
            <a:noFill/>
          </a:ln>
        </p:spPr>
      </p:sp>
      <p:pic>
        <p:nvPicPr>
          <p:cNvPr id="2838" name="Google Shape;2838;p4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839"/>
        <p:cNvGrpSpPr/>
        <p:nvPr/>
      </p:nvGrpSpPr>
      <p:grpSpPr>
        <a:xfrm>
          <a:off x="0" y="0"/>
          <a:ext cx="0" cy="0"/>
          <a:chOff x="0" y="0"/>
          <a:chExt cx="0" cy="0"/>
        </a:xfrm>
      </p:grpSpPr>
      <p:sp>
        <p:nvSpPr>
          <p:cNvPr id="2840" name="Google Shape;2840;p4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41" name="Google Shape;2841;p4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42" name="Google Shape;2842;p4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43" name="Google Shape;2843;p4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44" name="Google Shape;2844;p4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45" name="Google Shape;2845;p4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46" name="Google Shape;2846;p489"/>
          <p:cNvGrpSpPr/>
          <p:nvPr/>
        </p:nvGrpSpPr>
        <p:grpSpPr>
          <a:xfrm>
            <a:off x="7191542" y="1"/>
            <a:ext cx="5000459" cy="1425992"/>
            <a:chOff x="7191542" y="1"/>
            <a:chExt cx="5000459" cy="1425992"/>
          </a:xfrm>
        </p:grpSpPr>
        <p:pic>
          <p:nvPicPr>
            <p:cNvPr id="2847" name="Google Shape;2847;p4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48" name="Google Shape;2848;p489"/>
            <p:cNvGrpSpPr/>
            <p:nvPr/>
          </p:nvGrpSpPr>
          <p:grpSpPr>
            <a:xfrm>
              <a:off x="7191542" y="1"/>
              <a:ext cx="5000459" cy="1425992"/>
              <a:chOff x="7186272" y="0"/>
              <a:chExt cx="5005729" cy="1427495"/>
            </a:xfrm>
          </p:grpSpPr>
          <p:sp>
            <p:nvSpPr>
              <p:cNvPr id="2849" name="Google Shape;2849;p4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50" name="Google Shape;2850;p4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51" name="Google Shape;2851;p4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2852"/>
        <p:cNvGrpSpPr/>
        <p:nvPr/>
      </p:nvGrpSpPr>
      <p:grpSpPr>
        <a:xfrm>
          <a:off x="0" y="0"/>
          <a:ext cx="0" cy="0"/>
          <a:chOff x="0" y="0"/>
          <a:chExt cx="0" cy="0"/>
        </a:xfrm>
      </p:grpSpPr>
      <p:sp>
        <p:nvSpPr>
          <p:cNvPr id="2853" name="Google Shape;2853;p4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54" name="Google Shape;2854;p4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5" name="Google Shape;2855;p4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6" name="Google Shape;2856;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57" name="Google Shape;2857;p4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58" name="Google Shape;2858;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59" name="Google Shape;2859;p490"/>
          <p:cNvGrpSpPr/>
          <p:nvPr/>
        </p:nvGrpSpPr>
        <p:grpSpPr>
          <a:xfrm>
            <a:off x="7191542" y="1"/>
            <a:ext cx="5000459" cy="1425992"/>
            <a:chOff x="7191542" y="1"/>
            <a:chExt cx="5000459" cy="1425992"/>
          </a:xfrm>
        </p:grpSpPr>
        <p:pic>
          <p:nvPicPr>
            <p:cNvPr id="2860" name="Google Shape;2860;p4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61" name="Google Shape;2861;p490"/>
            <p:cNvGrpSpPr/>
            <p:nvPr/>
          </p:nvGrpSpPr>
          <p:grpSpPr>
            <a:xfrm>
              <a:off x="7191542" y="1"/>
              <a:ext cx="5000459" cy="1425992"/>
              <a:chOff x="7186272" y="0"/>
              <a:chExt cx="5005729" cy="1427495"/>
            </a:xfrm>
          </p:grpSpPr>
          <p:sp>
            <p:nvSpPr>
              <p:cNvPr id="2862" name="Google Shape;2862;p4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63" name="Google Shape;2863;p4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64" name="Google Shape;2864;p4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2865"/>
        <p:cNvGrpSpPr/>
        <p:nvPr/>
      </p:nvGrpSpPr>
      <p:grpSpPr>
        <a:xfrm>
          <a:off x="0" y="0"/>
          <a:ext cx="0" cy="0"/>
          <a:chOff x="0" y="0"/>
          <a:chExt cx="0" cy="0"/>
        </a:xfrm>
      </p:grpSpPr>
      <p:grpSp>
        <p:nvGrpSpPr>
          <p:cNvPr id="2866" name="Google Shape;2866;p491"/>
          <p:cNvGrpSpPr/>
          <p:nvPr/>
        </p:nvGrpSpPr>
        <p:grpSpPr>
          <a:xfrm>
            <a:off x="7191542" y="1"/>
            <a:ext cx="5000459" cy="1425992"/>
            <a:chOff x="7191542" y="1"/>
            <a:chExt cx="5000459" cy="1425992"/>
          </a:xfrm>
        </p:grpSpPr>
        <p:pic>
          <p:nvPicPr>
            <p:cNvPr id="2867" name="Google Shape;2867;p4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68" name="Google Shape;2868;p491"/>
            <p:cNvGrpSpPr/>
            <p:nvPr/>
          </p:nvGrpSpPr>
          <p:grpSpPr>
            <a:xfrm>
              <a:off x="7191542" y="1"/>
              <a:ext cx="5000459" cy="1425992"/>
              <a:chOff x="7186272" y="0"/>
              <a:chExt cx="5005729" cy="1427495"/>
            </a:xfrm>
          </p:grpSpPr>
          <p:sp>
            <p:nvSpPr>
              <p:cNvPr id="2869" name="Google Shape;2869;p4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0" name="Google Shape;2870;p4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71" name="Google Shape;2871;p4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2" name="Google Shape;2872;p4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3" name="Google Shape;2873;p4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74" name="Google Shape;2874;p4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5" name="Google Shape;2875;p4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2876"/>
        <p:cNvGrpSpPr/>
        <p:nvPr/>
      </p:nvGrpSpPr>
      <p:grpSpPr>
        <a:xfrm>
          <a:off x="0" y="0"/>
          <a:ext cx="0" cy="0"/>
          <a:chOff x="0" y="0"/>
          <a:chExt cx="0" cy="0"/>
        </a:xfrm>
      </p:grpSpPr>
      <p:sp>
        <p:nvSpPr>
          <p:cNvPr id="2877" name="Google Shape;2877;p4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8" name="Google Shape;2878;p4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79" name="Google Shape;2879;p492"/>
          <p:cNvGrpSpPr/>
          <p:nvPr/>
        </p:nvGrpSpPr>
        <p:grpSpPr>
          <a:xfrm>
            <a:off x="7191542" y="1"/>
            <a:ext cx="5000459" cy="1425992"/>
            <a:chOff x="7191542" y="1"/>
            <a:chExt cx="5000459" cy="1425992"/>
          </a:xfrm>
        </p:grpSpPr>
        <p:pic>
          <p:nvPicPr>
            <p:cNvPr id="2880" name="Google Shape;2880;p4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81" name="Google Shape;2881;p492"/>
            <p:cNvGrpSpPr/>
            <p:nvPr/>
          </p:nvGrpSpPr>
          <p:grpSpPr>
            <a:xfrm>
              <a:off x="7191542" y="1"/>
              <a:ext cx="5000459" cy="1425992"/>
              <a:chOff x="7186272" y="0"/>
              <a:chExt cx="5005729" cy="1427495"/>
            </a:xfrm>
          </p:grpSpPr>
          <p:sp>
            <p:nvSpPr>
              <p:cNvPr id="2882" name="Google Shape;2882;p4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83" name="Google Shape;2883;p4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4" name="Google Shape;2884;p4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5" name="Google Shape;2885;p4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86" name="Google Shape;2886;p4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7" name="Google Shape;2887;p4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2888"/>
        <p:cNvGrpSpPr/>
        <p:nvPr/>
      </p:nvGrpSpPr>
      <p:grpSpPr>
        <a:xfrm>
          <a:off x="0" y="0"/>
          <a:ext cx="0" cy="0"/>
          <a:chOff x="0" y="0"/>
          <a:chExt cx="0" cy="0"/>
        </a:xfrm>
      </p:grpSpPr>
      <p:grpSp>
        <p:nvGrpSpPr>
          <p:cNvPr id="2889" name="Google Shape;2889;p493"/>
          <p:cNvGrpSpPr/>
          <p:nvPr/>
        </p:nvGrpSpPr>
        <p:grpSpPr>
          <a:xfrm>
            <a:off x="7191542" y="1"/>
            <a:ext cx="5000459" cy="1425992"/>
            <a:chOff x="7191542" y="1"/>
            <a:chExt cx="5000459" cy="1425992"/>
          </a:xfrm>
        </p:grpSpPr>
        <p:pic>
          <p:nvPicPr>
            <p:cNvPr id="2890" name="Google Shape;2890;p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91" name="Google Shape;2891;p493"/>
            <p:cNvGrpSpPr/>
            <p:nvPr/>
          </p:nvGrpSpPr>
          <p:grpSpPr>
            <a:xfrm>
              <a:off x="7191542" y="1"/>
              <a:ext cx="5000459" cy="1425992"/>
              <a:chOff x="7186272" y="0"/>
              <a:chExt cx="5005729" cy="1427495"/>
            </a:xfrm>
          </p:grpSpPr>
          <p:sp>
            <p:nvSpPr>
              <p:cNvPr id="2892" name="Google Shape;2892;p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93" name="Google Shape;2893;p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94" name="Google Shape;2894;p4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95" name="Google Shape;2895;p4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96" name="Google Shape;2896;p4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7" name="Google Shape;2897;p4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98" name="Google Shape;2898;p4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9" name="Google Shape;2899;p4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0" name="Google Shape;2900;p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1" name="Google Shape;2901;p4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20"/>
        <p:cNvGrpSpPr/>
        <p:nvPr/>
      </p:nvGrpSpPr>
      <p:grpSpPr>
        <a:xfrm>
          <a:off x="0" y="0"/>
          <a:ext cx="0" cy="0"/>
          <a:chOff x="0" y="0"/>
          <a:chExt cx="0" cy="0"/>
        </a:xfrm>
      </p:grpSpPr>
      <p:sp>
        <p:nvSpPr>
          <p:cNvPr id="321" name="Google Shape;321;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2" name="Google Shape;322;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 name="Google Shape;323;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 name="Google Shape;324;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86"/>
          <p:cNvGrpSpPr/>
          <p:nvPr/>
        </p:nvGrpSpPr>
        <p:grpSpPr>
          <a:xfrm>
            <a:off x="7191542" y="1"/>
            <a:ext cx="5000459" cy="1425992"/>
            <a:chOff x="7191542" y="1"/>
            <a:chExt cx="5000459" cy="1425992"/>
          </a:xfrm>
        </p:grpSpPr>
        <p:pic>
          <p:nvPicPr>
            <p:cNvPr id="328" name="Google Shape;328;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86"/>
            <p:cNvGrpSpPr/>
            <p:nvPr/>
          </p:nvGrpSpPr>
          <p:grpSpPr>
            <a:xfrm>
              <a:off x="7191542" y="1"/>
              <a:ext cx="5000459" cy="1425992"/>
              <a:chOff x="7186272" y="0"/>
              <a:chExt cx="5005729" cy="1427495"/>
            </a:xfrm>
          </p:grpSpPr>
          <p:sp>
            <p:nvSpPr>
              <p:cNvPr id="330" name="Google Shape;330;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32" name="Google Shape;332;p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2902"/>
        <p:cNvGrpSpPr/>
        <p:nvPr/>
      </p:nvGrpSpPr>
      <p:grpSpPr>
        <a:xfrm>
          <a:off x="0" y="0"/>
          <a:ext cx="0" cy="0"/>
          <a:chOff x="0" y="0"/>
          <a:chExt cx="0" cy="0"/>
        </a:xfrm>
      </p:grpSpPr>
      <p:grpSp>
        <p:nvGrpSpPr>
          <p:cNvPr id="2903" name="Google Shape;2903;p494"/>
          <p:cNvGrpSpPr/>
          <p:nvPr/>
        </p:nvGrpSpPr>
        <p:grpSpPr>
          <a:xfrm>
            <a:off x="7191542" y="1"/>
            <a:ext cx="5000459" cy="1425992"/>
            <a:chOff x="7191542" y="1"/>
            <a:chExt cx="5000459" cy="1425992"/>
          </a:xfrm>
        </p:grpSpPr>
        <p:pic>
          <p:nvPicPr>
            <p:cNvPr id="2904" name="Google Shape;2904;p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05" name="Google Shape;2905;p494"/>
            <p:cNvGrpSpPr/>
            <p:nvPr/>
          </p:nvGrpSpPr>
          <p:grpSpPr>
            <a:xfrm>
              <a:off x="7191542" y="1"/>
              <a:ext cx="5000459" cy="1425992"/>
              <a:chOff x="7186272" y="0"/>
              <a:chExt cx="5005729" cy="1427495"/>
            </a:xfrm>
          </p:grpSpPr>
          <p:sp>
            <p:nvSpPr>
              <p:cNvPr id="2906" name="Google Shape;2906;p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07" name="Google Shape;2907;p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08" name="Google Shape;2908;p4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09" name="Google Shape;2909;p4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10" name="Google Shape;2910;p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1" name="Google Shape;2911;p4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2912"/>
        <p:cNvGrpSpPr/>
        <p:nvPr/>
      </p:nvGrpSpPr>
      <p:grpSpPr>
        <a:xfrm>
          <a:off x="0" y="0"/>
          <a:ext cx="0" cy="0"/>
          <a:chOff x="0" y="0"/>
          <a:chExt cx="0" cy="0"/>
        </a:xfrm>
      </p:grpSpPr>
      <p:grpSp>
        <p:nvGrpSpPr>
          <p:cNvPr id="2913" name="Google Shape;2913;p495"/>
          <p:cNvGrpSpPr/>
          <p:nvPr/>
        </p:nvGrpSpPr>
        <p:grpSpPr>
          <a:xfrm>
            <a:off x="0" y="0"/>
            <a:ext cx="12192000" cy="2148830"/>
            <a:chOff x="0" y="0"/>
            <a:chExt cx="12192000" cy="2148830"/>
          </a:xfrm>
        </p:grpSpPr>
        <p:sp>
          <p:nvSpPr>
            <p:cNvPr id="2914" name="Google Shape;2914;p4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15" name="Google Shape;2915;p4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916" name="Google Shape;2916;p4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17" name="Google Shape;2917;p4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18" name="Google Shape;2918;p4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919" name="Google Shape;2919;p4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920" name="Google Shape;2920;p4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921"/>
        <p:cNvGrpSpPr/>
        <p:nvPr/>
      </p:nvGrpSpPr>
      <p:grpSpPr>
        <a:xfrm>
          <a:off x="0" y="0"/>
          <a:ext cx="0" cy="0"/>
          <a:chOff x="0" y="0"/>
          <a:chExt cx="0" cy="0"/>
        </a:xfrm>
      </p:grpSpPr>
      <p:sp>
        <p:nvSpPr>
          <p:cNvPr id="2922" name="Google Shape;2922;p4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23" name="Google Shape;2923;p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24" name="Google Shape;2924;p4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25" name="Google Shape;2925;p496"/>
          <p:cNvGrpSpPr/>
          <p:nvPr/>
        </p:nvGrpSpPr>
        <p:grpSpPr>
          <a:xfrm>
            <a:off x="7191542" y="1"/>
            <a:ext cx="5000459" cy="1425992"/>
            <a:chOff x="7191542" y="1"/>
            <a:chExt cx="5000459" cy="1425992"/>
          </a:xfrm>
        </p:grpSpPr>
        <p:pic>
          <p:nvPicPr>
            <p:cNvPr id="2926" name="Google Shape;2926;p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27" name="Google Shape;2927;p496"/>
            <p:cNvGrpSpPr/>
            <p:nvPr/>
          </p:nvGrpSpPr>
          <p:grpSpPr>
            <a:xfrm>
              <a:off x="7191542" y="1"/>
              <a:ext cx="5000459" cy="1425992"/>
              <a:chOff x="7186272" y="0"/>
              <a:chExt cx="5005729" cy="1427495"/>
            </a:xfrm>
          </p:grpSpPr>
          <p:sp>
            <p:nvSpPr>
              <p:cNvPr id="2928" name="Google Shape;2928;p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29" name="Google Shape;2929;p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2930"/>
        <p:cNvGrpSpPr/>
        <p:nvPr/>
      </p:nvGrpSpPr>
      <p:grpSpPr>
        <a:xfrm>
          <a:off x="0" y="0"/>
          <a:ext cx="0" cy="0"/>
          <a:chOff x="0" y="0"/>
          <a:chExt cx="0" cy="0"/>
        </a:xfrm>
      </p:grpSpPr>
      <p:sp>
        <p:nvSpPr>
          <p:cNvPr id="2931" name="Google Shape;2931;p4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32" name="Google Shape;2932;p4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33" name="Google Shape;2933;p4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34" name="Google Shape;2934;p497"/>
          <p:cNvSpPr>
            <a:spLocks noGrp="1"/>
          </p:cNvSpPr>
          <p:nvPr>
            <p:ph type="pic" idx="2"/>
          </p:nvPr>
        </p:nvSpPr>
        <p:spPr>
          <a:xfrm>
            <a:off x="7118684" y="233915"/>
            <a:ext cx="5073316" cy="5943600"/>
          </a:xfrm>
          <a:prstGeom prst="rect">
            <a:avLst/>
          </a:prstGeom>
          <a:noFill/>
          <a:ln>
            <a:noFill/>
          </a:ln>
        </p:spPr>
      </p:sp>
      <p:grpSp>
        <p:nvGrpSpPr>
          <p:cNvPr id="2935" name="Google Shape;2935;p497"/>
          <p:cNvGrpSpPr/>
          <p:nvPr/>
        </p:nvGrpSpPr>
        <p:grpSpPr>
          <a:xfrm>
            <a:off x="0" y="5020348"/>
            <a:ext cx="12192000" cy="1837653"/>
            <a:chOff x="0" y="5020348"/>
            <a:chExt cx="12192000" cy="1837653"/>
          </a:xfrm>
        </p:grpSpPr>
        <p:sp>
          <p:nvSpPr>
            <p:cNvPr id="2936" name="Google Shape;2936;p4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37" name="Google Shape;2937;p4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938" name="Google Shape;2938;p4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2939"/>
        <p:cNvGrpSpPr/>
        <p:nvPr/>
      </p:nvGrpSpPr>
      <p:grpSpPr>
        <a:xfrm>
          <a:off x="0" y="0"/>
          <a:ext cx="0" cy="0"/>
          <a:chOff x="0" y="0"/>
          <a:chExt cx="0" cy="0"/>
        </a:xfrm>
      </p:grpSpPr>
      <p:grpSp>
        <p:nvGrpSpPr>
          <p:cNvPr id="2940" name="Google Shape;2940;p498"/>
          <p:cNvGrpSpPr/>
          <p:nvPr/>
        </p:nvGrpSpPr>
        <p:grpSpPr>
          <a:xfrm>
            <a:off x="0" y="5020347"/>
            <a:ext cx="12192000" cy="1837653"/>
            <a:chOff x="0" y="5020347"/>
            <a:chExt cx="12192000" cy="1837653"/>
          </a:xfrm>
        </p:grpSpPr>
        <p:sp>
          <p:nvSpPr>
            <p:cNvPr id="2941" name="Google Shape;2941;p4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42" name="Google Shape;2942;p4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43" name="Google Shape;2943;p4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944" name="Google Shape;2944;p4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45" name="Google Shape;2945;p4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6" name="Google Shape;2946;p4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947"/>
        <p:cNvGrpSpPr/>
        <p:nvPr/>
      </p:nvGrpSpPr>
      <p:grpSpPr>
        <a:xfrm>
          <a:off x="0" y="0"/>
          <a:ext cx="0" cy="0"/>
          <a:chOff x="0" y="0"/>
          <a:chExt cx="0" cy="0"/>
        </a:xfrm>
      </p:grpSpPr>
      <p:sp>
        <p:nvSpPr>
          <p:cNvPr id="2948" name="Google Shape;2948;p4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49" name="Google Shape;2949;p4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0" name="Google Shape;2950;p4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1" name="Google Shape;2951;p4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52" name="Google Shape;2952;p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53" name="Google Shape;2953;p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54" name="Google Shape;2954;p499"/>
          <p:cNvGrpSpPr/>
          <p:nvPr/>
        </p:nvGrpSpPr>
        <p:grpSpPr>
          <a:xfrm>
            <a:off x="7191542" y="1"/>
            <a:ext cx="5000459" cy="1425992"/>
            <a:chOff x="7191542" y="1"/>
            <a:chExt cx="5000459" cy="1425992"/>
          </a:xfrm>
        </p:grpSpPr>
        <p:pic>
          <p:nvPicPr>
            <p:cNvPr id="2955" name="Google Shape;2955;p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6" name="Google Shape;2956;p499"/>
            <p:cNvGrpSpPr/>
            <p:nvPr/>
          </p:nvGrpSpPr>
          <p:grpSpPr>
            <a:xfrm>
              <a:off x="7191542" y="1"/>
              <a:ext cx="5000459" cy="1425992"/>
              <a:chOff x="7186272" y="0"/>
              <a:chExt cx="5005729" cy="1427495"/>
            </a:xfrm>
          </p:grpSpPr>
          <p:sp>
            <p:nvSpPr>
              <p:cNvPr id="2957" name="Google Shape;2957;p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8" name="Google Shape;2958;p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959" name="Google Shape;2959;p4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2960"/>
        <p:cNvGrpSpPr/>
        <p:nvPr/>
      </p:nvGrpSpPr>
      <p:grpSpPr>
        <a:xfrm>
          <a:off x="0" y="0"/>
          <a:ext cx="0" cy="0"/>
          <a:chOff x="0" y="0"/>
          <a:chExt cx="0" cy="0"/>
        </a:xfrm>
      </p:grpSpPr>
      <p:grpSp>
        <p:nvGrpSpPr>
          <p:cNvPr id="2961" name="Google Shape;2961;p500"/>
          <p:cNvGrpSpPr/>
          <p:nvPr/>
        </p:nvGrpSpPr>
        <p:grpSpPr>
          <a:xfrm>
            <a:off x="7191542" y="1"/>
            <a:ext cx="5000459" cy="1425992"/>
            <a:chOff x="7191542" y="1"/>
            <a:chExt cx="5000459" cy="1425992"/>
          </a:xfrm>
        </p:grpSpPr>
        <p:pic>
          <p:nvPicPr>
            <p:cNvPr id="2962" name="Google Shape;2962;p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63" name="Google Shape;2963;p500"/>
            <p:cNvGrpSpPr/>
            <p:nvPr/>
          </p:nvGrpSpPr>
          <p:grpSpPr>
            <a:xfrm>
              <a:off x="7191542" y="1"/>
              <a:ext cx="5000459" cy="1425992"/>
              <a:chOff x="7186272" y="0"/>
              <a:chExt cx="5005729" cy="1427495"/>
            </a:xfrm>
          </p:grpSpPr>
          <p:sp>
            <p:nvSpPr>
              <p:cNvPr id="2964" name="Google Shape;2964;p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5" name="Google Shape;2965;p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66" name="Google Shape;2966;p5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67" name="Google Shape;2967;p50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8" name="Google Shape;2968;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69" name="Google Shape;2969;p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70" name="Google Shape;2970;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2971"/>
        <p:cNvGrpSpPr/>
        <p:nvPr/>
      </p:nvGrpSpPr>
      <p:grpSpPr>
        <a:xfrm>
          <a:off x="0" y="0"/>
          <a:ext cx="0" cy="0"/>
          <a:chOff x="0" y="0"/>
          <a:chExt cx="0" cy="0"/>
        </a:xfrm>
      </p:grpSpPr>
      <p:sp>
        <p:nvSpPr>
          <p:cNvPr id="2972" name="Google Shape;2972;p5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73" name="Google Shape;2973;p50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74" name="Google Shape;2974;p501"/>
          <p:cNvGrpSpPr/>
          <p:nvPr/>
        </p:nvGrpSpPr>
        <p:grpSpPr>
          <a:xfrm>
            <a:off x="7191542" y="1"/>
            <a:ext cx="5000459" cy="1425992"/>
            <a:chOff x="7191542" y="1"/>
            <a:chExt cx="5000459" cy="1425992"/>
          </a:xfrm>
        </p:grpSpPr>
        <p:pic>
          <p:nvPicPr>
            <p:cNvPr id="2975" name="Google Shape;2975;p5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76" name="Google Shape;2976;p501"/>
            <p:cNvGrpSpPr/>
            <p:nvPr/>
          </p:nvGrpSpPr>
          <p:grpSpPr>
            <a:xfrm>
              <a:off x="7191542" y="1"/>
              <a:ext cx="5000459" cy="1425992"/>
              <a:chOff x="7186272" y="0"/>
              <a:chExt cx="5005729" cy="1427495"/>
            </a:xfrm>
          </p:grpSpPr>
          <p:sp>
            <p:nvSpPr>
              <p:cNvPr id="2977" name="Google Shape;2977;p5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8" name="Google Shape;2978;p5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79" name="Google Shape;2979;p50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0" name="Google Shape;2980;p50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1" name="Google Shape;2981;p5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82" name="Google Shape;2982;p5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2983"/>
        <p:cNvGrpSpPr/>
        <p:nvPr/>
      </p:nvGrpSpPr>
      <p:grpSpPr>
        <a:xfrm>
          <a:off x="0" y="0"/>
          <a:ext cx="0" cy="0"/>
          <a:chOff x="0" y="0"/>
          <a:chExt cx="0" cy="0"/>
        </a:xfrm>
      </p:grpSpPr>
      <p:grpSp>
        <p:nvGrpSpPr>
          <p:cNvPr id="2984" name="Google Shape;2984;p502"/>
          <p:cNvGrpSpPr/>
          <p:nvPr/>
        </p:nvGrpSpPr>
        <p:grpSpPr>
          <a:xfrm>
            <a:off x="7191542" y="1"/>
            <a:ext cx="5000459" cy="1425992"/>
            <a:chOff x="7191542" y="1"/>
            <a:chExt cx="5000459" cy="1425992"/>
          </a:xfrm>
        </p:grpSpPr>
        <p:pic>
          <p:nvPicPr>
            <p:cNvPr id="2985" name="Google Shape;2985;p5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86" name="Google Shape;2986;p502"/>
            <p:cNvGrpSpPr/>
            <p:nvPr/>
          </p:nvGrpSpPr>
          <p:grpSpPr>
            <a:xfrm>
              <a:off x="7191542" y="1"/>
              <a:ext cx="5000459" cy="1425992"/>
              <a:chOff x="7186272" y="0"/>
              <a:chExt cx="5005729" cy="1427495"/>
            </a:xfrm>
          </p:grpSpPr>
          <p:sp>
            <p:nvSpPr>
              <p:cNvPr id="2987" name="Google Shape;2987;p5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88" name="Google Shape;2988;p5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9" name="Google Shape;2989;p5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0" name="Google Shape;2990;p50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1" name="Google Shape;2991;p50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2" name="Google Shape;2992;p5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93" name="Google Shape;2993;p5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94" name="Google Shape;2994;p5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95" name="Google Shape;2995;p5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6" name="Google Shape;2996;p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2997"/>
        <p:cNvGrpSpPr/>
        <p:nvPr/>
      </p:nvGrpSpPr>
      <p:grpSpPr>
        <a:xfrm>
          <a:off x="0" y="0"/>
          <a:ext cx="0" cy="0"/>
          <a:chOff x="0" y="0"/>
          <a:chExt cx="0" cy="0"/>
        </a:xfrm>
      </p:grpSpPr>
      <p:sp>
        <p:nvSpPr>
          <p:cNvPr id="2998" name="Google Shape;2998;p50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99" name="Google Shape;2999;p5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00" name="Google Shape;3000;p503"/>
          <p:cNvGrpSpPr/>
          <p:nvPr/>
        </p:nvGrpSpPr>
        <p:grpSpPr>
          <a:xfrm>
            <a:off x="0" y="5379426"/>
            <a:ext cx="2807368" cy="753891"/>
            <a:chOff x="0" y="5379426"/>
            <a:chExt cx="2807368" cy="753891"/>
          </a:xfrm>
        </p:grpSpPr>
        <p:sp>
          <p:nvSpPr>
            <p:cNvPr id="3001" name="Google Shape;3001;p5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02" name="Google Shape;3002;p5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003" name="Google Shape;3003;p503"/>
          <p:cNvSpPr>
            <a:spLocks noGrp="1"/>
          </p:cNvSpPr>
          <p:nvPr>
            <p:ph type="pic" idx="2"/>
          </p:nvPr>
        </p:nvSpPr>
        <p:spPr>
          <a:xfrm>
            <a:off x="2807368" y="457202"/>
            <a:ext cx="8915400" cy="5943598"/>
          </a:xfrm>
          <a:prstGeom prst="rect">
            <a:avLst/>
          </a:prstGeom>
          <a:noFill/>
          <a:ln>
            <a:noFill/>
          </a:ln>
        </p:spPr>
      </p:sp>
      <p:pic>
        <p:nvPicPr>
          <p:cNvPr id="3004" name="Google Shape;3004;p50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0"/>
        <p:cNvGrpSpPr/>
        <p:nvPr/>
      </p:nvGrpSpPr>
      <p:grpSpPr>
        <a:xfrm>
          <a:off x="0" y="0"/>
          <a:ext cx="0" cy="0"/>
          <a:chOff x="0" y="0"/>
          <a:chExt cx="0" cy="0"/>
        </a:xfrm>
      </p:grpSpPr>
      <p:grpSp>
        <p:nvGrpSpPr>
          <p:cNvPr id="41" name="Google Shape;41;p49"/>
          <p:cNvGrpSpPr/>
          <p:nvPr/>
        </p:nvGrpSpPr>
        <p:grpSpPr>
          <a:xfrm>
            <a:off x="7191542" y="1"/>
            <a:ext cx="5000459" cy="1425992"/>
            <a:chOff x="7191542" y="1"/>
            <a:chExt cx="5000459" cy="1425992"/>
          </a:xfrm>
        </p:grpSpPr>
        <p:pic>
          <p:nvPicPr>
            <p:cNvPr id="42" name="Google Shape;42;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 name="Google Shape;43;p49"/>
            <p:cNvGrpSpPr/>
            <p:nvPr/>
          </p:nvGrpSpPr>
          <p:grpSpPr>
            <a:xfrm>
              <a:off x="7191542" y="1"/>
              <a:ext cx="5000459" cy="1425992"/>
              <a:chOff x="7186272" y="0"/>
              <a:chExt cx="5005729" cy="1427495"/>
            </a:xfrm>
          </p:grpSpPr>
          <p:sp>
            <p:nvSpPr>
              <p:cNvPr id="44" name="Google Shape;44;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 name="Google Shape;45;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6" name="Google Shape;46;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 name="Google Shape;49;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 name="Google Shape;50;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33"/>
        <p:cNvGrpSpPr/>
        <p:nvPr/>
      </p:nvGrpSpPr>
      <p:grpSpPr>
        <a:xfrm>
          <a:off x="0" y="0"/>
          <a:ext cx="0" cy="0"/>
          <a:chOff x="0" y="0"/>
          <a:chExt cx="0" cy="0"/>
        </a:xfrm>
      </p:grpSpPr>
      <p:sp>
        <p:nvSpPr>
          <p:cNvPr id="334" name="Google Shape;334;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5" name="Google Shape;335;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 name="Google Shape;336;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 name="Google Shape;337;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8" name="Google Shape;33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 name="Google Shape;33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0" name="Google Shape;340;p87"/>
          <p:cNvGrpSpPr/>
          <p:nvPr/>
        </p:nvGrpSpPr>
        <p:grpSpPr>
          <a:xfrm>
            <a:off x="7191542" y="1"/>
            <a:ext cx="5000459" cy="1425992"/>
            <a:chOff x="7191542" y="1"/>
            <a:chExt cx="5000459" cy="1425992"/>
          </a:xfrm>
        </p:grpSpPr>
        <p:pic>
          <p:nvPicPr>
            <p:cNvPr id="341" name="Google Shape;341;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 name="Google Shape;342;p87"/>
            <p:cNvGrpSpPr/>
            <p:nvPr/>
          </p:nvGrpSpPr>
          <p:grpSpPr>
            <a:xfrm>
              <a:off x="7191542" y="1"/>
              <a:ext cx="5000459" cy="1425992"/>
              <a:chOff x="7186272" y="0"/>
              <a:chExt cx="5005729" cy="1427495"/>
            </a:xfrm>
          </p:grpSpPr>
          <p:sp>
            <p:nvSpPr>
              <p:cNvPr id="343" name="Google Shape;343;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4" name="Google Shape;344;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45" name="Google Shape;345;p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3005"/>
        <p:cNvGrpSpPr/>
        <p:nvPr/>
      </p:nvGrpSpPr>
      <p:grpSpPr>
        <a:xfrm>
          <a:off x="0" y="0"/>
          <a:ext cx="0" cy="0"/>
          <a:chOff x="0" y="0"/>
          <a:chExt cx="0" cy="0"/>
        </a:xfrm>
      </p:grpSpPr>
      <p:grpSp>
        <p:nvGrpSpPr>
          <p:cNvPr id="3006" name="Google Shape;3006;p504"/>
          <p:cNvGrpSpPr/>
          <p:nvPr/>
        </p:nvGrpSpPr>
        <p:grpSpPr>
          <a:xfrm>
            <a:off x="0" y="0"/>
            <a:ext cx="12192000" cy="2148830"/>
            <a:chOff x="0" y="0"/>
            <a:chExt cx="12192000" cy="2148830"/>
          </a:xfrm>
        </p:grpSpPr>
        <p:sp>
          <p:nvSpPr>
            <p:cNvPr id="3007" name="Google Shape;3007;p5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08" name="Google Shape;3008;p5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009" name="Google Shape;3009;p5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10" name="Google Shape;3010;p5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1" name="Google Shape;3011;p5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012" name="Google Shape;3012;p50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013" name="Google Shape;3013;p50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3014"/>
        <p:cNvGrpSpPr/>
        <p:nvPr/>
      </p:nvGrpSpPr>
      <p:grpSpPr>
        <a:xfrm>
          <a:off x="0" y="0"/>
          <a:ext cx="0" cy="0"/>
          <a:chOff x="0" y="0"/>
          <a:chExt cx="0" cy="0"/>
        </a:xfrm>
      </p:grpSpPr>
      <p:sp>
        <p:nvSpPr>
          <p:cNvPr id="3015" name="Google Shape;3015;p5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16" name="Google Shape;3016;p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17" name="Google Shape;3017;p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18" name="Google Shape;3018;p505"/>
          <p:cNvGrpSpPr/>
          <p:nvPr/>
        </p:nvGrpSpPr>
        <p:grpSpPr>
          <a:xfrm>
            <a:off x="7191542" y="1"/>
            <a:ext cx="5000459" cy="1425992"/>
            <a:chOff x="7191542" y="1"/>
            <a:chExt cx="5000459" cy="1425992"/>
          </a:xfrm>
        </p:grpSpPr>
        <p:pic>
          <p:nvPicPr>
            <p:cNvPr id="3019" name="Google Shape;3019;p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0" name="Google Shape;3020;p505"/>
            <p:cNvGrpSpPr/>
            <p:nvPr/>
          </p:nvGrpSpPr>
          <p:grpSpPr>
            <a:xfrm>
              <a:off x="7191542" y="1"/>
              <a:ext cx="5000459" cy="1425992"/>
              <a:chOff x="7186272" y="0"/>
              <a:chExt cx="5005729" cy="1427495"/>
            </a:xfrm>
          </p:grpSpPr>
          <p:sp>
            <p:nvSpPr>
              <p:cNvPr id="3021" name="Google Shape;3021;p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22" name="Google Shape;3022;p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3023"/>
        <p:cNvGrpSpPr/>
        <p:nvPr/>
      </p:nvGrpSpPr>
      <p:grpSpPr>
        <a:xfrm>
          <a:off x="0" y="0"/>
          <a:ext cx="0" cy="0"/>
          <a:chOff x="0" y="0"/>
          <a:chExt cx="0" cy="0"/>
        </a:xfrm>
      </p:grpSpPr>
      <p:grpSp>
        <p:nvGrpSpPr>
          <p:cNvPr id="3024" name="Google Shape;3024;p506"/>
          <p:cNvGrpSpPr/>
          <p:nvPr/>
        </p:nvGrpSpPr>
        <p:grpSpPr>
          <a:xfrm>
            <a:off x="7191542" y="1"/>
            <a:ext cx="5000459" cy="1425992"/>
            <a:chOff x="7191542" y="1"/>
            <a:chExt cx="5000459" cy="1425992"/>
          </a:xfrm>
        </p:grpSpPr>
        <p:pic>
          <p:nvPicPr>
            <p:cNvPr id="3025" name="Google Shape;3025;p5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6" name="Google Shape;3026;p506"/>
            <p:cNvGrpSpPr/>
            <p:nvPr/>
          </p:nvGrpSpPr>
          <p:grpSpPr>
            <a:xfrm>
              <a:off x="7191542" y="1"/>
              <a:ext cx="5000459" cy="1425992"/>
              <a:chOff x="7186272" y="0"/>
              <a:chExt cx="5005729" cy="1427495"/>
            </a:xfrm>
          </p:grpSpPr>
          <p:sp>
            <p:nvSpPr>
              <p:cNvPr id="3027" name="Google Shape;3027;p5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28" name="Google Shape;3028;p5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29" name="Google Shape;3029;p5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0" name="Google Shape;3030;p5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31" name="Google Shape;3031;p5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2" name="Google Shape;3032;p5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3033"/>
        <p:cNvGrpSpPr/>
        <p:nvPr/>
      </p:nvGrpSpPr>
      <p:grpSpPr>
        <a:xfrm>
          <a:off x="0" y="0"/>
          <a:ext cx="0" cy="0"/>
          <a:chOff x="0" y="0"/>
          <a:chExt cx="0" cy="0"/>
        </a:xfrm>
      </p:grpSpPr>
      <p:sp>
        <p:nvSpPr>
          <p:cNvPr id="3034" name="Google Shape;3034;p50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35" name="Google Shape;3035;p50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6" name="Google Shape;3036;p50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037" name="Google Shape;3037;p507"/>
          <p:cNvSpPr>
            <a:spLocks noGrp="1"/>
          </p:cNvSpPr>
          <p:nvPr>
            <p:ph type="pic" idx="2"/>
          </p:nvPr>
        </p:nvSpPr>
        <p:spPr>
          <a:xfrm>
            <a:off x="7118684" y="233915"/>
            <a:ext cx="5073316" cy="5943600"/>
          </a:xfrm>
          <a:prstGeom prst="rect">
            <a:avLst/>
          </a:prstGeom>
          <a:noFill/>
          <a:ln>
            <a:noFill/>
          </a:ln>
        </p:spPr>
      </p:sp>
      <p:grpSp>
        <p:nvGrpSpPr>
          <p:cNvPr id="3038" name="Google Shape;3038;p507"/>
          <p:cNvGrpSpPr/>
          <p:nvPr/>
        </p:nvGrpSpPr>
        <p:grpSpPr>
          <a:xfrm>
            <a:off x="0" y="5020348"/>
            <a:ext cx="12192000" cy="1837653"/>
            <a:chOff x="0" y="5020348"/>
            <a:chExt cx="12192000" cy="1837653"/>
          </a:xfrm>
        </p:grpSpPr>
        <p:sp>
          <p:nvSpPr>
            <p:cNvPr id="3039" name="Google Shape;3039;p5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40" name="Google Shape;3040;p5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041" name="Google Shape;3041;p5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3042"/>
        <p:cNvGrpSpPr/>
        <p:nvPr/>
      </p:nvGrpSpPr>
      <p:grpSpPr>
        <a:xfrm>
          <a:off x="0" y="0"/>
          <a:ext cx="0" cy="0"/>
          <a:chOff x="0" y="0"/>
          <a:chExt cx="0" cy="0"/>
        </a:xfrm>
      </p:grpSpPr>
      <p:grpSp>
        <p:nvGrpSpPr>
          <p:cNvPr id="3043" name="Google Shape;3043;p508"/>
          <p:cNvGrpSpPr/>
          <p:nvPr/>
        </p:nvGrpSpPr>
        <p:grpSpPr>
          <a:xfrm>
            <a:off x="0" y="5020347"/>
            <a:ext cx="12192000" cy="1837653"/>
            <a:chOff x="0" y="5020347"/>
            <a:chExt cx="12192000" cy="1837653"/>
          </a:xfrm>
        </p:grpSpPr>
        <p:sp>
          <p:nvSpPr>
            <p:cNvPr id="3044" name="Google Shape;3044;p5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45" name="Google Shape;3045;p5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46" name="Google Shape;3046;p5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047" name="Google Shape;3047;p5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48" name="Google Shape;3048;p5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9" name="Google Shape;3049;p5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3050"/>
        <p:cNvGrpSpPr/>
        <p:nvPr/>
      </p:nvGrpSpPr>
      <p:grpSpPr>
        <a:xfrm>
          <a:off x="0" y="0"/>
          <a:ext cx="0" cy="0"/>
          <a:chOff x="0" y="0"/>
          <a:chExt cx="0" cy="0"/>
        </a:xfrm>
      </p:grpSpPr>
      <p:sp>
        <p:nvSpPr>
          <p:cNvPr id="3051" name="Google Shape;3051;p5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52" name="Google Shape;3052;p5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53" name="Google Shape;3053;p509"/>
          <p:cNvGrpSpPr/>
          <p:nvPr/>
        </p:nvGrpSpPr>
        <p:grpSpPr>
          <a:xfrm>
            <a:off x="0" y="5379426"/>
            <a:ext cx="2807368" cy="753891"/>
            <a:chOff x="0" y="5379426"/>
            <a:chExt cx="2807368" cy="753891"/>
          </a:xfrm>
        </p:grpSpPr>
        <p:sp>
          <p:nvSpPr>
            <p:cNvPr id="3054" name="Google Shape;3054;p5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55" name="Google Shape;3055;p5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056" name="Google Shape;3056;p509"/>
          <p:cNvSpPr>
            <a:spLocks noGrp="1"/>
          </p:cNvSpPr>
          <p:nvPr>
            <p:ph type="pic" idx="2"/>
          </p:nvPr>
        </p:nvSpPr>
        <p:spPr>
          <a:xfrm>
            <a:off x="2807368" y="457202"/>
            <a:ext cx="8915400" cy="5943598"/>
          </a:xfrm>
          <a:prstGeom prst="rect">
            <a:avLst/>
          </a:prstGeom>
          <a:noFill/>
          <a:ln>
            <a:noFill/>
          </a:ln>
        </p:spPr>
      </p:sp>
      <p:pic>
        <p:nvPicPr>
          <p:cNvPr id="3057" name="Google Shape;3057;p5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3058"/>
        <p:cNvGrpSpPr/>
        <p:nvPr/>
      </p:nvGrpSpPr>
      <p:grpSpPr>
        <a:xfrm>
          <a:off x="0" y="0"/>
          <a:ext cx="0" cy="0"/>
          <a:chOff x="0" y="0"/>
          <a:chExt cx="0" cy="0"/>
        </a:xfrm>
      </p:grpSpPr>
      <p:sp>
        <p:nvSpPr>
          <p:cNvPr id="3059" name="Google Shape;3059;p5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60" name="Google Shape;3060;p5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1" name="Google Shape;3061;p5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62" name="Google Shape;3062;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63" name="Google Shape;3063;p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4" name="Google Shape;3064;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65" name="Google Shape;3065;p510"/>
          <p:cNvGrpSpPr/>
          <p:nvPr/>
        </p:nvGrpSpPr>
        <p:grpSpPr>
          <a:xfrm>
            <a:off x="7191542" y="1"/>
            <a:ext cx="5000459" cy="1425992"/>
            <a:chOff x="7191542" y="1"/>
            <a:chExt cx="5000459" cy="1425992"/>
          </a:xfrm>
        </p:grpSpPr>
        <p:pic>
          <p:nvPicPr>
            <p:cNvPr id="3066" name="Google Shape;3066;p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67" name="Google Shape;3067;p510"/>
            <p:cNvGrpSpPr/>
            <p:nvPr/>
          </p:nvGrpSpPr>
          <p:grpSpPr>
            <a:xfrm>
              <a:off x="7191542" y="1"/>
              <a:ext cx="5000459" cy="1425992"/>
              <a:chOff x="7186272" y="0"/>
              <a:chExt cx="5005729" cy="1427495"/>
            </a:xfrm>
          </p:grpSpPr>
          <p:sp>
            <p:nvSpPr>
              <p:cNvPr id="3068" name="Google Shape;3068;p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69" name="Google Shape;3069;p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70" name="Google Shape;3070;p5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3071"/>
        <p:cNvGrpSpPr/>
        <p:nvPr/>
      </p:nvGrpSpPr>
      <p:grpSpPr>
        <a:xfrm>
          <a:off x="0" y="0"/>
          <a:ext cx="0" cy="0"/>
          <a:chOff x="0" y="0"/>
          <a:chExt cx="0" cy="0"/>
        </a:xfrm>
      </p:grpSpPr>
      <p:sp>
        <p:nvSpPr>
          <p:cNvPr id="3072" name="Google Shape;3072;p5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73" name="Google Shape;3073;p5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4" name="Google Shape;3074;p5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75" name="Google Shape;3075;p5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76" name="Google Shape;3076;p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7" name="Google Shape;3077;p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78" name="Google Shape;3078;p511"/>
          <p:cNvGrpSpPr/>
          <p:nvPr/>
        </p:nvGrpSpPr>
        <p:grpSpPr>
          <a:xfrm>
            <a:off x="7191542" y="1"/>
            <a:ext cx="5000459" cy="1425992"/>
            <a:chOff x="7191542" y="1"/>
            <a:chExt cx="5000459" cy="1425992"/>
          </a:xfrm>
        </p:grpSpPr>
        <p:pic>
          <p:nvPicPr>
            <p:cNvPr id="3079" name="Google Shape;3079;p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80" name="Google Shape;3080;p511"/>
            <p:cNvGrpSpPr/>
            <p:nvPr/>
          </p:nvGrpSpPr>
          <p:grpSpPr>
            <a:xfrm>
              <a:off x="7191542" y="1"/>
              <a:ext cx="5000459" cy="1425992"/>
              <a:chOff x="7186272" y="0"/>
              <a:chExt cx="5005729" cy="1427495"/>
            </a:xfrm>
          </p:grpSpPr>
          <p:sp>
            <p:nvSpPr>
              <p:cNvPr id="3081" name="Google Shape;3081;p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82" name="Google Shape;3082;p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83" name="Google Shape;3083;p5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3084"/>
        <p:cNvGrpSpPr/>
        <p:nvPr/>
      </p:nvGrpSpPr>
      <p:grpSpPr>
        <a:xfrm>
          <a:off x="0" y="0"/>
          <a:ext cx="0" cy="0"/>
          <a:chOff x="0" y="0"/>
          <a:chExt cx="0" cy="0"/>
        </a:xfrm>
      </p:grpSpPr>
      <p:grpSp>
        <p:nvGrpSpPr>
          <p:cNvPr id="3085" name="Google Shape;3085;p512"/>
          <p:cNvGrpSpPr/>
          <p:nvPr/>
        </p:nvGrpSpPr>
        <p:grpSpPr>
          <a:xfrm>
            <a:off x="7191542" y="1"/>
            <a:ext cx="5000459" cy="1425992"/>
            <a:chOff x="7191542" y="1"/>
            <a:chExt cx="5000459" cy="1425992"/>
          </a:xfrm>
        </p:grpSpPr>
        <p:pic>
          <p:nvPicPr>
            <p:cNvPr id="3086" name="Google Shape;3086;p5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87" name="Google Shape;3087;p512"/>
            <p:cNvGrpSpPr/>
            <p:nvPr/>
          </p:nvGrpSpPr>
          <p:grpSpPr>
            <a:xfrm>
              <a:off x="7191542" y="1"/>
              <a:ext cx="5000459" cy="1425992"/>
              <a:chOff x="7186272" y="0"/>
              <a:chExt cx="5005729" cy="1427495"/>
            </a:xfrm>
          </p:grpSpPr>
          <p:sp>
            <p:nvSpPr>
              <p:cNvPr id="3088" name="Google Shape;3088;p5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89" name="Google Shape;3089;p5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90" name="Google Shape;3090;p5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1" name="Google Shape;3091;p5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2" name="Google Shape;3092;p5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3" name="Google Shape;3093;p5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4" name="Google Shape;3094;p5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3095"/>
        <p:cNvGrpSpPr/>
        <p:nvPr/>
      </p:nvGrpSpPr>
      <p:grpSpPr>
        <a:xfrm>
          <a:off x="0" y="0"/>
          <a:ext cx="0" cy="0"/>
          <a:chOff x="0" y="0"/>
          <a:chExt cx="0" cy="0"/>
        </a:xfrm>
      </p:grpSpPr>
      <p:sp>
        <p:nvSpPr>
          <p:cNvPr id="3096" name="Google Shape;3096;p5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97" name="Google Shape;3097;p51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098" name="Google Shape;3098;p513"/>
          <p:cNvGrpSpPr/>
          <p:nvPr/>
        </p:nvGrpSpPr>
        <p:grpSpPr>
          <a:xfrm>
            <a:off x="7191542" y="1"/>
            <a:ext cx="5000459" cy="1425992"/>
            <a:chOff x="7191542" y="1"/>
            <a:chExt cx="5000459" cy="1425992"/>
          </a:xfrm>
        </p:grpSpPr>
        <p:pic>
          <p:nvPicPr>
            <p:cNvPr id="3099" name="Google Shape;3099;p5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00" name="Google Shape;3100;p513"/>
            <p:cNvGrpSpPr/>
            <p:nvPr/>
          </p:nvGrpSpPr>
          <p:grpSpPr>
            <a:xfrm>
              <a:off x="7191542" y="1"/>
              <a:ext cx="5000459" cy="1425992"/>
              <a:chOff x="7186272" y="0"/>
              <a:chExt cx="5005729" cy="1427495"/>
            </a:xfrm>
          </p:grpSpPr>
          <p:sp>
            <p:nvSpPr>
              <p:cNvPr id="3101" name="Google Shape;3101;p5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02" name="Google Shape;3102;p5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03" name="Google Shape;3103;p51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4" name="Google Shape;3104;p5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05" name="Google Shape;3105;p5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06" name="Google Shape;3106;p5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6"/>
        <p:cNvGrpSpPr/>
        <p:nvPr/>
      </p:nvGrpSpPr>
      <p:grpSpPr>
        <a:xfrm>
          <a:off x="0" y="0"/>
          <a:ext cx="0" cy="0"/>
          <a:chOff x="0" y="0"/>
          <a:chExt cx="0" cy="0"/>
        </a:xfrm>
      </p:grpSpPr>
      <p:sp>
        <p:nvSpPr>
          <p:cNvPr id="347" name="Google Shape;347;p11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8" name="Google Shape;348;p11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9" name="Google Shape;349;p11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0" name="Google Shape;350;p1197"/>
          <p:cNvSpPr>
            <a:spLocks noGrp="1"/>
          </p:cNvSpPr>
          <p:nvPr>
            <p:ph type="pic" idx="2"/>
          </p:nvPr>
        </p:nvSpPr>
        <p:spPr>
          <a:xfrm>
            <a:off x="7118684" y="233915"/>
            <a:ext cx="5073316" cy="5943600"/>
          </a:xfrm>
          <a:prstGeom prst="rect">
            <a:avLst/>
          </a:prstGeom>
          <a:noFill/>
          <a:ln>
            <a:noFill/>
          </a:ln>
        </p:spPr>
      </p:sp>
      <p:grpSp>
        <p:nvGrpSpPr>
          <p:cNvPr id="351" name="Google Shape;351;p1197"/>
          <p:cNvGrpSpPr/>
          <p:nvPr/>
        </p:nvGrpSpPr>
        <p:grpSpPr>
          <a:xfrm>
            <a:off x="0" y="5020348"/>
            <a:ext cx="12192000" cy="1837653"/>
            <a:chOff x="0" y="5020348"/>
            <a:chExt cx="12192000" cy="1837653"/>
          </a:xfrm>
        </p:grpSpPr>
        <p:sp>
          <p:nvSpPr>
            <p:cNvPr id="352" name="Google Shape;352;p11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3" name="Google Shape;353;p11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4" name="Google Shape;354;p11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3107"/>
        <p:cNvGrpSpPr/>
        <p:nvPr/>
      </p:nvGrpSpPr>
      <p:grpSpPr>
        <a:xfrm>
          <a:off x="0" y="0"/>
          <a:ext cx="0" cy="0"/>
          <a:chOff x="0" y="0"/>
          <a:chExt cx="0" cy="0"/>
        </a:xfrm>
      </p:grpSpPr>
      <p:grpSp>
        <p:nvGrpSpPr>
          <p:cNvPr id="3108" name="Google Shape;3108;p514"/>
          <p:cNvGrpSpPr/>
          <p:nvPr/>
        </p:nvGrpSpPr>
        <p:grpSpPr>
          <a:xfrm>
            <a:off x="7191542" y="1"/>
            <a:ext cx="5000459" cy="1425992"/>
            <a:chOff x="7191542" y="1"/>
            <a:chExt cx="5000459" cy="1425992"/>
          </a:xfrm>
        </p:grpSpPr>
        <p:pic>
          <p:nvPicPr>
            <p:cNvPr id="3109" name="Google Shape;3109;p5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10" name="Google Shape;3110;p514"/>
            <p:cNvGrpSpPr/>
            <p:nvPr/>
          </p:nvGrpSpPr>
          <p:grpSpPr>
            <a:xfrm>
              <a:off x="7191542" y="1"/>
              <a:ext cx="5000459" cy="1425992"/>
              <a:chOff x="7186272" y="0"/>
              <a:chExt cx="5005729" cy="1427495"/>
            </a:xfrm>
          </p:grpSpPr>
          <p:sp>
            <p:nvSpPr>
              <p:cNvPr id="3111" name="Google Shape;3111;p5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12" name="Google Shape;3112;p5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13" name="Google Shape;3113;p5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4" name="Google Shape;3114;p51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15" name="Google Shape;3115;p51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16" name="Google Shape;3116;p5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17" name="Google Shape;3117;p5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18" name="Google Shape;3118;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19" name="Google Shape;3119;p5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20" name="Google Shape;3120;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3121"/>
        <p:cNvGrpSpPr/>
        <p:nvPr/>
      </p:nvGrpSpPr>
      <p:grpSpPr>
        <a:xfrm>
          <a:off x="0" y="0"/>
          <a:ext cx="0" cy="0"/>
          <a:chOff x="0" y="0"/>
          <a:chExt cx="0" cy="0"/>
        </a:xfrm>
      </p:grpSpPr>
      <p:grpSp>
        <p:nvGrpSpPr>
          <p:cNvPr id="3122" name="Google Shape;3122;p515"/>
          <p:cNvGrpSpPr/>
          <p:nvPr/>
        </p:nvGrpSpPr>
        <p:grpSpPr>
          <a:xfrm>
            <a:off x="7191542" y="1"/>
            <a:ext cx="5000459" cy="1425992"/>
            <a:chOff x="7191542" y="1"/>
            <a:chExt cx="5000459" cy="1425992"/>
          </a:xfrm>
        </p:grpSpPr>
        <p:pic>
          <p:nvPicPr>
            <p:cNvPr id="3123" name="Google Shape;3123;p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24" name="Google Shape;3124;p515"/>
            <p:cNvGrpSpPr/>
            <p:nvPr/>
          </p:nvGrpSpPr>
          <p:grpSpPr>
            <a:xfrm>
              <a:off x="7191542" y="1"/>
              <a:ext cx="5000459" cy="1425992"/>
              <a:chOff x="7186272" y="0"/>
              <a:chExt cx="5005729" cy="1427495"/>
            </a:xfrm>
          </p:grpSpPr>
          <p:sp>
            <p:nvSpPr>
              <p:cNvPr id="3125" name="Google Shape;3125;p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26" name="Google Shape;3126;p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27" name="Google Shape;3127;p5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8" name="Google Shape;3128;p5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29" name="Google Shape;3129;p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30" name="Google Shape;3130;p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3_End">
  <p:cSld name="3_End">
    <p:spTree>
      <p:nvGrpSpPr>
        <p:cNvPr id="1" name="Shape 3131"/>
        <p:cNvGrpSpPr/>
        <p:nvPr/>
      </p:nvGrpSpPr>
      <p:grpSpPr>
        <a:xfrm>
          <a:off x="0" y="0"/>
          <a:ext cx="0" cy="0"/>
          <a:chOff x="0" y="0"/>
          <a:chExt cx="0" cy="0"/>
        </a:xfrm>
      </p:grpSpPr>
      <p:grpSp>
        <p:nvGrpSpPr>
          <p:cNvPr id="3132" name="Google Shape;3132;p516"/>
          <p:cNvGrpSpPr/>
          <p:nvPr/>
        </p:nvGrpSpPr>
        <p:grpSpPr>
          <a:xfrm>
            <a:off x="0" y="0"/>
            <a:ext cx="12192000" cy="2148830"/>
            <a:chOff x="0" y="0"/>
            <a:chExt cx="12192000" cy="2148830"/>
          </a:xfrm>
        </p:grpSpPr>
        <p:sp>
          <p:nvSpPr>
            <p:cNvPr id="3133" name="Google Shape;3133;p51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34" name="Google Shape;3134;p51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35" name="Google Shape;3135;p51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36" name="Google Shape;3136;p51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7" name="Google Shape;3137;p51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138" name="Google Shape;3138;p51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139" name="Google Shape;3139;p51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3140"/>
        <p:cNvGrpSpPr/>
        <p:nvPr/>
      </p:nvGrpSpPr>
      <p:grpSpPr>
        <a:xfrm>
          <a:off x="0" y="0"/>
          <a:ext cx="0" cy="0"/>
          <a:chOff x="0" y="0"/>
          <a:chExt cx="0" cy="0"/>
        </a:xfrm>
      </p:grpSpPr>
      <p:sp>
        <p:nvSpPr>
          <p:cNvPr id="3141" name="Google Shape;3141;p5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2" name="Google Shape;3142;p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43" name="Google Shape;3143;p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44" name="Google Shape;3144;p517"/>
          <p:cNvGrpSpPr/>
          <p:nvPr/>
        </p:nvGrpSpPr>
        <p:grpSpPr>
          <a:xfrm>
            <a:off x="7191542" y="1"/>
            <a:ext cx="5000459" cy="1425992"/>
            <a:chOff x="7191542" y="1"/>
            <a:chExt cx="5000459" cy="1425992"/>
          </a:xfrm>
        </p:grpSpPr>
        <p:pic>
          <p:nvPicPr>
            <p:cNvPr id="3145" name="Google Shape;3145;p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46" name="Google Shape;3146;p517"/>
            <p:cNvGrpSpPr/>
            <p:nvPr/>
          </p:nvGrpSpPr>
          <p:grpSpPr>
            <a:xfrm>
              <a:off x="7191542" y="1"/>
              <a:ext cx="5000459" cy="1425992"/>
              <a:chOff x="7186272" y="0"/>
              <a:chExt cx="5005729" cy="1427495"/>
            </a:xfrm>
          </p:grpSpPr>
          <p:sp>
            <p:nvSpPr>
              <p:cNvPr id="3147" name="Google Shape;3147;p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48" name="Google Shape;3148;p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3149"/>
        <p:cNvGrpSpPr/>
        <p:nvPr/>
      </p:nvGrpSpPr>
      <p:grpSpPr>
        <a:xfrm>
          <a:off x="0" y="0"/>
          <a:ext cx="0" cy="0"/>
          <a:chOff x="0" y="0"/>
          <a:chExt cx="0" cy="0"/>
        </a:xfrm>
      </p:grpSpPr>
      <p:sp>
        <p:nvSpPr>
          <p:cNvPr id="3150" name="Google Shape;3150;p51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51" name="Google Shape;3151;p51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3152" name="Google Shape;3152;p518"/>
          <p:cNvGrpSpPr/>
          <p:nvPr/>
        </p:nvGrpSpPr>
        <p:grpSpPr>
          <a:xfrm flipH="1">
            <a:off x="-1" y="1"/>
            <a:ext cx="6418725" cy="1509822"/>
            <a:chOff x="7522541" y="1"/>
            <a:chExt cx="4669459" cy="1098357"/>
          </a:xfrm>
        </p:grpSpPr>
        <p:sp>
          <p:nvSpPr>
            <p:cNvPr id="3153" name="Google Shape;3153;p51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54" name="Google Shape;3154;p51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3155" name="Google Shape;3155;p5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3156"/>
        <p:cNvGrpSpPr/>
        <p:nvPr/>
      </p:nvGrpSpPr>
      <p:grpSpPr>
        <a:xfrm>
          <a:off x="0" y="0"/>
          <a:ext cx="0" cy="0"/>
          <a:chOff x="0" y="0"/>
          <a:chExt cx="0" cy="0"/>
        </a:xfrm>
      </p:grpSpPr>
      <p:grpSp>
        <p:nvGrpSpPr>
          <p:cNvPr id="3157" name="Google Shape;3157;p519"/>
          <p:cNvGrpSpPr/>
          <p:nvPr/>
        </p:nvGrpSpPr>
        <p:grpSpPr>
          <a:xfrm>
            <a:off x="0" y="5020347"/>
            <a:ext cx="12192000" cy="1837653"/>
            <a:chOff x="0" y="5020347"/>
            <a:chExt cx="12192000" cy="1837653"/>
          </a:xfrm>
        </p:grpSpPr>
        <p:sp>
          <p:nvSpPr>
            <p:cNvPr id="3158" name="Google Shape;3158;p51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59" name="Google Shape;3159;p5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60" name="Google Shape;3160;p51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161" name="Google Shape;3161;p5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62" name="Google Shape;3162;p51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3" name="Google Shape;3163;p51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3164"/>
        <p:cNvGrpSpPr/>
        <p:nvPr/>
      </p:nvGrpSpPr>
      <p:grpSpPr>
        <a:xfrm>
          <a:off x="0" y="0"/>
          <a:ext cx="0" cy="0"/>
          <a:chOff x="0" y="0"/>
          <a:chExt cx="0" cy="0"/>
        </a:xfrm>
      </p:grpSpPr>
      <p:sp>
        <p:nvSpPr>
          <p:cNvPr id="3165" name="Google Shape;3165;p52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66" name="Google Shape;3166;p52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167" name="Google Shape;3167;p520"/>
          <p:cNvGrpSpPr/>
          <p:nvPr/>
        </p:nvGrpSpPr>
        <p:grpSpPr>
          <a:xfrm>
            <a:off x="0" y="5379426"/>
            <a:ext cx="2807368" cy="753891"/>
            <a:chOff x="0" y="5379426"/>
            <a:chExt cx="2807368" cy="753891"/>
          </a:xfrm>
        </p:grpSpPr>
        <p:sp>
          <p:nvSpPr>
            <p:cNvPr id="3168" name="Google Shape;3168;p52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69" name="Google Shape;3169;p52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70" name="Google Shape;3170;p520"/>
          <p:cNvSpPr>
            <a:spLocks noGrp="1"/>
          </p:cNvSpPr>
          <p:nvPr>
            <p:ph type="pic" idx="2"/>
          </p:nvPr>
        </p:nvSpPr>
        <p:spPr>
          <a:xfrm>
            <a:off x="2807368" y="457202"/>
            <a:ext cx="8915400" cy="5943598"/>
          </a:xfrm>
          <a:prstGeom prst="rect">
            <a:avLst/>
          </a:prstGeom>
          <a:noFill/>
          <a:ln>
            <a:noFill/>
          </a:ln>
        </p:spPr>
      </p:sp>
      <p:pic>
        <p:nvPicPr>
          <p:cNvPr id="3171" name="Google Shape;3171;p52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3172"/>
        <p:cNvGrpSpPr/>
        <p:nvPr/>
      </p:nvGrpSpPr>
      <p:grpSpPr>
        <a:xfrm>
          <a:off x="0" y="0"/>
          <a:ext cx="0" cy="0"/>
          <a:chOff x="0" y="0"/>
          <a:chExt cx="0" cy="0"/>
        </a:xfrm>
      </p:grpSpPr>
      <p:sp>
        <p:nvSpPr>
          <p:cNvPr id="3173" name="Google Shape;3173;p5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74" name="Google Shape;3174;p5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75" name="Google Shape;3175;p5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76" name="Google Shape;3176;p521"/>
          <p:cNvSpPr>
            <a:spLocks noGrp="1"/>
          </p:cNvSpPr>
          <p:nvPr>
            <p:ph type="pic" idx="2"/>
          </p:nvPr>
        </p:nvSpPr>
        <p:spPr>
          <a:xfrm>
            <a:off x="7118684" y="233915"/>
            <a:ext cx="5073316" cy="5943600"/>
          </a:xfrm>
          <a:prstGeom prst="rect">
            <a:avLst/>
          </a:prstGeom>
          <a:noFill/>
          <a:ln>
            <a:noFill/>
          </a:ln>
        </p:spPr>
      </p:sp>
      <p:grpSp>
        <p:nvGrpSpPr>
          <p:cNvPr id="3177" name="Google Shape;3177;p521"/>
          <p:cNvGrpSpPr/>
          <p:nvPr/>
        </p:nvGrpSpPr>
        <p:grpSpPr>
          <a:xfrm>
            <a:off x="0" y="5020348"/>
            <a:ext cx="12192000" cy="1837653"/>
            <a:chOff x="0" y="5020348"/>
            <a:chExt cx="12192000" cy="1837653"/>
          </a:xfrm>
        </p:grpSpPr>
        <p:sp>
          <p:nvSpPr>
            <p:cNvPr id="3178" name="Google Shape;3178;p5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79" name="Google Shape;3179;p5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180" name="Google Shape;3180;p5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3181"/>
        <p:cNvGrpSpPr/>
        <p:nvPr/>
      </p:nvGrpSpPr>
      <p:grpSpPr>
        <a:xfrm>
          <a:off x="0" y="0"/>
          <a:ext cx="0" cy="0"/>
          <a:chOff x="0" y="0"/>
          <a:chExt cx="0" cy="0"/>
        </a:xfrm>
      </p:grpSpPr>
      <p:grpSp>
        <p:nvGrpSpPr>
          <p:cNvPr id="3182" name="Google Shape;3182;p522"/>
          <p:cNvGrpSpPr/>
          <p:nvPr/>
        </p:nvGrpSpPr>
        <p:grpSpPr>
          <a:xfrm>
            <a:off x="7191542" y="1"/>
            <a:ext cx="5000459" cy="1425992"/>
            <a:chOff x="7191542" y="1"/>
            <a:chExt cx="5000459" cy="1425992"/>
          </a:xfrm>
        </p:grpSpPr>
        <p:pic>
          <p:nvPicPr>
            <p:cNvPr id="3183" name="Google Shape;3183;p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84" name="Google Shape;3184;p522"/>
            <p:cNvGrpSpPr/>
            <p:nvPr/>
          </p:nvGrpSpPr>
          <p:grpSpPr>
            <a:xfrm>
              <a:off x="7191542" y="1"/>
              <a:ext cx="5000459" cy="1425992"/>
              <a:chOff x="7186272" y="0"/>
              <a:chExt cx="5005729" cy="1427495"/>
            </a:xfrm>
          </p:grpSpPr>
          <p:sp>
            <p:nvSpPr>
              <p:cNvPr id="3185" name="Google Shape;3185;p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86" name="Google Shape;3186;p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87" name="Google Shape;3187;p5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8" name="Google Shape;3188;p5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9" name="Google Shape;3189;p5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0" name="Google Shape;3190;p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1" name="Google Shape;3191;p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3192"/>
        <p:cNvGrpSpPr/>
        <p:nvPr/>
      </p:nvGrpSpPr>
      <p:grpSpPr>
        <a:xfrm>
          <a:off x="0" y="0"/>
          <a:ext cx="0" cy="0"/>
          <a:chOff x="0" y="0"/>
          <a:chExt cx="0" cy="0"/>
        </a:xfrm>
      </p:grpSpPr>
      <p:sp>
        <p:nvSpPr>
          <p:cNvPr id="3193" name="Google Shape;3193;p5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4" name="Google Shape;3194;p5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195" name="Google Shape;3195;p523"/>
          <p:cNvGrpSpPr/>
          <p:nvPr/>
        </p:nvGrpSpPr>
        <p:grpSpPr>
          <a:xfrm>
            <a:off x="7191542" y="1"/>
            <a:ext cx="5000459" cy="1425992"/>
            <a:chOff x="7191542" y="1"/>
            <a:chExt cx="5000459" cy="1425992"/>
          </a:xfrm>
        </p:grpSpPr>
        <p:pic>
          <p:nvPicPr>
            <p:cNvPr id="3196" name="Google Shape;3196;p5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97" name="Google Shape;3197;p523"/>
            <p:cNvGrpSpPr/>
            <p:nvPr/>
          </p:nvGrpSpPr>
          <p:grpSpPr>
            <a:xfrm>
              <a:off x="7191542" y="1"/>
              <a:ext cx="5000459" cy="1425992"/>
              <a:chOff x="7186272" y="0"/>
              <a:chExt cx="5005729" cy="1427495"/>
            </a:xfrm>
          </p:grpSpPr>
          <p:sp>
            <p:nvSpPr>
              <p:cNvPr id="3198" name="Google Shape;3198;p5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99" name="Google Shape;3199;p5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00" name="Google Shape;3200;p5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1" name="Google Shape;3201;p5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02" name="Google Shape;3202;p5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03" name="Google Shape;3203;p5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355"/>
        <p:cNvGrpSpPr/>
        <p:nvPr/>
      </p:nvGrpSpPr>
      <p:grpSpPr>
        <a:xfrm>
          <a:off x="0" y="0"/>
          <a:ext cx="0" cy="0"/>
          <a:chOff x="0" y="0"/>
          <a:chExt cx="0" cy="0"/>
        </a:xfrm>
      </p:grpSpPr>
      <p:grpSp>
        <p:nvGrpSpPr>
          <p:cNvPr id="356" name="Google Shape;356;p89"/>
          <p:cNvGrpSpPr/>
          <p:nvPr/>
        </p:nvGrpSpPr>
        <p:grpSpPr>
          <a:xfrm>
            <a:off x="0" y="5020347"/>
            <a:ext cx="12192000" cy="1837653"/>
            <a:chOff x="0" y="5020347"/>
            <a:chExt cx="12192000" cy="1837653"/>
          </a:xfrm>
        </p:grpSpPr>
        <p:sp>
          <p:nvSpPr>
            <p:cNvPr id="357" name="Google Shape;357;p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8" name="Google Shape;358;p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9" name="Google Shape;359;p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60" name="Google Shape;360;p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1" name="Google Shape;361;p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4_Comparison">
  <p:cSld name="4_Comparison">
    <p:spTree>
      <p:nvGrpSpPr>
        <p:cNvPr id="1" name="Shape 3204"/>
        <p:cNvGrpSpPr/>
        <p:nvPr/>
      </p:nvGrpSpPr>
      <p:grpSpPr>
        <a:xfrm>
          <a:off x="0" y="0"/>
          <a:ext cx="0" cy="0"/>
          <a:chOff x="0" y="0"/>
          <a:chExt cx="0" cy="0"/>
        </a:xfrm>
      </p:grpSpPr>
      <p:grpSp>
        <p:nvGrpSpPr>
          <p:cNvPr id="3205" name="Google Shape;3205;p524"/>
          <p:cNvGrpSpPr/>
          <p:nvPr/>
        </p:nvGrpSpPr>
        <p:grpSpPr>
          <a:xfrm>
            <a:off x="7191542" y="1"/>
            <a:ext cx="5000459" cy="1425992"/>
            <a:chOff x="7191542" y="1"/>
            <a:chExt cx="5000459" cy="1425992"/>
          </a:xfrm>
        </p:grpSpPr>
        <p:pic>
          <p:nvPicPr>
            <p:cNvPr id="3206" name="Google Shape;3206;p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07" name="Google Shape;3207;p524"/>
            <p:cNvGrpSpPr/>
            <p:nvPr/>
          </p:nvGrpSpPr>
          <p:grpSpPr>
            <a:xfrm>
              <a:off x="7191542" y="1"/>
              <a:ext cx="5000459" cy="1425992"/>
              <a:chOff x="7186272" y="0"/>
              <a:chExt cx="5005729" cy="1427495"/>
            </a:xfrm>
          </p:grpSpPr>
          <p:sp>
            <p:nvSpPr>
              <p:cNvPr id="3208" name="Google Shape;3208;p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9" name="Google Shape;3209;p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10" name="Google Shape;3210;p5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1" name="Google Shape;3211;p5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12" name="Google Shape;3212;p5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13" name="Google Shape;3213;p5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14" name="Google Shape;3214;p5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15" name="Google Shape;3215;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16" name="Google Shape;3216;p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17" name="Google Shape;3217;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3218"/>
        <p:cNvGrpSpPr/>
        <p:nvPr/>
      </p:nvGrpSpPr>
      <p:grpSpPr>
        <a:xfrm>
          <a:off x="0" y="0"/>
          <a:ext cx="0" cy="0"/>
          <a:chOff x="0" y="0"/>
          <a:chExt cx="0" cy="0"/>
        </a:xfrm>
      </p:grpSpPr>
      <p:sp>
        <p:nvSpPr>
          <p:cNvPr id="3219" name="Google Shape;3219;p5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20" name="Google Shape;3220;p5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21" name="Google Shape;3221;p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22" name="Google Shape;3222;p5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3" name="Google Shape;3223;p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4" name="Google Shape;3224;p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25" name="Google Shape;3225;p525"/>
          <p:cNvGrpSpPr/>
          <p:nvPr/>
        </p:nvGrpSpPr>
        <p:grpSpPr>
          <a:xfrm>
            <a:off x="7191542" y="1"/>
            <a:ext cx="5000459" cy="1425992"/>
            <a:chOff x="7191542" y="1"/>
            <a:chExt cx="5000459" cy="1425992"/>
          </a:xfrm>
        </p:grpSpPr>
        <p:pic>
          <p:nvPicPr>
            <p:cNvPr id="3226" name="Google Shape;3226;p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7" name="Google Shape;3227;p525"/>
            <p:cNvGrpSpPr/>
            <p:nvPr/>
          </p:nvGrpSpPr>
          <p:grpSpPr>
            <a:xfrm>
              <a:off x="7191542" y="1"/>
              <a:ext cx="5000459" cy="1425992"/>
              <a:chOff x="7186272" y="0"/>
              <a:chExt cx="5005729" cy="1427495"/>
            </a:xfrm>
          </p:grpSpPr>
          <p:sp>
            <p:nvSpPr>
              <p:cNvPr id="3228" name="Google Shape;3228;p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29" name="Google Shape;3229;p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30" name="Google Shape;3230;p5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3231"/>
        <p:cNvGrpSpPr/>
        <p:nvPr/>
      </p:nvGrpSpPr>
      <p:grpSpPr>
        <a:xfrm>
          <a:off x="0" y="0"/>
          <a:ext cx="0" cy="0"/>
          <a:chOff x="0" y="0"/>
          <a:chExt cx="0" cy="0"/>
        </a:xfrm>
      </p:grpSpPr>
      <p:grpSp>
        <p:nvGrpSpPr>
          <p:cNvPr id="3232" name="Google Shape;3232;p526"/>
          <p:cNvGrpSpPr/>
          <p:nvPr/>
        </p:nvGrpSpPr>
        <p:grpSpPr>
          <a:xfrm>
            <a:off x="0" y="0"/>
            <a:ext cx="12192000" cy="2148830"/>
            <a:chOff x="0" y="0"/>
            <a:chExt cx="12192000" cy="2148830"/>
          </a:xfrm>
        </p:grpSpPr>
        <p:sp>
          <p:nvSpPr>
            <p:cNvPr id="3233" name="Google Shape;3233;p5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4" name="Google Shape;3234;p5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235" name="Google Shape;3235;p5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36" name="Google Shape;3236;p5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7" name="Google Shape;3237;p5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38" name="Google Shape;3238;p5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39" name="Google Shape;3239;p5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3240"/>
        <p:cNvGrpSpPr/>
        <p:nvPr/>
      </p:nvGrpSpPr>
      <p:grpSpPr>
        <a:xfrm>
          <a:off x="0" y="0"/>
          <a:ext cx="0" cy="0"/>
          <a:chOff x="0" y="0"/>
          <a:chExt cx="0" cy="0"/>
        </a:xfrm>
      </p:grpSpPr>
      <p:grpSp>
        <p:nvGrpSpPr>
          <p:cNvPr id="3241" name="Google Shape;3241;p527"/>
          <p:cNvGrpSpPr/>
          <p:nvPr/>
        </p:nvGrpSpPr>
        <p:grpSpPr>
          <a:xfrm>
            <a:off x="7191542" y="1"/>
            <a:ext cx="5000459" cy="1425992"/>
            <a:chOff x="7191542" y="1"/>
            <a:chExt cx="5000459" cy="1425992"/>
          </a:xfrm>
        </p:grpSpPr>
        <p:pic>
          <p:nvPicPr>
            <p:cNvPr id="3242" name="Google Shape;3242;p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3" name="Google Shape;3243;p527"/>
            <p:cNvGrpSpPr/>
            <p:nvPr/>
          </p:nvGrpSpPr>
          <p:grpSpPr>
            <a:xfrm>
              <a:off x="7191542" y="1"/>
              <a:ext cx="5000459" cy="1425992"/>
              <a:chOff x="7186272" y="0"/>
              <a:chExt cx="5005729" cy="1427495"/>
            </a:xfrm>
          </p:grpSpPr>
          <p:sp>
            <p:nvSpPr>
              <p:cNvPr id="3244" name="Google Shape;3244;p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5" name="Google Shape;3245;p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46" name="Google Shape;3246;p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7" name="Google Shape;3247;p5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8" name="Google Shape;3248;p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49" name="Google Shape;3249;p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3250"/>
        <p:cNvGrpSpPr/>
        <p:nvPr/>
      </p:nvGrpSpPr>
      <p:grpSpPr>
        <a:xfrm>
          <a:off x="0" y="0"/>
          <a:ext cx="0" cy="0"/>
          <a:chOff x="0" y="0"/>
          <a:chExt cx="0" cy="0"/>
        </a:xfrm>
      </p:grpSpPr>
      <p:sp>
        <p:nvSpPr>
          <p:cNvPr id="3251" name="Google Shape;3251;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2" name="Google Shape;3252;p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3" name="Google Shape;3253;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54" name="Google Shape;3254;p528"/>
          <p:cNvGrpSpPr/>
          <p:nvPr/>
        </p:nvGrpSpPr>
        <p:grpSpPr>
          <a:xfrm>
            <a:off x="7191542" y="1"/>
            <a:ext cx="5000459" cy="1425992"/>
            <a:chOff x="7191542" y="1"/>
            <a:chExt cx="5000459" cy="1425992"/>
          </a:xfrm>
        </p:grpSpPr>
        <p:pic>
          <p:nvPicPr>
            <p:cNvPr id="3255" name="Google Shape;3255;p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6" name="Google Shape;3256;p528"/>
            <p:cNvGrpSpPr/>
            <p:nvPr/>
          </p:nvGrpSpPr>
          <p:grpSpPr>
            <a:xfrm>
              <a:off x="7191542" y="1"/>
              <a:ext cx="5000459" cy="1425992"/>
              <a:chOff x="7186272" y="0"/>
              <a:chExt cx="5005729" cy="1427495"/>
            </a:xfrm>
          </p:grpSpPr>
          <p:sp>
            <p:nvSpPr>
              <p:cNvPr id="3257" name="Google Shape;3257;p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8" name="Google Shape;3258;p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3259"/>
        <p:cNvGrpSpPr/>
        <p:nvPr/>
      </p:nvGrpSpPr>
      <p:grpSpPr>
        <a:xfrm>
          <a:off x="0" y="0"/>
          <a:ext cx="0" cy="0"/>
          <a:chOff x="0" y="0"/>
          <a:chExt cx="0" cy="0"/>
        </a:xfrm>
      </p:grpSpPr>
      <p:sp>
        <p:nvSpPr>
          <p:cNvPr id="3260" name="Google Shape;3260;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61" name="Google Shape;3261;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62" name="Google Shape;3262;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63" name="Google Shape;3263;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64" name="Google Shape;3264;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5" name="Google Shape;3265;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66" name="Google Shape;3266;p529"/>
          <p:cNvGrpSpPr/>
          <p:nvPr/>
        </p:nvGrpSpPr>
        <p:grpSpPr>
          <a:xfrm>
            <a:off x="7191542" y="1"/>
            <a:ext cx="5000459" cy="1425992"/>
            <a:chOff x="7191542" y="1"/>
            <a:chExt cx="5000459" cy="1425992"/>
          </a:xfrm>
        </p:grpSpPr>
        <p:pic>
          <p:nvPicPr>
            <p:cNvPr id="3267" name="Google Shape;3267;p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68" name="Google Shape;3268;p529"/>
            <p:cNvGrpSpPr/>
            <p:nvPr/>
          </p:nvGrpSpPr>
          <p:grpSpPr>
            <a:xfrm>
              <a:off x="7191542" y="1"/>
              <a:ext cx="5000459" cy="1425992"/>
              <a:chOff x="7186272" y="0"/>
              <a:chExt cx="5005729" cy="1427495"/>
            </a:xfrm>
          </p:grpSpPr>
          <p:sp>
            <p:nvSpPr>
              <p:cNvPr id="3269" name="Google Shape;3269;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70" name="Google Shape;3270;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71" name="Google Shape;3271;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3272"/>
        <p:cNvGrpSpPr/>
        <p:nvPr/>
      </p:nvGrpSpPr>
      <p:grpSpPr>
        <a:xfrm>
          <a:off x="0" y="0"/>
          <a:ext cx="0" cy="0"/>
          <a:chOff x="0" y="0"/>
          <a:chExt cx="0" cy="0"/>
        </a:xfrm>
      </p:grpSpPr>
      <p:sp>
        <p:nvSpPr>
          <p:cNvPr id="3273" name="Google Shape;3273;p5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74" name="Google Shape;3274;p5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5" name="Google Shape;3275;p5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6" name="Google Shape;3276;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77" name="Google Shape;3277;p5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78" name="Google Shape;3278;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9" name="Google Shape;3279;p530"/>
          <p:cNvGrpSpPr/>
          <p:nvPr/>
        </p:nvGrpSpPr>
        <p:grpSpPr>
          <a:xfrm>
            <a:off x="7191542" y="1"/>
            <a:ext cx="5000459" cy="1425992"/>
            <a:chOff x="7191542" y="1"/>
            <a:chExt cx="5000459" cy="1425992"/>
          </a:xfrm>
        </p:grpSpPr>
        <p:pic>
          <p:nvPicPr>
            <p:cNvPr id="3280" name="Google Shape;3280;p5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81" name="Google Shape;3281;p530"/>
            <p:cNvGrpSpPr/>
            <p:nvPr/>
          </p:nvGrpSpPr>
          <p:grpSpPr>
            <a:xfrm>
              <a:off x="7191542" y="1"/>
              <a:ext cx="5000459" cy="1425992"/>
              <a:chOff x="7186272" y="0"/>
              <a:chExt cx="5005729" cy="1427495"/>
            </a:xfrm>
          </p:grpSpPr>
          <p:sp>
            <p:nvSpPr>
              <p:cNvPr id="3282" name="Google Shape;3282;p5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83" name="Google Shape;3283;p5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84" name="Google Shape;3284;p5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6_Cover">
  <p:cSld name="6_Cover">
    <p:spTree>
      <p:nvGrpSpPr>
        <p:cNvPr id="1" name="Shape 3285"/>
        <p:cNvGrpSpPr/>
        <p:nvPr/>
      </p:nvGrpSpPr>
      <p:grpSpPr>
        <a:xfrm>
          <a:off x="0" y="0"/>
          <a:ext cx="0" cy="0"/>
          <a:chOff x="0" y="0"/>
          <a:chExt cx="0" cy="0"/>
        </a:xfrm>
      </p:grpSpPr>
      <p:sp>
        <p:nvSpPr>
          <p:cNvPr id="3286" name="Google Shape;3286;p5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87" name="Google Shape;3287;p5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88" name="Google Shape;3288;p5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289" name="Google Shape;3289;p531"/>
          <p:cNvSpPr>
            <a:spLocks noGrp="1"/>
          </p:cNvSpPr>
          <p:nvPr>
            <p:ph type="pic" idx="2"/>
          </p:nvPr>
        </p:nvSpPr>
        <p:spPr>
          <a:xfrm>
            <a:off x="7118684" y="233915"/>
            <a:ext cx="5073316" cy="5943600"/>
          </a:xfrm>
          <a:prstGeom prst="rect">
            <a:avLst/>
          </a:prstGeom>
          <a:noFill/>
          <a:ln>
            <a:noFill/>
          </a:ln>
        </p:spPr>
      </p:sp>
      <p:grpSp>
        <p:nvGrpSpPr>
          <p:cNvPr id="3290" name="Google Shape;3290;p531"/>
          <p:cNvGrpSpPr/>
          <p:nvPr/>
        </p:nvGrpSpPr>
        <p:grpSpPr>
          <a:xfrm>
            <a:off x="0" y="5020348"/>
            <a:ext cx="12192000" cy="1837653"/>
            <a:chOff x="0" y="5020348"/>
            <a:chExt cx="12192000" cy="1837653"/>
          </a:xfrm>
        </p:grpSpPr>
        <p:sp>
          <p:nvSpPr>
            <p:cNvPr id="3291" name="Google Shape;3291;p5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92" name="Google Shape;3292;p5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93" name="Google Shape;3293;p5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3294"/>
        <p:cNvGrpSpPr/>
        <p:nvPr/>
      </p:nvGrpSpPr>
      <p:grpSpPr>
        <a:xfrm>
          <a:off x="0" y="0"/>
          <a:ext cx="0" cy="0"/>
          <a:chOff x="0" y="0"/>
          <a:chExt cx="0" cy="0"/>
        </a:xfrm>
      </p:grpSpPr>
      <p:grpSp>
        <p:nvGrpSpPr>
          <p:cNvPr id="3295" name="Google Shape;3295;p532"/>
          <p:cNvGrpSpPr/>
          <p:nvPr/>
        </p:nvGrpSpPr>
        <p:grpSpPr>
          <a:xfrm>
            <a:off x="0" y="5020347"/>
            <a:ext cx="12192000" cy="1837653"/>
            <a:chOff x="0" y="5020347"/>
            <a:chExt cx="12192000" cy="1837653"/>
          </a:xfrm>
        </p:grpSpPr>
        <p:sp>
          <p:nvSpPr>
            <p:cNvPr id="3296" name="Google Shape;3296;p5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97" name="Google Shape;3297;p5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98" name="Google Shape;3298;p5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99" name="Google Shape;3299;p5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00" name="Google Shape;3300;p5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01" name="Google Shape;3301;p5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3302"/>
        <p:cNvGrpSpPr/>
        <p:nvPr/>
      </p:nvGrpSpPr>
      <p:grpSpPr>
        <a:xfrm>
          <a:off x="0" y="0"/>
          <a:ext cx="0" cy="0"/>
          <a:chOff x="0" y="0"/>
          <a:chExt cx="0" cy="0"/>
        </a:xfrm>
      </p:grpSpPr>
      <p:sp>
        <p:nvSpPr>
          <p:cNvPr id="3303" name="Google Shape;3303;p5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04" name="Google Shape;3304;p5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05" name="Google Shape;3305;p533"/>
          <p:cNvGrpSpPr/>
          <p:nvPr/>
        </p:nvGrpSpPr>
        <p:grpSpPr>
          <a:xfrm>
            <a:off x="0" y="5379426"/>
            <a:ext cx="2807368" cy="753891"/>
            <a:chOff x="0" y="5379426"/>
            <a:chExt cx="2807368" cy="753891"/>
          </a:xfrm>
        </p:grpSpPr>
        <p:sp>
          <p:nvSpPr>
            <p:cNvPr id="3306" name="Google Shape;3306;p5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07" name="Google Shape;3307;p5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308" name="Google Shape;3308;p533"/>
          <p:cNvSpPr>
            <a:spLocks noGrp="1"/>
          </p:cNvSpPr>
          <p:nvPr>
            <p:ph type="pic" idx="2"/>
          </p:nvPr>
        </p:nvSpPr>
        <p:spPr>
          <a:xfrm>
            <a:off x="2807368" y="457202"/>
            <a:ext cx="8915400" cy="5943598"/>
          </a:xfrm>
          <a:prstGeom prst="rect">
            <a:avLst/>
          </a:prstGeom>
          <a:noFill/>
          <a:ln>
            <a:noFill/>
          </a:ln>
        </p:spPr>
      </p:sp>
      <p:pic>
        <p:nvPicPr>
          <p:cNvPr id="3309" name="Google Shape;3309;p5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63"/>
        <p:cNvGrpSpPr/>
        <p:nvPr/>
      </p:nvGrpSpPr>
      <p:grpSpPr>
        <a:xfrm>
          <a:off x="0" y="0"/>
          <a:ext cx="0" cy="0"/>
          <a:chOff x="0" y="0"/>
          <a:chExt cx="0" cy="0"/>
        </a:xfrm>
      </p:grpSpPr>
      <p:sp>
        <p:nvSpPr>
          <p:cNvPr id="364" name="Google Shape;364;p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65" name="Google Shape;365;p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6" name="Google Shape;366;p90"/>
          <p:cNvGrpSpPr/>
          <p:nvPr/>
        </p:nvGrpSpPr>
        <p:grpSpPr>
          <a:xfrm>
            <a:off x="0" y="5379426"/>
            <a:ext cx="2807368" cy="753891"/>
            <a:chOff x="0" y="5379426"/>
            <a:chExt cx="2807368" cy="753891"/>
          </a:xfrm>
        </p:grpSpPr>
        <p:sp>
          <p:nvSpPr>
            <p:cNvPr id="367" name="Google Shape;367;p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8" name="Google Shape;368;p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69" name="Google Shape;369;p90"/>
          <p:cNvSpPr>
            <a:spLocks noGrp="1"/>
          </p:cNvSpPr>
          <p:nvPr>
            <p:ph type="pic" idx="2"/>
          </p:nvPr>
        </p:nvSpPr>
        <p:spPr>
          <a:xfrm>
            <a:off x="2807368" y="457202"/>
            <a:ext cx="8915400" cy="5943598"/>
          </a:xfrm>
          <a:prstGeom prst="rect">
            <a:avLst/>
          </a:prstGeom>
          <a:noFill/>
          <a:ln>
            <a:noFill/>
          </a:ln>
        </p:spPr>
      </p:sp>
      <p:pic>
        <p:nvPicPr>
          <p:cNvPr id="370" name="Google Shape;370;p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3310"/>
        <p:cNvGrpSpPr/>
        <p:nvPr/>
      </p:nvGrpSpPr>
      <p:grpSpPr>
        <a:xfrm>
          <a:off x="0" y="0"/>
          <a:ext cx="0" cy="0"/>
          <a:chOff x="0" y="0"/>
          <a:chExt cx="0" cy="0"/>
        </a:xfrm>
      </p:grpSpPr>
      <p:sp>
        <p:nvSpPr>
          <p:cNvPr id="3311" name="Google Shape;3311;p5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12" name="Google Shape;3312;p5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13" name="Google Shape;3313;p5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4" name="Google Shape;3314;p5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15" name="Google Shape;3315;p5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6" name="Google Shape;3316;p5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17" name="Google Shape;3317;p534"/>
          <p:cNvGrpSpPr/>
          <p:nvPr/>
        </p:nvGrpSpPr>
        <p:grpSpPr>
          <a:xfrm>
            <a:off x="7191542" y="1"/>
            <a:ext cx="5000459" cy="1425992"/>
            <a:chOff x="7191542" y="1"/>
            <a:chExt cx="5000459" cy="1425992"/>
          </a:xfrm>
        </p:grpSpPr>
        <p:pic>
          <p:nvPicPr>
            <p:cNvPr id="3318" name="Google Shape;3318;p5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9" name="Google Shape;3319;p534"/>
            <p:cNvGrpSpPr/>
            <p:nvPr/>
          </p:nvGrpSpPr>
          <p:grpSpPr>
            <a:xfrm>
              <a:off x="7191542" y="1"/>
              <a:ext cx="5000459" cy="1425992"/>
              <a:chOff x="7186272" y="0"/>
              <a:chExt cx="5005729" cy="1427495"/>
            </a:xfrm>
          </p:grpSpPr>
          <p:sp>
            <p:nvSpPr>
              <p:cNvPr id="3320" name="Google Shape;3320;p5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21" name="Google Shape;3321;p5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322" name="Google Shape;3322;p5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3323"/>
        <p:cNvGrpSpPr/>
        <p:nvPr/>
      </p:nvGrpSpPr>
      <p:grpSpPr>
        <a:xfrm>
          <a:off x="0" y="0"/>
          <a:ext cx="0" cy="0"/>
          <a:chOff x="0" y="0"/>
          <a:chExt cx="0" cy="0"/>
        </a:xfrm>
      </p:grpSpPr>
      <p:grpSp>
        <p:nvGrpSpPr>
          <p:cNvPr id="3324" name="Google Shape;3324;p535"/>
          <p:cNvGrpSpPr/>
          <p:nvPr/>
        </p:nvGrpSpPr>
        <p:grpSpPr>
          <a:xfrm>
            <a:off x="7191542" y="1"/>
            <a:ext cx="5000459" cy="1425992"/>
            <a:chOff x="7191542" y="1"/>
            <a:chExt cx="5000459" cy="1425992"/>
          </a:xfrm>
        </p:grpSpPr>
        <p:pic>
          <p:nvPicPr>
            <p:cNvPr id="3325" name="Google Shape;3325;p5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6" name="Google Shape;3326;p535"/>
            <p:cNvGrpSpPr/>
            <p:nvPr/>
          </p:nvGrpSpPr>
          <p:grpSpPr>
            <a:xfrm>
              <a:off x="7191542" y="1"/>
              <a:ext cx="5000459" cy="1425992"/>
              <a:chOff x="7186272" y="0"/>
              <a:chExt cx="5005729" cy="1427495"/>
            </a:xfrm>
          </p:grpSpPr>
          <p:sp>
            <p:nvSpPr>
              <p:cNvPr id="3327" name="Google Shape;3327;p5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28" name="Google Shape;3328;p5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29" name="Google Shape;3329;p5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0" name="Google Shape;3330;p5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31" name="Google Shape;3331;p5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32" name="Google Shape;3332;p5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3" name="Google Shape;3333;p5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3334"/>
        <p:cNvGrpSpPr/>
        <p:nvPr/>
      </p:nvGrpSpPr>
      <p:grpSpPr>
        <a:xfrm>
          <a:off x="0" y="0"/>
          <a:ext cx="0" cy="0"/>
          <a:chOff x="0" y="0"/>
          <a:chExt cx="0" cy="0"/>
        </a:xfrm>
      </p:grpSpPr>
      <p:sp>
        <p:nvSpPr>
          <p:cNvPr id="3335" name="Google Shape;3335;p5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6" name="Google Shape;3336;p53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37" name="Google Shape;3337;p536"/>
          <p:cNvGrpSpPr/>
          <p:nvPr/>
        </p:nvGrpSpPr>
        <p:grpSpPr>
          <a:xfrm>
            <a:off x="7191542" y="1"/>
            <a:ext cx="5000459" cy="1425992"/>
            <a:chOff x="7191542" y="1"/>
            <a:chExt cx="5000459" cy="1425992"/>
          </a:xfrm>
        </p:grpSpPr>
        <p:pic>
          <p:nvPicPr>
            <p:cNvPr id="3338" name="Google Shape;3338;p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9" name="Google Shape;3339;p536"/>
            <p:cNvGrpSpPr/>
            <p:nvPr/>
          </p:nvGrpSpPr>
          <p:grpSpPr>
            <a:xfrm>
              <a:off x="7191542" y="1"/>
              <a:ext cx="5000459" cy="1425992"/>
              <a:chOff x="7186272" y="0"/>
              <a:chExt cx="5005729" cy="1427495"/>
            </a:xfrm>
          </p:grpSpPr>
          <p:sp>
            <p:nvSpPr>
              <p:cNvPr id="3340" name="Google Shape;3340;p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41" name="Google Shape;3341;p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42" name="Google Shape;3342;p53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3" name="Google Shape;3343;p53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4" name="Google Shape;3344;p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5" name="Google Shape;3345;p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3346"/>
        <p:cNvGrpSpPr/>
        <p:nvPr/>
      </p:nvGrpSpPr>
      <p:grpSpPr>
        <a:xfrm>
          <a:off x="0" y="0"/>
          <a:ext cx="0" cy="0"/>
          <a:chOff x="0" y="0"/>
          <a:chExt cx="0" cy="0"/>
        </a:xfrm>
      </p:grpSpPr>
      <p:grpSp>
        <p:nvGrpSpPr>
          <p:cNvPr id="3347" name="Google Shape;3347;p537"/>
          <p:cNvGrpSpPr/>
          <p:nvPr/>
        </p:nvGrpSpPr>
        <p:grpSpPr>
          <a:xfrm>
            <a:off x="7191542" y="1"/>
            <a:ext cx="5000459" cy="1425992"/>
            <a:chOff x="7191542" y="1"/>
            <a:chExt cx="5000459" cy="1425992"/>
          </a:xfrm>
        </p:grpSpPr>
        <p:pic>
          <p:nvPicPr>
            <p:cNvPr id="3348" name="Google Shape;3348;p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49" name="Google Shape;3349;p537"/>
            <p:cNvGrpSpPr/>
            <p:nvPr/>
          </p:nvGrpSpPr>
          <p:grpSpPr>
            <a:xfrm>
              <a:off x="7191542" y="1"/>
              <a:ext cx="5000459" cy="1425992"/>
              <a:chOff x="7186272" y="0"/>
              <a:chExt cx="5005729" cy="1427495"/>
            </a:xfrm>
          </p:grpSpPr>
          <p:sp>
            <p:nvSpPr>
              <p:cNvPr id="3350" name="Google Shape;3350;p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1" name="Google Shape;3351;p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52" name="Google Shape;3352;p5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53" name="Google Shape;3353;p5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54" name="Google Shape;3354;p5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5" name="Google Shape;3355;p5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56" name="Google Shape;3356;p5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7" name="Google Shape;3357;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8" name="Google Shape;3358;p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9" name="Google Shape;3359;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3360"/>
        <p:cNvGrpSpPr/>
        <p:nvPr/>
      </p:nvGrpSpPr>
      <p:grpSpPr>
        <a:xfrm>
          <a:off x="0" y="0"/>
          <a:ext cx="0" cy="0"/>
          <a:chOff x="0" y="0"/>
          <a:chExt cx="0" cy="0"/>
        </a:xfrm>
      </p:grpSpPr>
      <p:grpSp>
        <p:nvGrpSpPr>
          <p:cNvPr id="3361" name="Google Shape;3361;p538"/>
          <p:cNvGrpSpPr/>
          <p:nvPr/>
        </p:nvGrpSpPr>
        <p:grpSpPr>
          <a:xfrm>
            <a:off x="7191542" y="1"/>
            <a:ext cx="5000459" cy="1425992"/>
            <a:chOff x="7191542" y="1"/>
            <a:chExt cx="5000459" cy="1425992"/>
          </a:xfrm>
        </p:grpSpPr>
        <p:pic>
          <p:nvPicPr>
            <p:cNvPr id="3362" name="Google Shape;3362;p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63" name="Google Shape;3363;p538"/>
            <p:cNvGrpSpPr/>
            <p:nvPr/>
          </p:nvGrpSpPr>
          <p:grpSpPr>
            <a:xfrm>
              <a:off x="7191542" y="1"/>
              <a:ext cx="5000459" cy="1425992"/>
              <a:chOff x="7186272" y="0"/>
              <a:chExt cx="5005729" cy="1427495"/>
            </a:xfrm>
          </p:grpSpPr>
          <p:sp>
            <p:nvSpPr>
              <p:cNvPr id="3364" name="Google Shape;3364;p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65" name="Google Shape;3365;p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66" name="Google Shape;3366;p5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7" name="Google Shape;3367;p5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68" name="Google Shape;3368;p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69" name="Google Shape;3369;p5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6_End">
  <p:cSld name="6_End">
    <p:spTree>
      <p:nvGrpSpPr>
        <p:cNvPr id="1" name="Shape 3370"/>
        <p:cNvGrpSpPr/>
        <p:nvPr/>
      </p:nvGrpSpPr>
      <p:grpSpPr>
        <a:xfrm>
          <a:off x="0" y="0"/>
          <a:ext cx="0" cy="0"/>
          <a:chOff x="0" y="0"/>
          <a:chExt cx="0" cy="0"/>
        </a:xfrm>
      </p:grpSpPr>
      <p:grpSp>
        <p:nvGrpSpPr>
          <p:cNvPr id="3371" name="Google Shape;3371;p539"/>
          <p:cNvGrpSpPr/>
          <p:nvPr/>
        </p:nvGrpSpPr>
        <p:grpSpPr>
          <a:xfrm>
            <a:off x="0" y="0"/>
            <a:ext cx="12192000" cy="2148830"/>
            <a:chOff x="0" y="0"/>
            <a:chExt cx="12192000" cy="2148830"/>
          </a:xfrm>
        </p:grpSpPr>
        <p:sp>
          <p:nvSpPr>
            <p:cNvPr id="3372" name="Google Shape;3372;p5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3" name="Google Shape;3373;p5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74" name="Google Shape;3374;p5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75" name="Google Shape;3375;p5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76" name="Google Shape;3376;p5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377" name="Google Shape;3377;p5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378" name="Google Shape;3378;p5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3379"/>
        <p:cNvGrpSpPr/>
        <p:nvPr/>
      </p:nvGrpSpPr>
      <p:grpSpPr>
        <a:xfrm>
          <a:off x="0" y="0"/>
          <a:ext cx="0" cy="0"/>
          <a:chOff x="0" y="0"/>
          <a:chExt cx="0" cy="0"/>
        </a:xfrm>
      </p:grpSpPr>
      <p:sp>
        <p:nvSpPr>
          <p:cNvPr id="3380" name="Google Shape;3380;p5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81" name="Google Shape;3381;p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82" name="Google Shape;3382;p5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83" name="Google Shape;3383;p540"/>
          <p:cNvGrpSpPr/>
          <p:nvPr/>
        </p:nvGrpSpPr>
        <p:grpSpPr>
          <a:xfrm>
            <a:off x="7191542" y="1"/>
            <a:ext cx="5000459" cy="1425992"/>
            <a:chOff x="7191542" y="1"/>
            <a:chExt cx="5000459" cy="1425992"/>
          </a:xfrm>
        </p:grpSpPr>
        <p:pic>
          <p:nvPicPr>
            <p:cNvPr id="3384" name="Google Shape;3384;p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85" name="Google Shape;3385;p540"/>
            <p:cNvGrpSpPr/>
            <p:nvPr/>
          </p:nvGrpSpPr>
          <p:grpSpPr>
            <a:xfrm>
              <a:off x="7191542" y="1"/>
              <a:ext cx="5000459" cy="1425992"/>
              <a:chOff x="7186272" y="0"/>
              <a:chExt cx="5005729" cy="1427495"/>
            </a:xfrm>
          </p:grpSpPr>
          <p:sp>
            <p:nvSpPr>
              <p:cNvPr id="3386" name="Google Shape;3386;p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87" name="Google Shape;3387;p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3388"/>
        <p:cNvGrpSpPr/>
        <p:nvPr/>
      </p:nvGrpSpPr>
      <p:grpSpPr>
        <a:xfrm>
          <a:off x="0" y="0"/>
          <a:ext cx="0" cy="0"/>
          <a:chOff x="0" y="0"/>
          <a:chExt cx="0" cy="0"/>
        </a:xfrm>
      </p:grpSpPr>
      <p:sp>
        <p:nvSpPr>
          <p:cNvPr id="3389" name="Google Shape;3389;p5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90" name="Google Shape;3390;p5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1" name="Google Shape;3391;p5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92" name="Google Shape;3392;p541"/>
          <p:cNvSpPr>
            <a:spLocks noGrp="1"/>
          </p:cNvSpPr>
          <p:nvPr>
            <p:ph type="pic" idx="2"/>
          </p:nvPr>
        </p:nvSpPr>
        <p:spPr>
          <a:xfrm>
            <a:off x="7118684" y="233915"/>
            <a:ext cx="5073316" cy="5943600"/>
          </a:xfrm>
          <a:prstGeom prst="rect">
            <a:avLst/>
          </a:prstGeom>
          <a:noFill/>
          <a:ln>
            <a:noFill/>
          </a:ln>
        </p:spPr>
      </p:sp>
      <p:grpSp>
        <p:nvGrpSpPr>
          <p:cNvPr id="3393" name="Google Shape;3393;p541"/>
          <p:cNvGrpSpPr/>
          <p:nvPr/>
        </p:nvGrpSpPr>
        <p:grpSpPr>
          <a:xfrm>
            <a:off x="0" y="5020348"/>
            <a:ext cx="12192000" cy="1837653"/>
            <a:chOff x="0" y="5020348"/>
            <a:chExt cx="12192000" cy="1837653"/>
          </a:xfrm>
        </p:grpSpPr>
        <p:sp>
          <p:nvSpPr>
            <p:cNvPr id="3394" name="Google Shape;3394;p5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95" name="Google Shape;3395;p5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96" name="Google Shape;3396;p5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3397"/>
        <p:cNvGrpSpPr/>
        <p:nvPr/>
      </p:nvGrpSpPr>
      <p:grpSpPr>
        <a:xfrm>
          <a:off x="0" y="0"/>
          <a:ext cx="0" cy="0"/>
          <a:chOff x="0" y="0"/>
          <a:chExt cx="0" cy="0"/>
        </a:xfrm>
      </p:grpSpPr>
      <p:grpSp>
        <p:nvGrpSpPr>
          <p:cNvPr id="3398" name="Google Shape;3398;p542"/>
          <p:cNvGrpSpPr/>
          <p:nvPr/>
        </p:nvGrpSpPr>
        <p:grpSpPr>
          <a:xfrm>
            <a:off x="0" y="5020347"/>
            <a:ext cx="12192000" cy="1837653"/>
            <a:chOff x="0" y="5020347"/>
            <a:chExt cx="12192000" cy="1837653"/>
          </a:xfrm>
        </p:grpSpPr>
        <p:sp>
          <p:nvSpPr>
            <p:cNvPr id="3399" name="Google Shape;3399;p5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00" name="Google Shape;3400;p5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01" name="Google Shape;3401;p5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402" name="Google Shape;3402;p5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03" name="Google Shape;3403;p5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4" name="Google Shape;3404;p5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3405"/>
        <p:cNvGrpSpPr/>
        <p:nvPr/>
      </p:nvGrpSpPr>
      <p:grpSpPr>
        <a:xfrm>
          <a:off x="0" y="0"/>
          <a:ext cx="0" cy="0"/>
          <a:chOff x="0" y="0"/>
          <a:chExt cx="0" cy="0"/>
        </a:xfrm>
      </p:grpSpPr>
      <p:sp>
        <p:nvSpPr>
          <p:cNvPr id="3406" name="Google Shape;3406;p5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07" name="Google Shape;3407;p5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08" name="Google Shape;3408;p543"/>
          <p:cNvGrpSpPr/>
          <p:nvPr/>
        </p:nvGrpSpPr>
        <p:grpSpPr>
          <a:xfrm>
            <a:off x="0" y="5379426"/>
            <a:ext cx="2807368" cy="753891"/>
            <a:chOff x="0" y="5379426"/>
            <a:chExt cx="2807368" cy="753891"/>
          </a:xfrm>
        </p:grpSpPr>
        <p:sp>
          <p:nvSpPr>
            <p:cNvPr id="3409" name="Google Shape;3409;p5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10" name="Google Shape;3410;p5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11" name="Google Shape;3411;p543"/>
          <p:cNvSpPr>
            <a:spLocks noGrp="1"/>
          </p:cNvSpPr>
          <p:nvPr>
            <p:ph type="pic" idx="2"/>
          </p:nvPr>
        </p:nvSpPr>
        <p:spPr>
          <a:xfrm>
            <a:off x="2807368" y="457202"/>
            <a:ext cx="8915400" cy="5943598"/>
          </a:xfrm>
          <a:prstGeom prst="rect">
            <a:avLst/>
          </a:prstGeom>
          <a:noFill/>
          <a:ln>
            <a:noFill/>
          </a:ln>
        </p:spPr>
      </p:sp>
      <p:pic>
        <p:nvPicPr>
          <p:cNvPr id="3412" name="Google Shape;3412;p5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71"/>
        <p:cNvGrpSpPr/>
        <p:nvPr/>
      </p:nvGrpSpPr>
      <p:grpSpPr>
        <a:xfrm>
          <a:off x="0" y="0"/>
          <a:ext cx="0" cy="0"/>
          <a:chOff x="0" y="0"/>
          <a:chExt cx="0" cy="0"/>
        </a:xfrm>
      </p:grpSpPr>
      <p:sp>
        <p:nvSpPr>
          <p:cNvPr id="372" name="Google Shape;372;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3" name="Google Shape;373;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 name="Google Shape;375;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 name="Google Shape;376;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7" name="Google Shape;377;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8" name="Google Shape;378;p91"/>
          <p:cNvGrpSpPr/>
          <p:nvPr/>
        </p:nvGrpSpPr>
        <p:grpSpPr>
          <a:xfrm>
            <a:off x="7191542" y="1"/>
            <a:ext cx="5000459" cy="1425992"/>
            <a:chOff x="7191542" y="1"/>
            <a:chExt cx="5000459" cy="1425992"/>
          </a:xfrm>
        </p:grpSpPr>
        <p:pic>
          <p:nvPicPr>
            <p:cNvPr id="379" name="Google Shape;379;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0" name="Google Shape;380;p91"/>
            <p:cNvGrpSpPr/>
            <p:nvPr/>
          </p:nvGrpSpPr>
          <p:grpSpPr>
            <a:xfrm>
              <a:off x="7191542" y="1"/>
              <a:ext cx="5000459" cy="1425992"/>
              <a:chOff x="7186272" y="0"/>
              <a:chExt cx="5005729" cy="1427495"/>
            </a:xfrm>
          </p:grpSpPr>
          <p:sp>
            <p:nvSpPr>
              <p:cNvPr id="381" name="Google Shape;381;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2" name="Google Shape;382;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83" name="Google Shape;383;p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3413"/>
        <p:cNvGrpSpPr/>
        <p:nvPr/>
      </p:nvGrpSpPr>
      <p:grpSpPr>
        <a:xfrm>
          <a:off x="0" y="0"/>
          <a:ext cx="0" cy="0"/>
          <a:chOff x="0" y="0"/>
          <a:chExt cx="0" cy="0"/>
        </a:xfrm>
      </p:grpSpPr>
      <p:sp>
        <p:nvSpPr>
          <p:cNvPr id="3414" name="Google Shape;3414;p5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15" name="Google Shape;3415;p5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16" name="Google Shape;3416;p5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7" name="Google Shape;3417;p5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8" name="Google Shape;3418;p5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9" name="Google Shape;3419;p5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20" name="Google Shape;3420;p544"/>
          <p:cNvGrpSpPr/>
          <p:nvPr/>
        </p:nvGrpSpPr>
        <p:grpSpPr>
          <a:xfrm>
            <a:off x="7191542" y="1"/>
            <a:ext cx="5000459" cy="1425992"/>
            <a:chOff x="7191542" y="1"/>
            <a:chExt cx="5000459" cy="1425992"/>
          </a:xfrm>
        </p:grpSpPr>
        <p:pic>
          <p:nvPicPr>
            <p:cNvPr id="3421" name="Google Shape;3421;p5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2" name="Google Shape;3422;p544"/>
            <p:cNvGrpSpPr/>
            <p:nvPr/>
          </p:nvGrpSpPr>
          <p:grpSpPr>
            <a:xfrm>
              <a:off x="7191542" y="1"/>
              <a:ext cx="5000459" cy="1425992"/>
              <a:chOff x="7186272" y="0"/>
              <a:chExt cx="5005729" cy="1427495"/>
            </a:xfrm>
          </p:grpSpPr>
          <p:sp>
            <p:nvSpPr>
              <p:cNvPr id="3423" name="Google Shape;3423;p5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24" name="Google Shape;3424;p5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425" name="Google Shape;3425;p5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3426"/>
        <p:cNvGrpSpPr/>
        <p:nvPr/>
      </p:nvGrpSpPr>
      <p:grpSpPr>
        <a:xfrm>
          <a:off x="0" y="0"/>
          <a:ext cx="0" cy="0"/>
          <a:chOff x="0" y="0"/>
          <a:chExt cx="0" cy="0"/>
        </a:xfrm>
      </p:grpSpPr>
      <p:grpSp>
        <p:nvGrpSpPr>
          <p:cNvPr id="3427" name="Google Shape;3427;p545"/>
          <p:cNvGrpSpPr/>
          <p:nvPr/>
        </p:nvGrpSpPr>
        <p:grpSpPr>
          <a:xfrm>
            <a:off x="7191542" y="1"/>
            <a:ext cx="5000459" cy="1425992"/>
            <a:chOff x="7191542" y="1"/>
            <a:chExt cx="5000459" cy="1425992"/>
          </a:xfrm>
        </p:grpSpPr>
        <p:pic>
          <p:nvPicPr>
            <p:cNvPr id="3428" name="Google Shape;3428;p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9" name="Google Shape;3429;p545"/>
            <p:cNvGrpSpPr/>
            <p:nvPr/>
          </p:nvGrpSpPr>
          <p:grpSpPr>
            <a:xfrm>
              <a:off x="7191542" y="1"/>
              <a:ext cx="5000459" cy="1425992"/>
              <a:chOff x="7186272" y="0"/>
              <a:chExt cx="5005729" cy="1427495"/>
            </a:xfrm>
          </p:grpSpPr>
          <p:sp>
            <p:nvSpPr>
              <p:cNvPr id="3430" name="Google Shape;3430;p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31" name="Google Shape;3431;p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32" name="Google Shape;3432;p5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33" name="Google Shape;3433;p5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4" name="Google Shape;3434;p5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35" name="Google Shape;3435;p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36" name="Google Shape;3436;p5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3437"/>
        <p:cNvGrpSpPr/>
        <p:nvPr/>
      </p:nvGrpSpPr>
      <p:grpSpPr>
        <a:xfrm>
          <a:off x="0" y="0"/>
          <a:ext cx="0" cy="0"/>
          <a:chOff x="0" y="0"/>
          <a:chExt cx="0" cy="0"/>
        </a:xfrm>
      </p:grpSpPr>
      <p:sp>
        <p:nvSpPr>
          <p:cNvPr id="3438" name="Google Shape;3438;p5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39" name="Google Shape;3439;p5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40" name="Google Shape;3440;p546"/>
          <p:cNvGrpSpPr/>
          <p:nvPr/>
        </p:nvGrpSpPr>
        <p:grpSpPr>
          <a:xfrm>
            <a:off x="7191542" y="1"/>
            <a:ext cx="5000459" cy="1425992"/>
            <a:chOff x="7191542" y="1"/>
            <a:chExt cx="5000459" cy="1425992"/>
          </a:xfrm>
        </p:grpSpPr>
        <p:pic>
          <p:nvPicPr>
            <p:cNvPr id="3441" name="Google Shape;3441;p5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42" name="Google Shape;3442;p546"/>
            <p:cNvGrpSpPr/>
            <p:nvPr/>
          </p:nvGrpSpPr>
          <p:grpSpPr>
            <a:xfrm>
              <a:off x="7191542" y="1"/>
              <a:ext cx="5000459" cy="1425992"/>
              <a:chOff x="7186272" y="0"/>
              <a:chExt cx="5005729" cy="1427495"/>
            </a:xfrm>
          </p:grpSpPr>
          <p:sp>
            <p:nvSpPr>
              <p:cNvPr id="3443" name="Google Shape;3443;p5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44" name="Google Shape;3444;p5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45" name="Google Shape;3445;p5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46" name="Google Shape;3446;p5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7" name="Google Shape;3447;p5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8" name="Google Shape;3448;p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3449"/>
        <p:cNvGrpSpPr/>
        <p:nvPr/>
      </p:nvGrpSpPr>
      <p:grpSpPr>
        <a:xfrm>
          <a:off x="0" y="0"/>
          <a:ext cx="0" cy="0"/>
          <a:chOff x="0" y="0"/>
          <a:chExt cx="0" cy="0"/>
        </a:xfrm>
      </p:grpSpPr>
      <p:grpSp>
        <p:nvGrpSpPr>
          <p:cNvPr id="3450" name="Google Shape;3450;p547"/>
          <p:cNvGrpSpPr/>
          <p:nvPr/>
        </p:nvGrpSpPr>
        <p:grpSpPr>
          <a:xfrm>
            <a:off x="7191542" y="1"/>
            <a:ext cx="5000459" cy="1425992"/>
            <a:chOff x="7191542" y="1"/>
            <a:chExt cx="5000459" cy="1425992"/>
          </a:xfrm>
        </p:grpSpPr>
        <p:pic>
          <p:nvPicPr>
            <p:cNvPr id="3451" name="Google Shape;3451;p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2" name="Google Shape;3452;p547"/>
            <p:cNvGrpSpPr/>
            <p:nvPr/>
          </p:nvGrpSpPr>
          <p:grpSpPr>
            <a:xfrm>
              <a:off x="7191542" y="1"/>
              <a:ext cx="5000459" cy="1425992"/>
              <a:chOff x="7186272" y="0"/>
              <a:chExt cx="5005729" cy="1427495"/>
            </a:xfrm>
          </p:grpSpPr>
          <p:sp>
            <p:nvSpPr>
              <p:cNvPr id="3453" name="Google Shape;3453;p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54" name="Google Shape;3454;p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55" name="Google Shape;3455;p5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6" name="Google Shape;3456;p5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57" name="Google Shape;3457;p5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8" name="Google Shape;3458;p5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59" name="Google Shape;3459;p5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60" name="Google Shape;3460;p5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1" name="Google Shape;3461;p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2" name="Google Shape;3462;p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3463"/>
        <p:cNvGrpSpPr/>
        <p:nvPr/>
      </p:nvGrpSpPr>
      <p:grpSpPr>
        <a:xfrm>
          <a:off x="0" y="0"/>
          <a:ext cx="0" cy="0"/>
          <a:chOff x="0" y="0"/>
          <a:chExt cx="0" cy="0"/>
        </a:xfrm>
      </p:grpSpPr>
      <p:grpSp>
        <p:nvGrpSpPr>
          <p:cNvPr id="3464" name="Google Shape;3464;p548"/>
          <p:cNvGrpSpPr/>
          <p:nvPr/>
        </p:nvGrpSpPr>
        <p:grpSpPr>
          <a:xfrm>
            <a:off x="7191542" y="1"/>
            <a:ext cx="5000459" cy="1425992"/>
            <a:chOff x="7191542" y="1"/>
            <a:chExt cx="5000459" cy="1425992"/>
          </a:xfrm>
        </p:grpSpPr>
        <p:pic>
          <p:nvPicPr>
            <p:cNvPr id="3465" name="Google Shape;3465;p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6" name="Google Shape;3466;p548"/>
            <p:cNvGrpSpPr/>
            <p:nvPr/>
          </p:nvGrpSpPr>
          <p:grpSpPr>
            <a:xfrm>
              <a:off x="7191542" y="1"/>
              <a:ext cx="5000459" cy="1425992"/>
              <a:chOff x="7186272" y="0"/>
              <a:chExt cx="5005729" cy="1427495"/>
            </a:xfrm>
          </p:grpSpPr>
          <p:sp>
            <p:nvSpPr>
              <p:cNvPr id="3467" name="Google Shape;3467;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68" name="Google Shape;3468;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69" name="Google Shape;3469;p5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70" name="Google Shape;3470;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71" name="Google Shape;3471;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2" name="Google Shape;3472;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3473"/>
        <p:cNvGrpSpPr/>
        <p:nvPr/>
      </p:nvGrpSpPr>
      <p:grpSpPr>
        <a:xfrm>
          <a:off x="0" y="0"/>
          <a:ext cx="0" cy="0"/>
          <a:chOff x="0" y="0"/>
          <a:chExt cx="0" cy="0"/>
        </a:xfrm>
      </p:grpSpPr>
      <p:grpSp>
        <p:nvGrpSpPr>
          <p:cNvPr id="3474" name="Google Shape;3474;p549"/>
          <p:cNvGrpSpPr/>
          <p:nvPr/>
        </p:nvGrpSpPr>
        <p:grpSpPr>
          <a:xfrm>
            <a:off x="0" y="0"/>
            <a:ext cx="12192000" cy="2148830"/>
            <a:chOff x="0" y="0"/>
            <a:chExt cx="12192000" cy="2148830"/>
          </a:xfrm>
        </p:grpSpPr>
        <p:sp>
          <p:nvSpPr>
            <p:cNvPr id="3475" name="Google Shape;3475;p5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76" name="Google Shape;3476;p5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477" name="Google Shape;3477;p5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78" name="Google Shape;3478;p5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9" name="Google Shape;3479;p5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480" name="Google Shape;3480;p5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481" name="Google Shape;3481;p54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3482"/>
        <p:cNvGrpSpPr/>
        <p:nvPr/>
      </p:nvGrpSpPr>
      <p:grpSpPr>
        <a:xfrm>
          <a:off x="0" y="0"/>
          <a:ext cx="0" cy="0"/>
          <a:chOff x="0" y="0"/>
          <a:chExt cx="0" cy="0"/>
        </a:xfrm>
      </p:grpSpPr>
      <p:sp>
        <p:nvSpPr>
          <p:cNvPr id="3483" name="Google Shape;3483;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4" name="Google Shape;3484;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85" name="Google Shape;3485;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86" name="Google Shape;3486;p550"/>
          <p:cNvGrpSpPr/>
          <p:nvPr/>
        </p:nvGrpSpPr>
        <p:grpSpPr>
          <a:xfrm>
            <a:off x="7191542" y="1"/>
            <a:ext cx="5000459" cy="1425992"/>
            <a:chOff x="7191542" y="1"/>
            <a:chExt cx="5000459" cy="1425992"/>
          </a:xfrm>
        </p:grpSpPr>
        <p:pic>
          <p:nvPicPr>
            <p:cNvPr id="3487" name="Google Shape;3487;p5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88" name="Google Shape;3488;p550"/>
            <p:cNvGrpSpPr/>
            <p:nvPr/>
          </p:nvGrpSpPr>
          <p:grpSpPr>
            <a:xfrm>
              <a:off x="7191542" y="1"/>
              <a:ext cx="5000459" cy="1425992"/>
              <a:chOff x="7186272" y="0"/>
              <a:chExt cx="5005729" cy="1427495"/>
            </a:xfrm>
          </p:grpSpPr>
          <p:sp>
            <p:nvSpPr>
              <p:cNvPr id="3489" name="Google Shape;3489;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90" name="Google Shape;3490;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3491"/>
        <p:cNvGrpSpPr/>
        <p:nvPr/>
      </p:nvGrpSpPr>
      <p:grpSpPr>
        <a:xfrm>
          <a:off x="0" y="0"/>
          <a:ext cx="0" cy="0"/>
          <a:chOff x="0" y="0"/>
          <a:chExt cx="0" cy="0"/>
        </a:xfrm>
      </p:grpSpPr>
      <p:sp>
        <p:nvSpPr>
          <p:cNvPr id="3492" name="Google Shape;3492;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3" name="Google Shape;3493;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94" name="Google Shape;3494;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95" name="Google Shape;3495;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96" name="Google Shape;3496;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7" name="Google Shape;3497;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98" name="Google Shape;3498;p551"/>
          <p:cNvGrpSpPr/>
          <p:nvPr/>
        </p:nvGrpSpPr>
        <p:grpSpPr>
          <a:xfrm>
            <a:off x="7191542" y="1"/>
            <a:ext cx="5000459" cy="1425992"/>
            <a:chOff x="7191542" y="1"/>
            <a:chExt cx="5000459" cy="1425992"/>
          </a:xfrm>
        </p:grpSpPr>
        <p:pic>
          <p:nvPicPr>
            <p:cNvPr id="3499" name="Google Shape;3499;p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00" name="Google Shape;3500;p551"/>
            <p:cNvGrpSpPr/>
            <p:nvPr/>
          </p:nvGrpSpPr>
          <p:grpSpPr>
            <a:xfrm>
              <a:off x="7191542" y="1"/>
              <a:ext cx="5000459" cy="1425992"/>
              <a:chOff x="7186272" y="0"/>
              <a:chExt cx="5005729" cy="1427495"/>
            </a:xfrm>
          </p:grpSpPr>
          <p:sp>
            <p:nvSpPr>
              <p:cNvPr id="3501" name="Google Shape;3501;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02" name="Google Shape;3502;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03" name="Google Shape;3503;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3504"/>
        <p:cNvGrpSpPr/>
        <p:nvPr/>
      </p:nvGrpSpPr>
      <p:grpSpPr>
        <a:xfrm>
          <a:off x="0" y="0"/>
          <a:ext cx="0" cy="0"/>
          <a:chOff x="0" y="0"/>
          <a:chExt cx="0" cy="0"/>
        </a:xfrm>
      </p:grpSpPr>
      <p:sp>
        <p:nvSpPr>
          <p:cNvPr id="3505" name="Google Shape;3505;p5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06" name="Google Shape;3506;p5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07" name="Google Shape;3507;p5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08" name="Google Shape;3508;p552"/>
          <p:cNvSpPr>
            <a:spLocks noGrp="1"/>
          </p:cNvSpPr>
          <p:nvPr>
            <p:ph type="pic" idx="2"/>
          </p:nvPr>
        </p:nvSpPr>
        <p:spPr>
          <a:xfrm>
            <a:off x="7118684" y="233915"/>
            <a:ext cx="5073316" cy="5943600"/>
          </a:xfrm>
          <a:prstGeom prst="rect">
            <a:avLst/>
          </a:prstGeom>
          <a:noFill/>
          <a:ln>
            <a:noFill/>
          </a:ln>
        </p:spPr>
      </p:sp>
      <p:grpSp>
        <p:nvGrpSpPr>
          <p:cNvPr id="3509" name="Google Shape;3509;p552"/>
          <p:cNvGrpSpPr/>
          <p:nvPr/>
        </p:nvGrpSpPr>
        <p:grpSpPr>
          <a:xfrm>
            <a:off x="0" y="5020348"/>
            <a:ext cx="12192000" cy="1837653"/>
            <a:chOff x="0" y="5020348"/>
            <a:chExt cx="12192000" cy="1837653"/>
          </a:xfrm>
        </p:grpSpPr>
        <p:sp>
          <p:nvSpPr>
            <p:cNvPr id="3510" name="Google Shape;3510;p5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11" name="Google Shape;3511;p5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12" name="Google Shape;3512;p5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3513"/>
        <p:cNvGrpSpPr/>
        <p:nvPr/>
      </p:nvGrpSpPr>
      <p:grpSpPr>
        <a:xfrm>
          <a:off x="0" y="0"/>
          <a:ext cx="0" cy="0"/>
          <a:chOff x="0" y="0"/>
          <a:chExt cx="0" cy="0"/>
        </a:xfrm>
      </p:grpSpPr>
      <p:grpSp>
        <p:nvGrpSpPr>
          <p:cNvPr id="3514" name="Google Shape;3514;p553"/>
          <p:cNvGrpSpPr/>
          <p:nvPr/>
        </p:nvGrpSpPr>
        <p:grpSpPr>
          <a:xfrm>
            <a:off x="0" y="5020347"/>
            <a:ext cx="12192000" cy="1837653"/>
            <a:chOff x="0" y="5020347"/>
            <a:chExt cx="12192000" cy="1837653"/>
          </a:xfrm>
        </p:grpSpPr>
        <p:sp>
          <p:nvSpPr>
            <p:cNvPr id="3515" name="Google Shape;3515;p5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16" name="Google Shape;3516;p5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17" name="Google Shape;3517;p5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18" name="Google Shape;3518;p5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19" name="Google Shape;3519;p5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0" name="Google Shape;3520;p5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384"/>
        <p:cNvGrpSpPr/>
        <p:nvPr/>
      </p:nvGrpSpPr>
      <p:grpSpPr>
        <a:xfrm>
          <a:off x="0" y="0"/>
          <a:ext cx="0" cy="0"/>
          <a:chOff x="0" y="0"/>
          <a:chExt cx="0" cy="0"/>
        </a:xfrm>
      </p:grpSpPr>
      <p:sp>
        <p:nvSpPr>
          <p:cNvPr id="385" name="Google Shape;385;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 name="Google Shape;386;p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87" name="Google Shape;387;p92"/>
          <p:cNvGrpSpPr/>
          <p:nvPr/>
        </p:nvGrpSpPr>
        <p:grpSpPr>
          <a:xfrm>
            <a:off x="7191542" y="1"/>
            <a:ext cx="5000459" cy="1425992"/>
            <a:chOff x="7191542" y="1"/>
            <a:chExt cx="5000459" cy="1425992"/>
          </a:xfrm>
        </p:grpSpPr>
        <p:pic>
          <p:nvPicPr>
            <p:cNvPr id="388" name="Google Shape;388;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92"/>
            <p:cNvGrpSpPr/>
            <p:nvPr/>
          </p:nvGrpSpPr>
          <p:grpSpPr>
            <a:xfrm>
              <a:off x="7191542" y="1"/>
              <a:ext cx="5000459" cy="1425992"/>
              <a:chOff x="7186272" y="0"/>
              <a:chExt cx="5005729" cy="1427495"/>
            </a:xfrm>
          </p:grpSpPr>
          <p:sp>
            <p:nvSpPr>
              <p:cNvPr id="390" name="Google Shape;390;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1" name="Google Shape;391;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2" name="Google Shape;392;p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3521"/>
        <p:cNvGrpSpPr/>
        <p:nvPr/>
      </p:nvGrpSpPr>
      <p:grpSpPr>
        <a:xfrm>
          <a:off x="0" y="0"/>
          <a:ext cx="0" cy="0"/>
          <a:chOff x="0" y="0"/>
          <a:chExt cx="0" cy="0"/>
        </a:xfrm>
      </p:grpSpPr>
      <p:sp>
        <p:nvSpPr>
          <p:cNvPr id="3522" name="Google Shape;3522;p5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523" name="Google Shape;3523;p5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524" name="Google Shape;3524;p554"/>
          <p:cNvGrpSpPr/>
          <p:nvPr/>
        </p:nvGrpSpPr>
        <p:grpSpPr>
          <a:xfrm>
            <a:off x="0" y="5379426"/>
            <a:ext cx="2807368" cy="753891"/>
            <a:chOff x="0" y="5379426"/>
            <a:chExt cx="2807368" cy="753891"/>
          </a:xfrm>
        </p:grpSpPr>
        <p:sp>
          <p:nvSpPr>
            <p:cNvPr id="3525" name="Google Shape;3525;p5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26" name="Google Shape;3526;p5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527" name="Google Shape;3527;p554"/>
          <p:cNvSpPr>
            <a:spLocks noGrp="1"/>
          </p:cNvSpPr>
          <p:nvPr>
            <p:ph type="pic" idx="2"/>
          </p:nvPr>
        </p:nvSpPr>
        <p:spPr>
          <a:xfrm>
            <a:off x="2807368" y="457202"/>
            <a:ext cx="8915400" cy="5943598"/>
          </a:xfrm>
          <a:prstGeom prst="rect">
            <a:avLst/>
          </a:prstGeom>
          <a:noFill/>
          <a:ln>
            <a:noFill/>
          </a:ln>
        </p:spPr>
      </p:sp>
      <p:pic>
        <p:nvPicPr>
          <p:cNvPr id="3528" name="Google Shape;3528;p5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3529"/>
        <p:cNvGrpSpPr/>
        <p:nvPr/>
      </p:nvGrpSpPr>
      <p:grpSpPr>
        <a:xfrm>
          <a:off x="0" y="0"/>
          <a:ext cx="0" cy="0"/>
          <a:chOff x="0" y="0"/>
          <a:chExt cx="0" cy="0"/>
        </a:xfrm>
      </p:grpSpPr>
      <p:sp>
        <p:nvSpPr>
          <p:cNvPr id="3530" name="Google Shape;3530;p5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31" name="Google Shape;3531;p5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32" name="Google Shape;3532;p5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33" name="Google Shape;3533;p5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34" name="Google Shape;3534;p5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35" name="Google Shape;3535;p5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36" name="Google Shape;3536;p555"/>
          <p:cNvGrpSpPr/>
          <p:nvPr/>
        </p:nvGrpSpPr>
        <p:grpSpPr>
          <a:xfrm>
            <a:off x="7191542" y="1"/>
            <a:ext cx="5000459" cy="1425992"/>
            <a:chOff x="7191542" y="1"/>
            <a:chExt cx="5000459" cy="1425992"/>
          </a:xfrm>
        </p:grpSpPr>
        <p:pic>
          <p:nvPicPr>
            <p:cNvPr id="3537" name="Google Shape;3537;p5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38" name="Google Shape;3538;p555"/>
            <p:cNvGrpSpPr/>
            <p:nvPr/>
          </p:nvGrpSpPr>
          <p:grpSpPr>
            <a:xfrm>
              <a:off x="7191542" y="1"/>
              <a:ext cx="5000459" cy="1425992"/>
              <a:chOff x="7186272" y="0"/>
              <a:chExt cx="5005729" cy="1427495"/>
            </a:xfrm>
          </p:grpSpPr>
          <p:sp>
            <p:nvSpPr>
              <p:cNvPr id="3539" name="Google Shape;3539;p5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40" name="Google Shape;3540;p5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41" name="Google Shape;3541;p5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3542"/>
        <p:cNvGrpSpPr/>
        <p:nvPr/>
      </p:nvGrpSpPr>
      <p:grpSpPr>
        <a:xfrm>
          <a:off x="0" y="0"/>
          <a:ext cx="0" cy="0"/>
          <a:chOff x="0" y="0"/>
          <a:chExt cx="0" cy="0"/>
        </a:xfrm>
      </p:grpSpPr>
      <p:grpSp>
        <p:nvGrpSpPr>
          <p:cNvPr id="3543" name="Google Shape;3543;p556"/>
          <p:cNvGrpSpPr/>
          <p:nvPr/>
        </p:nvGrpSpPr>
        <p:grpSpPr>
          <a:xfrm>
            <a:off x="7191542" y="1"/>
            <a:ext cx="5000459" cy="1425992"/>
            <a:chOff x="7191542" y="1"/>
            <a:chExt cx="5000459" cy="1425992"/>
          </a:xfrm>
        </p:grpSpPr>
        <p:pic>
          <p:nvPicPr>
            <p:cNvPr id="3544" name="Google Shape;3544;p5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45" name="Google Shape;3545;p556"/>
            <p:cNvGrpSpPr/>
            <p:nvPr/>
          </p:nvGrpSpPr>
          <p:grpSpPr>
            <a:xfrm>
              <a:off x="7191542" y="1"/>
              <a:ext cx="5000459" cy="1425992"/>
              <a:chOff x="7186272" y="0"/>
              <a:chExt cx="5005729" cy="1427495"/>
            </a:xfrm>
          </p:grpSpPr>
          <p:sp>
            <p:nvSpPr>
              <p:cNvPr id="3546" name="Google Shape;3546;p5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47" name="Google Shape;3547;p5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48" name="Google Shape;3548;p5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49" name="Google Shape;3549;p5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50" name="Google Shape;3550;p5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51" name="Google Shape;3551;p5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52" name="Google Shape;3552;p5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3553"/>
        <p:cNvGrpSpPr/>
        <p:nvPr/>
      </p:nvGrpSpPr>
      <p:grpSpPr>
        <a:xfrm>
          <a:off x="0" y="0"/>
          <a:ext cx="0" cy="0"/>
          <a:chOff x="0" y="0"/>
          <a:chExt cx="0" cy="0"/>
        </a:xfrm>
      </p:grpSpPr>
      <p:sp>
        <p:nvSpPr>
          <p:cNvPr id="3554" name="Google Shape;3554;p5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55" name="Google Shape;3555;p5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56" name="Google Shape;3556;p557"/>
          <p:cNvGrpSpPr/>
          <p:nvPr/>
        </p:nvGrpSpPr>
        <p:grpSpPr>
          <a:xfrm>
            <a:off x="7191542" y="1"/>
            <a:ext cx="5000459" cy="1425992"/>
            <a:chOff x="7191542" y="1"/>
            <a:chExt cx="5000459" cy="1425992"/>
          </a:xfrm>
        </p:grpSpPr>
        <p:pic>
          <p:nvPicPr>
            <p:cNvPr id="3557" name="Google Shape;3557;p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58" name="Google Shape;3558;p557"/>
            <p:cNvGrpSpPr/>
            <p:nvPr/>
          </p:nvGrpSpPr>
          <p:grpSpPr>
            <a:xfrm>
              <a:off x="7191542" y="1"/>
              <a:ext cx="5000459" cy="1425992"/>
              <a:chOff x="7186272" y="0"/>
              <a:chExt cx="5005729" cy="1427495"/>
            </a:xfrm>
          </p:grpSpPr>
          <p:sp>
            <p:nvSpPr>
              <p:cNvPr id="3559" name="Google Shape;3559;p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60" name="Google Shape;3560;p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61" name="Google Shape;3561;p5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2" name="Google Shape;3562;p5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63" name="Google Shape;3563;p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4" name="Google Shape;3564;p5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3565"/>
        <p:cNvGrpSpPr/>
        <p:nvPr/>
      </p:nvGrpSpPr>
      <p:grpSpPr>
        <a:xfrm>
          <a:off x="0" y="0"/>
          <a:ext cx="0" cy="0"/>
          <a:chOff x="0" y="0"/>
          <a:chExt cx="0" cy="0"/>
        </a:xfrm>
      </p:grpSpPr>
      <p:grpSp>
        <p:nvGrpSpPr>
          <p:cNvPr id="3566" name="Google Shape;3566;p558"/>
          <p:cNvGrpSpPr/>
          <p:nvPr/>
        </p:nvGrpSpPr>
        <p:grpSpPr>
          <a:xfrm>
            <a:off x="7191542" y="1"/>
            <a:ext cx="5000459" cy="1425992"/>
            <a:chOff x="7191542" y="1"/>
            <a:chExt cx="5000459" cy="1425992"/>
          </a:xfrm>
        </p:grpSpPr>
        <p:pic>
          <p:nvPicPr>
            <p:cNvPr id="3567" name="Google Shape;3567;p5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68" name="Google Shape;3568;p558"/>
            <p:cNvGrpSpPr/>
            <p:nvPr/>
          </p:nvGrpSpPr>
          <p:grpSpPr>
            <a:xfrm>
              <a:off x="7191542" y="1"/>
              <a:ext cx="5000459" cy="1425992"/>
              <a:chOff x="7186272" y="0"/>
              <a:chExt cx="5005729" cy="1427495"/>
            </a:xfrm>
          </p:grpSpPr>
          <p:sp>
            <p:nvSpPr>
              <p:cNvPr id="3569" name="Google Shape;3569;p5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70" name="Google Shape;3570;p5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71" name="Google Shape;3571;p5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72" name="Google Shape;3572;p5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73" name="Google Shape;3573;p5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4" name="Google Shape;3574;p5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75" name="Google Shape;3575;p5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6" name="Google Shape;3576;p5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77" name="Google Shape;3577;p5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8" name="Google Shape;3578;p5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3579"/>
        <p:cNvGrpSpPr/>
        <p:nvPr/>
      </p:nvGrpSpPr>
      <p:grpSpPr>
        <a:xfrm>
          <a:off x="0" y="0"/>
          <a:ext cx="0" cy="0"/>
          <a:chOff x="0" y="0"/>
          <a:chExt cx="0" cy="0"/>
        </a:xfrm>
      </p:grpSpPr>
      <p:grpSp>
        <p:nvGrpSpPr>
          <p:cNvPr id="3580" name="Google Shape;3580;p559"/>
          <p:cNvGrpSpPr/>
          <p:nvPr/>
        </p:nvGrpSpPr>
        <p:grpSpPr>
          <a:xfrm>
            <a:off x="7191542" y="1"/>
            <a:ext cx="5000459" cy="1425992"/>
            <a:chOff x="7191542" y="1"/>
            <a:chExt cx="5000459" cy="1425992"/>
          </a:xfrm>
        </p:grpSpPr>
        <p:pic>
          <p:nvPicPr>
            <p:cNvPr id="3581" name="Google Shape;3581;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82" name="Google Shape;3582;p559"/>
            <p:cNvGrpSpPr/>
            <p:nvPr/>
          </p:nvGrpSpPr>
          <p:grpSpPr>
            <a:xfrm>
              <a:off x="7191542" y="1"/>
              <a:ext cx="5000459" cy="1425992"/>
              <a:chOff x="7186272" y="0"/>
              <a:chExt cx="5005729" cy="1427495"/>
            </a:xfrm>
          </p:grpSpPr>
          <p:sp>
            <p:nvSpPr>
              <p:cNvPr id="3583" name="Google Shape;3583;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84" name="Google Shape;3584;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85" name="Google Shape;3585;p5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6" name="Google Shape;3586;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7" name="Google Shape;3587;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88" name="Google Shape;3588;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3589"/>
        <p:cNvGrpSpPr/>
        <p:nvPr/>
      </p:nvGrpSpPr>
      <p:grpSpPr>
        <a:xfrm>
          <a:off x="0" y="0"/>
          <a:ext cx="0" cy="0"/>
          <a:chOff x="0" y="0"/>
          <a:chExt cx="0" cy="0"/>
        </a:xfrm>
      </p:grpSpPr>
      <p:grpSp>
        <p:nvGrpSpPr>
          <p:cNvPr id="3590" name="Google Shape;3590;p560"/>
          <p:cNvGrpSpPr/>
          <p:nvPr/>
        </p:nvGrpSpPr>
        <p:grpSpPr>
          <a:xfrm>
            <a:off x="0" y="0"/>
            <a:ext cx="12192000" cy="2148830"/>
            <a:chOff x="0" y="0"/>
            <a:chExt cx="12192000" cy="2148830"/>
          </a:xfrm>
        </p:grpSpPr>
        <p:sp>
          <p:nvSpPr>
            <p:cNvPr id="3591" name="Google Shape;3591;p5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92" name="Google Shape;3592;p5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593" name="Google Shape;3593;p5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94" name="Google Shape;3594;p5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95" name="Google Shape;3595;p5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596" name="Google Shape;3596;p5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597" name="Google Shape;3597;p5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3598"/>
        <p:cNvGrpSpPr/>
        <p:nvPr/>
      </p:nvGrpSpPr>
      <p:grpSpPr>
        <a:xfrm>
          <a:off x="0" y="0"/>
          <a:ext cx="0" cy="0"/>
          <a:chOff x="0" y="0"/>
          <a:chExt cx="0" cy="0"/>
        </a:xfrm>
      </p:grpSpPr>
      <p:sp>
        <p:nvSpPr>
          <p:cNvPr id="3599" name="Google Shape;3599;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00" name="Google Shape;3600;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01" name="Google Shape;3601;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02" name="Google Shape;3602;p561"/>
          <p:cNvGrpSpPr/>
          <p:nvPr/>
        </p:nvGrpSpPr>
        <p:grpSpPr>
          <a:xfrm>
            <a:off x="7191542" y="1"/>
            <a:ext cx="5000459" cy="1425992"/>
            <a:chOff x="7191542" y="1"/>
            <a:chExt cx="5000459" cy="1425992"/>
          </a:xfrm>
        </p:grpSpPr>
        <p:pic>
          <p:nvPicPr>
            <p:cNvPr id="3603" name="Google Shape;3603;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04" name="Google Shape;3604;p561"/>
            <p:cNvGrpSpPr/>
            <p:nvPr/>
          </p:nvGrpSpPr>
          <p:grpSpPr>
            <a:xfrm>
              <a:off x="7191542" y="1"/>
              <a:ext cx="5000459" cy="1425992"/>
              <a:chOff x="7186272" y="0"/>
              <a:chExt cx="5005729" cy="1427495"/>
            </a:xfrm>
          </p:grpSpPr>
          <p:sp>
            <p:nvSpPr>
              <p:cNvPr id="3605" name="Google Shape;3605;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06" name="Google Shape;3606;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3607"/>
        <p:cNvGrpSpPr/>
        <p:nvPr/>
      </p:nvGrpSpPr>
      <p:grpSpPr>
        <a:xfrm>
          <a:off x="0" y="0"/>
          <a:ext cx="0" cy="0"/>
          <a:chOff x="0" y="0"/>
          <a:chExt cx="0" cy="0"/>
        </a:xfrm>
      </p:grpSpPr>
      <p:sp>
        <p:nvSpPr>
          <p:cNvPr id="3608" name="Google Shape;3608;p5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09" name="Google Shape;3609;p5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10" name="Google Shape;3610;p5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11" name="Google Shape;3611;p5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12" name="Google Shape;3612;p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13" name="Google Shape;3613;p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14" name="Google Shape;3614;p562"/>
          <p:cNvGrpSpPr/>
          <p:nvPr/>
        </p:nvGrpSpPr>
        <p:grpSpPr>
          <a:xfrm>
            <a:off x="7191542" y="1"/>
            <a:ext cx="5000459" cy="1425992"/>
            <a:chOff x="7191542" y="1"/>
            <a:chExt cx="5000459" cy="1425992"/>
          </a:xfrm>
        </p:grpSpPr>
        <p:pic>
          <p:nvPicPr>
            <p:cNvPr id="3615" name="Google Shape;3615;p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16" name="Google Shape;3616;p562"/>
            <p:cNvGrpSpPr/>
            <p:nvPr/>
          </p:nvGrpSpPr>
          <p:grpSpPr>
            <a:xfrm>
              <a:off x="7191542" y="1"/>
              <a:ext cx="5000459" cy="1425992"/>
              <a:chOff x="7186272" y="0"/>
              <a:chExt cx="5005729" cy="1427495"/>
            </a:xfrm>
          </p:grpSpPr>
          <p:sp>
            <p:nvSpPr>
              <p:cNvPr id="3617" name="Google Shape;3617;p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18" name="Google Shape;3618;p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19" name="Google Shape;3619;p5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3620"/>
        <p:cNvGrpSpPr/>
        <p:nvPr/>
      </p:nvGrpSpPr>
      <p:grpSpPr>
        <a:xfrm>
          <a:off x="0" y="0"/>
          <a:ext cx="0" cy="0"/>
          <a:chOff x="0" y="0"/>
          <a:chExt cx="0" cy="0"/>
        </a:xfrm>
      </p:grpSpPr>
      <p:sp>
        <p:nvSpPr>
          <p:cNvPr id="3621" name="Google Shape;3621;p5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22" name="Google Shape;3622;p5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3" name="Google Shape;3623;p5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624" name="Google Shape;3624;p563"/>
          <p:cNvSpPr>
            <a:spLocks noGrp="1"/>
          </p:cNvSpPr>
          <p:nvPr>
            <p:ph type="pic" idx="2"/>
          </p:nvPr>
        </p:nvSpPr>
        <p:spPr>
          <a:xfrm>
            <a:off x="7118684" y="233915"/>
            <a:ext cx="5073316" cy="5943600"/>
          </a:xfrm>
          <a:prstGeom prst="rect">
            <a:avLst/>
          </a:prstGeom>
          <a:noFill/>
          <a:ln>
            <a:noFill/>
          </a:ln>
        </p:spPr>
      </p:sp>
      <p:grpSp>
        <p:nvGrpSpPr>
          <p:cNvPr id="3625" name="Google Shape;3625;p563"/>
          <p:cNvGrpSpPr/>
          <p:nvPr/>
        </p:nvGrpSpPr>
        <p:grpSpPr>
          <a:xfrm>
            <a:off x="0" y="5020348"/>
            <a:ext cx="12192000" cy="1837653"/>
            <a:chOff x="0" y="5020348"/>
            <a:chExt cx="12192000" cy="1837653"/>
          </a:xfrm>
        </p:grpSpPr>
        <p:sp>
          <p:nvSpPr>
            <p:cNvPr id="3626" name="Google Shape;3626;p5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27" name="Google Shape;3627;p5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628" name="Google Shape;3628;p5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96"/>
        <p:cNvGrpSpPr/>
        <p:nvPr/>
      </p:nvGrpSpPr>
      <p:grpSpPr>
        <a:xfrm>
          <a:off x="0" y="0"/>
          <a:ext cx="0" cy="0"/>
          <a:chOff x="0" y="0"/>
          <a:chExt cx="0" cy="0"/>
        </a:xfrm>
      </p:grpSpPr>
      <p:grpSp>
        <p:nvGrpSpPr>
          <p:cNvPr id="397" name="Google Shape;397;p93"/>
          <p:cNvGrpSpPr/>
          <p:nvPr/>
        </p:nvGrpSpPr>
        <p:grpSpPr>
          <a:xfrm>
            <a:off x="7191542" y="1"/>
            <a:ext cx="5000459" cy="1425992"/>
            <a:chOff x="7191542" y="1"/>
            <a:chExt cx="5000459" cy="1425992"/>
          </a:xfrm>
        </p:grpSpPr>
        <p:pic>
          <p:nvPicPr>
            <p:cNvPr id="398" name="Google Shape;398;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 name="Google Shape;399;p93"/>
            <p:cNvGrpSpPr/>
            <p:nvPr/>
          </p:nvGrpSpPr>
          <p:grpSpPr>
            <a:xfrm>
              <a:off x="7191542" y="1"/>
              <a:ext cx="5000459" cy="1425992"/>
              <a:chOff x="7186272" y="0"/>
              <a:chExt cx="5005729" cy="1427495"/>
            </a:xfrm>
          </p:grpSpPr>
          <p:sp>
            <p:nvSpPr>
              <p:cNvPr id="400" name="Google Shape;400;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1" name="Google Shape;401;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2" name="Google Shape;402;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3" name="Google Shape;403;p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4" name="Google Shape;404;p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 name="Google Shape;405;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6" name="Google Shape;406;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7" name="Google Shape;407;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8" name="Google Shape;408;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 name="Google Shape;409;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3629"/>
        <p:cNvGrpSpPr/>
        <p:nvPr/>
      </p:nvGrpSpPr>
      <p:grpSpPr>
        <a:xfrm>
          <a:off x="0" y="0"/>
          <a:ext cx="0" cy="0"/>
          <a:chOff x="0" y="0"/>
          <a:chExt cx="0" cy="0"/>
        </a:xfrm>
      </p:grpSpPr>
      <p:grpSp>
        <p:nvGrpSpPr>
          <p:cNvPr id="3630" name="Google Shape;3630;p564"/>
          <p:cNvGrpSpPr/>
          <p:nvPr/>
        </p:nvGrpSpPr>
        <p:grpSpPr>
          <a:xfrm>
            <a:off x="0" y="5020347"/>
            <a:ext cx="12192000" cy="1837653"/>
            <a:chOff x="0" y="5020347"/>
            <a:chExt cx="12192000" cy="1837653"/>
          </a:xfrm>
        </p:grpSpPr>
        <p:sp>
          <p:nvSpPr>
            <p:cNvPr id="3631" name="Google Shape;3631;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32" name="Google Shape;3632;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33" name="Google Shape;3633;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634" name="Google Shape;3634;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35" name="Google Shape;3635;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36" name="Google Shape;3636;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10_Photo Slide">
  <p:cSld name="10_Photo Slide">
    <p:spTree>
      <p:nvGrpSpPr>
        <p:cNvPr id="1" name="Shape 3637"/>
        <p:cNvGrpSpPr/>
        <p:nvPr/>
      </p:nvGrpSpPr>
      <p:grpSpPr>
        <a:xfrm>
          <a:off x="0" y="0"/>
          <a:ext cx="0" cy="0"/>
          <a:chOff x="0" y="0"/>
          <a:chExt cx="0" cy="0"/>
        </a:xfrm>
      </p:grpSpPr>
      <p:sp>
        <p:nvSpPr>
          <p:cNvPr id="3638" name="Google Shape;3638;p56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639" name="Google Shape;3639;p56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40" name="Google Shape;3640;p565"/>
          <p:cNvGrpSpPr/>
          <p:nvPr/>
        </p:nvGrpSpPr>
        <p:grpSpPr>
          <a:xfrm>
            <a:off x="0" y="5379426"/>
            <a:ext cx="2807368" cy="753891"/>
            <a:chOff x="0" y="5379426"/>
            <a:chExt cx="2807368" cy="753891"/>
          </a:xfrm>
        </p:grpSpPr>
        <p:sp>
          <p:nvSpPr>
            <p:cNvPr id="3641" name="Google Shape;3641;p56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42" name="Google Shape;3642;p56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643" name="Google Shape;3643;p565"/>
          <p:cNvSpPr>
            <a:spLocks noGrp="1"/>
          </p:cNvSpPr>
          <p:nvPr>
            <p:ph type="pic" idx="2"/>
          </p:nvPr>
        </p:nvSpPr>
        <p:spPr>
          <a:xfrm>
            <a:off x="2807368" y="457202"/>
            <a:ext cx="8915400" cy="5943598"/>
          </a:xfrm>
          <a:prstGeom prst="rect">
            <a:avLst/>
          </a:prstGeom>
          <a:noFill/>
          <a:ln>
            <a:noFill/>
          </a:ln>
        </p:spPr>
      </p:sp>
      <p:pic>
        <p:nvPicPr>
          <p:cNvPr id="3644" name="Google Shape;3644;p56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3645"/>
        <p:cNvGrpSpPr/>
        <p:nvPr/>
      </p:nvGrpSpPr>
      <p:grpSpPr>
        <a:xfrm>
          <a:off x="0" y="0"/>
          <a:ext cx="0" cy="0"/>
          <a:chOff x="0" y="0"/>
          <a:chExt cx="0" cy="0"/>
        </a:xfrm>
      </p:grpSpPr>
      <p:sp>
        <p:nvSpPr>
          <p:cNvPr id="3646" name="Google Shape;3646;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47" name="Google Shape;3647;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48" name="Google Shape;3648;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9" name="Google Shape;3649;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50" name="Google Shape;3650;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1" name="Google Shape;3651;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52" name="Google Shape;3652;p566"/>
          <p:cNvGrpSpPr/>
          <p:nvPr/>
        </p:nvGrpSpPr>
        <p:grpSpPr>
          <a:xfrm>
            <a:off x="7191542" y="1"/>
            <a:ext cx="5000459" cy="1425992"/>
            <a:chOff x="7191542" y="1"/>
            <a:chExt cx="5000459" cy="1425992"/>
          </a:xfrm>
        </p:grpSpPr>
        <p:pic>
          <p:nvPicPr>
            <p:cNvPr id="3653" name="Google Shape;3653;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4" name="Google Shape;3654;p566"/>
            <p:cNvGrpSpPr/>
            <p:nvPr/>
          </p:nvGrpSpPr>
          <p:grpSpPr>
            <a:xfrm>
              <a:off x="7191542" y="1"/>
              <a:ext cx="5000459" cy="1425992"/>
              <a:chOff x="7186272" y="0"/>
              <a:chExt cx="5005729" cy="1427495"/>
            </a:xfrm>
          </p:grpSpPr>
          <p:sp>
            <p:nvSpPr>
              <p:cNvPr id="3655" name="Google Shape;3655;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56" name="Google Shape;3656;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57" name="Google Shape;3657;p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3658"/>
        <p:cNvGrpSpPr/>
        <p:nvPr/>
      </p:nvGrpSpPr>
      <p:grpSpPr>
        <a:xfrm>
          <a:off x="0" y="0"/>
          <a:ext cx="0" cy="0"/>
          <a:chOff x="0" y="0"/>
          <a:chExt cx="0" cy="0"/>
        </a:xfrm>
      </p:grpSpPr>
      <p:sp>
        <p:nvSpPr>
          <p:cNvPr id="3659" name="Google Shape;3659;p5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60" name="Google Shape;3660;p5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61" name="Google Shape;3661;p5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2" name="Google Shape;3662;p5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3" name="Google Shape;3663;p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4" name="Google Shape;3664;p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5" name="Google Shape;3665;p567"/>
          <p:cNvGrpSpPr/>
          <p:nvPr/>
        </p:nvGrpSpPr>
        <p:grpSpPr>
          <a:xfrm>
            <a:off x="7191542" y="1"/>
            <a:ext cx="5000459" cy="1425992"/>
            <a:chOff x="7191542" y="1"/>
            <a:chExt cx="5000459" cy="1425992"/>
          </a:xfrm>
        </p:grpSpPr>
        <p:pic>
          <p:nvPicPr>
            <p:cNvPr id="3666" name="Google Shape;3666;p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67" name="Google Shape;3667;p567"/>
            <p:cNvGrpSpPr/>
            <p:nvPr/>
          </p:nvGrpSpPr>
          <p:grpSpPr>
            <a:xfrm>
              <a:off x="7191542" y="1"/>
              <a:ext cx="5000459" cy="1425992"/>
              <a:chOff x="7186272" y="0"/>
              <a:chExt cx="5005729" cy="1427495"/>
            </a:xfrm>
          </p:grpSpPr>
          <p:sp>
            <p:nvSpPr>
              <p:cNvPr id="3668" name="Google Shape;3668;p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69" name="Google Shape;3669;p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70" name="Google Shape;3670;p5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3671"/>
        <p:cNvGrpSpPr/>
        <p:nvPr/>
      </p:nvGrpSpPr>
      <p:grpSpPr>
        <a:xfrm>
          <a:off x="0" y="0"/>
          <a:ext cx="0" cy="0"/>
          <a:chOff x="0" y="0"/>
          <a:chExt cx="0" cy="0"/>
        </a:xfrm>
      </p:grpSpPr>
      <p:grpSp>
        <p:nvGrpSpPr>
          <p:cNvPr id="3672" name="Google Shape;3672;p568"/>
          <p:cNvGrpSpPr/>
          <p:nvPr/>
        </p:nvGrpSpPr>
        <p:grpSpPr>
          <a:xfrm>
            <a:off x="7191542" y="1"/>
            <a:ext cx="5000459" cy="1425992"/>
            <a:chOff x="7191542" y="1"/>
            <a:chExt cx="5000459" cy="1425992"/>
          </a:xfrm>
        </p:grpSpPr>
        <p:pic>
          <p:nvPicPr>
            <p:cNvPr id="3673" name="Google Shape;3673;p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74" name="Google Shape;3674;p568"/>
            <p:cNvGrpSpPr/>
            <p:nvPr/>
          </p:nvGrpSpPr>
          <p:grpSpPr>
            <a:xfrm>
              <a:off x="7191542" y="1"/>
              <a:ext cx="5000459" cy="1425992"/>
              <a:chOff x="7186272" y="0"/>
              <a:chExt cx="5005729" cy="1427495"/>
            </a:xfrm>
          </p:grpSpPr>
          <p:sp>
            <p:nvSpPr>
              <p:cNvPr id="3675" name="Google Shape;3675;p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76" name="Google Shape;3676;p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77" name="Google Shape;3677;p5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78" name="Google Shape;3678;p5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9" name="Google Shape;3679;p5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80" name="Google Shape;3680;p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81" name="Google Shape;3681;p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3682"/>
        <p:cNvGrpSpPr/>
        <p:nvPr/>
      </p:nvGrpSpPr>
      <p:grpSpPr>
        <a:xfrm>
          <a:off x="0" y="0"/>
          <a:ext cx="0" cy="0"/>
          <a:chOff x="0" y="0"/>
          <a:chExt cx="0" cy="0"/>
        </a:xfrm>
      </p:grpSpPr>
      <p:sp>
        <p:nvSpPr>
          <p:cNvPr id="3683" name="Google Shape;3683;p5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4" name="Google Shape;3684;p5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85" name="Google Shape;3685;p569"/>
          <p:cNvGrpSpPr/>
          <p:nvPr/>
        </p:nvGrpSpPr>
        <p:grpSpPr>
          <a:xfrm>
            <a:off x="7191542" y="1"/>
            <a:ext cx="5000459" cy="1425992"/>
            <a:chOff x="7191542" y="1"/>
            <a:chExt cx="5000459" cy="1425992"/>
          </a:xfrm>
        </p:grpSpPr>
        <p:pic>
          <p:nvPicPr>
            <p:cNvPr id="3686" name="Google Shape;3686;p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7" name="Google Shape;3687;p569"/>
            <p:cNvGrpSpPr/>
            <p:nvPr/>
          </p:nvGrpSpPr>
          <p:grpSpPr>
            <a:xfrm>
              <a:off x="7191542" y="1"/>
              <a:ext cx="5000459" cy="1425992"/>
              <a:chOff x="7186272" y="0"/>
              <a:chExt cx="5005729" cy="1427495"/>
            </a:xfrm>
          </p:grpSpPr>
          <p:sp>
            <p:nvSpPr>
              <p:cNvPr id="3688" name="Google Shape;3688;p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89" name="Google Shape;3689;p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90" name="Google Shape;3690;p5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1" name="Google Shape;3691;p5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92" name="Google Shape;3692;p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3" name="Google Shape;3693;p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3694"/>
        <p:cNvGrpSpPr/>
        <p:nvPr/>
      </p:nvGrpSpPr>
      <p:grpSpPr>
        <a:xfrm>
          <a:off x="0" y="0"/>
          <a:ext cx="0" cy="0"/>
          <a:chOff x="0" y="0"/>
          <a:chExt cx="0" cy="0"/>
        </a:xfrm>
      </p:grpSpPr>
      <p:grpSp>
        <p:nvGrpSpPr>
          <p:cNvPr id="3695" name="Google Shape;3695;p570"/>
          <p:cNvGrpSpPr/>
          <p:nvPr/>
        </p:nvGrpSpPr>
        <p:grpSpPr>
          <a:xfrm>
            <a:off x="7191542" y="1"/>
            <a:ext cx="5000459" cy="1425992"/>
            <a:chOff x="7191542" y="1"/>
            <a:chExt cx="5000459" cy="1425992"/>
          </a:xfrm>
        </p:grpSpPr>
        <p:pic>
          <p:nvPicPr>
            <p:cNvPr id="3696" name="Google Shape;3696;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97" name="Google Shape;3697;p570"/>
            <p:cNvGrpSpPr/>
            <p:nvPr/>
          </p:nvGrpSpPr>
          <p:grpSpPr>
            <a:xfrm>
              <a:off x="7191542" y="1"/>
              <a:ext cx="5000459" cy="1425992"/>
              <a:chOff x="7186272" y="0"/>
              <a:chExt cx="5005729" cy="1427495"/>
            </a:xfrm>
          </p:grpSpPr>
          <p:sp>
            <p:nvSpPr>
              <p:cNvPr id="3698" name="Google Shape;3698;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99" name="Google Shape;3699;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00" name="Google Shape;3700;p5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01" name="Google Shape;3701;p5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02" name="Google Shape;3702;p5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3" name="Google Shape;3703;p5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04" name="Google Shape;3704;p5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05" name="Google Shape;3705;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06" name="Google Shape;3706;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7" name="Google Shape;3707;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3708"/>
        <p:cNvGrpSpPr/>
        <p:nvPr/>
      </p:nvGrpSpPr>
      <p:grpSpPr>
        <a:xfrm>
          <a:off x="0" y="0"/>
          <a:ext cx="0" cy="0"/>
          <a:chOff x="0" y="0"/>
          <a:chExt cx="0" cy="0"/>
        </a:xfrm>
      </p:grpSpPr>
      <p:grpSp>
        <p:nvGrpSpPr>
          <p:cNvPr id="3709" name="Google Shape;3709;p571"/>
          <p:cNvGrpSpPr/>
          <p:nvPr/>
        </p:nvGrpSpPr>
        <p:grpSpPr>
          <a:xfrm>
            <a:off x="7191542" y="1"/>
            <a:ext cx="5000459" cy="1425992"/>
            <a:chOff x="7191542" y="1"/>
            <a:chExt cx="5000459" cy="1425992"/>
          </a:xfrm>
        </p:grpSpPr>
        <p:pic>
          <p:nvPicPr>
            <p:cNvPr id="3710" name="Google Shape;3710;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11" name="Google Shape;3711;p571"/>
            <p:cNvGrpSpPr/>
            <p:nvPr/>
          </p:nvGrpSpPr>
          <p:grpSpPr>
            <a:xfrm>
              <a:off x="7191542" y="1"/>
              <a:ext cx="5000459" cy="1425992"/>
              <a:chOff x="7186272" y="0"/>
              <a:chExt cx="5005729" cy="1427495"/>
            </a:xfrm>
          </p:grpSpPr>
          <p:sp>
            <p:nvSpPr>
              <p:cNvPr id="3712" name="Google Shape;3712;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13" name="Google Shape;3713;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14" name="Google Shape;3714;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15" name="Google Shape;3715;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16" name="Google Shape;3716;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7" name="Google Shape;3717;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9_End">
  <p:cSld name="9_End">
    <p:spTree>
      <p:nvGrpSpPr>
        <p:cNvPr id="1" name="Shape 3718"/>
        <p:cNvGrpSpPr/>
        <p:nvPr/>
      </p:nvGrpSpPr>
      <p:grpSpPr>
        <a:xfrm>
          <a:off x="0" y="0"/>
          <a:ext cx="0" cy="0"/>
          <a:chOff x="0" y="0"/>
          <a:chExt cx="0" cy="0"/>
        </a:xfrm>
      </p:grpSpPr>
      <p:grpSp>
        <p:nvGrpSpPr>
          <p:cNvPr id="3719" name="Google Shape;3719;p572"/>
          <p:cNvGrpSpPr/>
          <p:nvPr/>
        </p:nvGrpSpPr>
        <p:grpSpPr>
          <a:xfrm>
            <a:off x="0" y="0"/>
            <a:ext cx="12192000" cy="2148830"/>
            <a:chOff x="0" y="0"/>
            <a:chExt cx="12192000" cy="2148830"/>
          </a:xfrm>
        </p:grpSpPr>
        <p:sp>
          <p:nvSpPr>
            <p:cNvPr id="3720" name="Google Shape;3720;p5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21" name="Google Shape;3721;p5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722" name="Google Shape;3722;p5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23" name="Google Shape;3723;p5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4" name="Google Shape;3724;p5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725" name="Google Shape;3725;p5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726" name="Google Shape;3726;p57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3727"/>
        <p:cNvGrpSpPr/>
        <p:nvPr/>
      </p:nvGrpSpPr>
      <p:grpSpPr>
        <a:xfrm>
          <a:off x="0" y="0"/>
          <a:ext cx="0" cy="0"/>
          <a:chOff x="0" y="0"/>
          <a:chExt cx="0" cy="0"/>
        </a:xfrm>
      </p:grpSpPr>
      <p:sp>
        <p:nvSpPr>
          <p:cNvPr id="3728" name="Google Shape;3728;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9" name="Google Shape;3729;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0" name="Google Shape;3730;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31" name="Google Shape;3731;p573"/>
          <p:cNvGrpSpPr/>
          <p:nvPr/>
        </p:nvGrpSpPr>
        <p:grpSpPr>
          <a:xfrm>
            <a:off x="7191542" y="1"/>
            <a:ext cx="5000459" cy="1425992"/>
            <a:chOff x="7191542" y="1"/>
            <a:chExt cx="5000459" cy="1425992"/>
          </a:xfrm>
        </p:grpSpPr>
        <p:pic>
          <p:nvPicPr>
            <p:cNvPr id="3732" name="Google Shape;3732;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33" name="Google Shape;3733;p573"/>
            <p:cNvGrpSpPr/>
            <p:nvPr/>
          </p:nvGrpSpPr>
          <p:grpSpPr>
            <a:xfrm>
              <a:off x="7191542" y="1"/>
              <a:ext cx="5000459" cy="1425992"/>
              <a:chOff x="7186272" y="0"/>
              <a:chExt cx="5005729" cy="1427495"/>
            </a:xfrm>
          </p:grpSpPr>
          <p:sp>
            <p:nvSpPr>
              <p:cNvPr id="3734" name="Google Shape;3734;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35" name="Google Shape;3735;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10"/>
        <p:cNvGrpSpPr/>
        <p:nvPr/>
      </p:nvGrpSpPr>
      <p:grpSpPr>
        <a:xfrm>
          <a:off x="0" y="0"/>
          <a:ext cx="0" cy="0"/>
          <a:chOff x="0" y="0"/>
          <a:chExt cx="0" cy="0"/>
        </a:xfrm>
      </p:grpSpPr>
      <p:grpSp>
        <p:nvGrpSpPr>
          <p:cNvPr id="411" name="Google Shape;411;p94"/>
          <p:cNvGrpSpPr/>
          <p:nvPr/>
        </p:nvGrpSpPr>
        <p:grpSpPr>
          <a:xfrm>
            <a:off x="7191542" y="1"/>
            <a:ext cx="5000459" cy="1425992"/>
            <a:chOff x="7191542" y="1"/>
            <a:chExt cx="5000459" cy="1425992"/>
          </a:xfrm>
        </p:grpSpPr>
        <p:pic>
          <p:nvPicPr>
            <p:cNvPr id="412" name="Google Shape;412;p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3" name="Google Shape;413;p94"/>
            <p:cNvGrpSpPr/>
            <p:nvPr/>
          </p:nvGrpSpPr>
          <p:grpSpPr>
            <a:xfrm>
              <a:off x="7191542" y="1"/>
              <a:ext cx="5000459" cy="1425992"/>
              <a:chOff x="7186272" y="0"/>
              <a:chExt cx="5005729" cy="1427495"/>
            </a:xfrm>
          </p:grpSpPr>
          <p:sp>
            <p:nvSpPr>
              <p:cNvPr id="414" name="Google Shape;414;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5" name="Google Shape;415;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6" name="Google Shape;416;p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7" name="Google Shape;417;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8" name="Google Shape;418;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9" name="Google Shape;419;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3736"/>
        <p:cNvGrpSpPr/>
        <p:nvPr/>
      </p:nvGrpSpPr>
      <p:grpSpPr>
        <a:xfrm>
          <a:off x="0" y="0"/>
          <a:ext cx="0" cy="0"/>
          <a:chOff x="0" y="0"/>
          <a:chExt cx="0" cy="0"/>
        </a:xfrm>
      </p:grpSpPr>
      <p:sp>
        <p:nvSpPr>
          <p:cNvPr id="3737" name="Google Shape;3737;p57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38" name="Google Shape;3738;p57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3739" name="Google Shape;3739;p57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740" name="Google Shape;3740;p57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3741" name="Google Shape;3741;p57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3742" name="Google Shape;3742;p57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43" name="Google Shape;3743;p57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4" name="Google Shape;3744;p57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45" name="Google Shape;3745;p57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6" name="Google Shape;3746;p57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47" name="Google Shape;3747;p57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3748"/>
        <p:cNvGrpSpPr/>
        <p:nvPr/>
      </p:nvGrpSpPr>
      <p:grpSpPr>
        <a:xfrm>
          <a:off x="0" y="0"/>
          <a:ext cx="0" cy="0"/>
          <a:chOff x="0" y="0"/>
          <a:chExt cx="0" cy="0"/>
        </a:xfrm>
      </p:grpSpPr>
      <p:sp>
        <p:nvSpPr>
          <p:cNvPr id="3749" name="Google Shape;3749;p5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50" name="Google Shape;3750;p5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1" name="Google Shape;3751;p5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2" name="Google Shape;3752;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53" name="Google Shape;3753;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54" name="Google Shape;3754;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55" name="Google Shape;3755;p575"/>
          <p:cNvGrpSpPr/>
          <p:nvPr/>
        </p:nvGrpSpPr>
        <p:grpSpPr>
          <a:xfrm>
            <a:off x="7191542" y="1"/>
            <a:ext cx="5000459" cy="1425992"/>
            <a:chOff x="7191542" y="1"/>
            <a:chExt cx="5000459" cy="1425992"/>
          </a:xfrm>
        </p:grpSpPr>
        <p:pic>
          <p:nvPicPr>
            <p:cNvPr id="3756" name="Google Shape;3756;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7" name="Google Shape;3757;p575"/>
            <p:cNvGrpSpPr/>
            <p:nvPr/>
          </p:nvGrpSpPr>
          <p:grpSpPr>
            <a:xfrm>
              <a:off x="7191542" y="1"/>
              <a:ext cx="5000459" cy="1425992"/>
              <a:chOff x="7186272" y="0"/>
              <a:chExt cx="5005729" cy="1427495"/>
            </a:xfrm>
          </p:grpSpPr>
          <p:sp>
            <p:nvSpPr>
              <p:cNvPr id="3758" name="Google Shape;3758;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59" name="Google Shape;3759;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60" name="Google Shape;3760;p5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3761"/>
        <p:cNvGrpSpPr/>
        <p:nvPr/>
      </p:nvGrpSpPr>
      <p:grpSpPr>
        <a:xfrm>
          <a:off x="0" y="0"/>
          <a:ext cx="0" cy="0"/>
          <a:chOff x="0" y="0"/>
          <a:chExt cx="0" cy="0"/>
        </a:xfrm>
      </p:grpSpPr>
      <p:sp>
        <p:nvSpPr>
          <p:cNvPr id="3762" name="Google Shape;3762;p5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63" name="Google Shape;3763;p5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4" name="Google Shape;3764;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5" name="Google Shape;3765;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66" name="Google Shape;3766;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67" name="Google Shape;3767;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68" name="Google Shape;3768;p576"/>
          <p:cNvGrpSpPr/>
          <p:nvPr/>
        </p:nvGrpSpPr>
        <p:grpSpPr>
          <a:xfrm>
            <a:off x="7191542" y="1"/>
            <a:ext cx="5000459" cy="1425992"/>
            <a:chOff x="7191542" y="1"/>
            <a:chExt cx="5000459" cy="1425992"/>
          </a:xfrm>
        </p:grpSpPr>
        <p:pic>
          <p:nvPicPr>
            <p:cNvPr id="3769" name="Google Shape;3769;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0" name="Google Shape;3770;p576"/>
            <p:cNvGrpSpPr/>
            <p:nvPr/>
          </p:nvGrpSpPr>
          <p:grpSpPr>
            <a:xfrm>
              <a:off x="7191542" y="1"/>
              <a:ext cx="5000459" cy="1425992"/>
              <a:chOff x="7186272" y="0"/>
              <a:chExt cx="5005729" cy="1427495"/>
            </a:xfrm>
          </p:grpSpPr>
          <p:sp>
            <p:nvSpPr>
              <p:cNvPr id="3771" name="Google Shape;3771;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72" name="Google Shape;3772;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73" name="Google Shape;3773;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1_Title Slide" type="title">
  <p:cSld name="TITLE">
    <p:spTree>
      <p:nvGrpSpPr>
        <p:cNvPr id="1" name="Shape 3774"/>
        <p:cNvGrpSpPr/>
        <p:nvPr/>
      </p:nvGrpSpPr>
      <p:grpSpPr>
        <a:xfrm>
          <a:off x="0" y="0"/>
          <a:ext cx="0" cy="0"/>
          <a:chOff x="0" y="0"/>
          <a:chExt cx="0" cy="0"/>
        </a:xfrm>
      </p:grpSpPr>
      <p:sp>
        <p:nvSpPr>
          <p:cNvPr id="3775" name="Google Shape;3775;p57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76" name="Google Shape;3776;p577"/>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77" name="Google Shape;3777;p5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78" name="Google Shape;3778;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79" name="Google Shape;3779;p5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3780"/>
        <p:cNvGrpSpPr/>
        <p:nvPr/>
      </p:nvGrpSpPr>
      <p:grpSpPr>
        <a:xfrm>
          <a:off x="0" y="0"/>
          <a:ext cx="0" cy="0"/>
          <a:chOff x="0" y="0"/>
          <a:chExt cx="0" cy="0"/>
        </a:xfrm>
      </p:grpSpPr>
      <p:sp>
        <p:nvSpPr>
          <p:cNvPr id="3781" name="Google Shape;3781;p5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2" name="Google Shape;3782;p5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3" name="Google Shape;3783;p5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84" name="Google Shape;3784;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5" name="Google Shape;3785;p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86" name="Google Shape;3786;p5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87" name="Google Shape;3787;p5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88" name="Google Shape;3788;p5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89" name="Google Shape;3789;p57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790"/>
        <p:cNvGrpSpPr/>
        <p:nvPr/>
      </p:nvGrpSpPr>
      <p:grpSpPr>
        <a:xfrm>
          <a:off x="0" y="0"/>
          <a:ext cx="0" cy="0"/>
          <a:chOff x="0" y="0"/>
          <a:chExt cx="0" cy="0"/>
        </a:xfrm>
      </p:grpSpPr>
      <p:sp>
        <p:nvSpPr>
          <p:cNvPr id="3791" name="Google Shape;3791;p57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2" name="Google Shape;3792;p57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3" name="Google Shape;3793;p5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94" name="Google Shape;3794;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5" name="Google Shape;3795;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96" name="Google Shape;3796;p57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97" name="Google Shape;3797;p57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98" name="Google Shape;3798;p57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99" name="Google Shape;3799;p57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3800"/>
        <p:cNvGrpSpPr/>
        <p:nvPr/>
      </p:nvGrpSpPr>
      <p:grpSpPr>
        <a:xfrm>
          <a:off x="0" y="0"/>
          <a:ext cx="0" cy="0"/>
          <a:chOff x="0" y="0"/>
          <a:chExt cx="0" cy="0"/>
        </a:xfrm>
      </p:grpSpPr>
      <p:sp>
        <p:nvSpPr>
          <p:cNvPr id="3801" name="Google Shape;3801;p5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02" name="Google Shape;3802;p5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03" name="Google Shape;3803;p5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04" name="Google Shape;3804;p5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05" name="Google Shape;3805;p5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3806"/>
        <p:cNvGrpSpPr/>
        <p:nvPr/>
      </p:nvGrpSpPr>
      <p:grpSpPr>
        <a:xfrm>
          <a:off x="0" y="0"/>
          <a:ext cx="0" cy="0"/>
          <a:chOff x="0" y="0"/>
          <a:chExt cx="0" cy="0"/>
        </a:xfrm>
      </p:grpSpPr>
      <p:sp>
        <p:nvSpPr>
          <p:cNvPr id="3807" name="Google Shape;3807;p5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08" name="Google Shape;3808;p5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809" name="Google Shape;3809;p5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0" name="Google Shape;3810;p5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11" name="Google Shape;3811;p5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3812"/>
        <p:cNvGrpSpPr/>
        <p:nvPr/>
      </p:nvGrpSpPr>
      <p:grpSpPr>
        <a:xfrm>
          <a:off x="0" y="0"/>
          <a:ext cx="0" cy="0"/>
          <a:chOff x="0" y="0"/>
          <a:chExt cx="0" cy="0"/>
        </a:xfrm>
      </p:grpSpPr>
      <p:sp>
        <p:nvSpPr>
          <p:cNvPr id="3813" name="Google Shape;3813;p5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4" name="Google Shape;3814;p5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5" name="Google Shape;3815;p5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6" name="Google Shape;3816;p5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7" name="Google Shape;3817;p5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18" name="Google Shape;3818;p5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819"/>
        <p:cNvGrpSpPr/>
        <p:nvPr/>
      </p:nvGrpSpPr>
      <p:grpSpPr>
        <a:xfrm>
          <a:off x="0" y="0"/>
          <a:ext cx="0" cy="0"/>
          <a:chOff x="0" y="0"/>
          <a:chExt cx="0" cy="0"/>
        </a:xfrm>
      </p:grpSpPr>
      <p:sp>
        <p:nvSpPr>
          <p:cNvPr id="3820" name="Google Shape;3820;p58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1" name="Google Shape;3821;p58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2" name="Google Shape;3822;p5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23" name="Google Shape;3823;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4" name="Google Shape;3824;p5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25" name="Google Shape;3825;p58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26" name="Google Shape;3826;p58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27" name="Google Shape;3827;p58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28" name="Google Shape;3828;p58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20"/>
        <p:cNvGrpSpPr/>
        <p:nvPr/>
      </p:nvGrpSpPr>
      <p:grpSpPr>
        <a:xfrm>
          <a:off x="0" y="0"/>
          <a:ext cx="0" cy="0"/>
          <a:chOff x="0" y="0"/>
          <a:chExt cx="0" cy="0"/>
        </a:xfrm>
      </p:grpSpPr>
      <p:grpSp>
        <p:nvGrpSpPr>
          <p:cNvPr id="421" name="Google Shape;421;p95"/>
          <p:cNvGrpSpPr/>
          <p:nvPr/>
        </p:nvGrpSpPr>
        <p:grpSpPr>
          <a:xfrm>
            <a:off x="0" y="0"/>
            <a:ext cx="12192000" cy="2148830"/>
            <a:chOff x="0" y="0"/>
            <a:chExt cx="12192000" cy="2148830"/>
          </a:xfrm>
        </p:grpSpPr>
        <p:sp>
          <p:nvSpPr>
            <p:cNvPr id="422" name="Google Shape;422;p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3" name="Google Shape;423;p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4" name="Google Shape;424;p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5" name="Google Shape;425;p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 name="Google Shape;426;p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7" name="Google Shape;427;p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8" name="Google Shape;428;p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829"/>
        <p:cNvGrpSpPr/>
        <p:nvPr/>
      </p:nvGrpSpPr>
      <p:grpSpPr>
        <a:xfrm>
          <a:off x="0" y="0"/>
          <a:ext cx="0" cy="0"/>
          <a:chOff x="0" y="0"/>
          <a:chExt cx="0" cy="0"/>
        </a:xfrm>
      </p:grpSpPr>
      <p:sp>
        <p:nvSpPr>
          <p:cNvPr id="3830" name="Google Shape;3830;p58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31" name="Google Shape;3831;p5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32" name="Google Shape;3832;p5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33" name="Google Shape;3833;p58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34" name="Google Shape;3834;p5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3835"/>
        <p:cNvGrpSpPr/>
        <p:nvPr/>
      </p:nvGrpSpPr>
      <p:grpSpPr>
        <a:xfrm>
          <a:off x="0" y="0"/>
          <a:ext cx="0" cy="0"/>
          <a:chOff x="0" y="0"/>
          <a:chExt cx="0" cy="0"/>
        </a:xfrm>
      </p:grpSpPr>
      <p:sp>
        <p:nvSpPr>
          <p:cNvPr id="3836" name="Google Shape;3836;p5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37" name="Google Shape;3837;p5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38" name="Google Shape;3838;p5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39" name="Google Shape;3839;p58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40" name="Google Shape;3840;p58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841"/>
        <p:cNvGrpSpPr/>
        <p:nvPr/>
      </p:nvGrpSpPr>
      <p:grpSpPr>
        <a:xfrm>
          <a:off x="0" y="0"/>
          <a:ext cx="0" cy="0"/>
          <a:chOff x="0" y="0"/>
          <a:chExt cx="0" cy="0"/>
        </a:xfrm>
      </p:grpSpPr>
      <p:sp>
        <p:nvSpPr>
          <p:cNvPr id="3842" name="Google Shape;3842;p5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43" name="Google Shape;3843;p5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44" name="Google Shape;3844;p58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5" name="Google Shape;3845;p58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6" name="Google Shape;3846;p58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47" name="Google Shape;3847;p5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848"/>
        <p:cNvGrpSpPr/>
        <p:nvPr/>
      </p:nvGrpSpPr>
      <p:grpSpPr>
        <a:xfrm>
          <a:off x="0" y="0"/>
          <a:ext cx="0" cy="0"/>
          <a:chOff x="0" y="0"/>
          <a:chExt cx="0" cy="0"/>
        </a:xfrm>
      </p:grpSpPr>
      <p:sp>
        <p:nvSpPr>
          <p:cNvPr id="3849" name="Google Shape;3849;p5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0" name="Google Shape;3850;p5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1" name="Google Shape;3851;p5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52" name="Google Shape;3852;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3" name="Google Shape;3853;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54" name="Google Shape;3854;p5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55" name="Google Shape;3855;p5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56" name="Google Shape;3856;p5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57" name="Google Shape;3857;p5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858"/>
        <p:cNvGrpSpPr/>
        <p:nvPr/>
      </p:nvGrpSpPr>
      <p:grpSpPr>
        <a:xfrm>
          <a:off x="0" y="0"/>
          <a:ext cx="0" cy="0"/>
          <a:chOff x="0" y="0"/>
          <a:chExt cx="0" cy="0"/>
        </a:xfrm>
      </p:grpSpPr>
      <p:sp>
        <p:nvSpPr>
          <p:cNvPr id="3859" name="Google Shape;3859;p58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0" name="Google Shape;3860;p58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1" name="Google Shape;3861;p58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62" name="Google Shape;3862;p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3" name="Google Shape;3863;p5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64" name="Google Shape;3864;p58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65" name="Google Shape;3865;p58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66" name="Google Shape;3866;p58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7" name="Google Shape;3867;p58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868"/>
        <p:cNvGrpSpPr/>
        <p:nvPr/>
      </p:nvGrpSpPr>
      <p:grpSpPr>
        <a:xfrm>
          <a:off x="0" y="0"/>
          <a:ext cx="0" cy="0"/>
          <a:chOff x="0" y="0"/>
          <a:chExt cx="0" cy="0"/>
        </a:xfrm>
      </p:grpSpPr>
      <p:sp>
        <p:nvSpPr>
          <p:cNvPr id="3869" name="Google Shape;3869;p58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0" name="Google Shape;3870;p5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1" name="Google Shape;3871;p5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2" name="Google Shape;3872;p58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3" name="Google Shape;3873;p5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874"/>
        <p:cNvGrpSpPr/>
        <p:nvPr/>
      </p:nvGrpSpPr>
      <p:grpSpPr>
        <a:xfrm>
          <a:off x="0" y="0"/>
          <a:ext cx="0" cy="0"/>
          <a:chOff x="0" y="0"/>
          <a:chExt cx="0" cy="0"/>
        </a:xfrm>
      </p:grpSpPr>
      <p:sp>
        <p:nvSpPr>
          <p:cNvPr id="3875" name="Google Shape;3875;p5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76" name="Google Shape;3876;p59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77" name="Google Shape;3877;p5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8" name="Google Shape;3878;p59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9" name="Google Shape;3879;p59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880"/>
        <p:cNvGrpSpPr/>
        <p:nvPr/>
      </p:nvGrpSpPr>
      <p:grpSpPr>
        <a:xfrm>
          <a:off x="0" y="0"/>
          <a:ext cx="0" cy="0"/>
          <a:chOff x="0" y="0"/>
          <a:chExt cx="0" cy="0"/>
        </a:xfrm>
      </p:grpSpPr>
      <p:sp>
        <p:nvSpPr>
          <p:cNvPr id="3881" name="Google Shape;3881;p5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82" name="Google Shape;3882;p5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83" name="Google Shape;3883;p59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4" name="Google Shape;3884;p59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5" name="Google Shape;3885;p59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86" name="Google Shape;3886;p5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887"/>
        <p:cNvGrpSpPr/>
        <p:nvPr/>
      </p:nvGrpSpPr>
      <p:grpSpPr>
        <a:xfrm>
          <a:off x="0" y="0"/>
          <a:ext cx="0" cy="0"/>
          <a:chOff x="0" y="0"/>
          <a:chExt cx="0" cy="0"/>
        </a:xfrm>
      </p:grpSpPr>
      <p:sp>
        <p:nvSpPr>
          <p:cNvPr id="3888" name="Google Shape;3888;p59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9" name="Google Shape;3889;p59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0" name="Google Shape;3890;p59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91" name="Google Shape;3891;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2" name="Google Shape;3892;p5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93" name="Google Shape;3893;p59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94" name="Google Shape;3894;p59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95" name="Google Shape;3895;p59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96" name="Google Shape;3896;p59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897"/>
        <p:cNvGrpSpPr/>
        <p:nvPr/>
      </p:nvGrpSpPr>
      <p:grpSpPr>
        <a:xfrm>
          <a:off x="0" y="0"/>
          <a:ext cx="0" cy="0"/>
          <a:chOff x="0" y="0"/>
          <a:chExt cx="0" cy="0"/>
        </a:xfrm>
      </p:grpSpPr>
      <p:sp>
        <p:nvSpPr>
          <p:cNvPr id="3898" name="Google Shape;3898;p59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9" name="Google Shape;3899;p5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00" name="Google Shape;3900;p5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01" name="Google Shape;3901;p59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02" name="Google Shape;3902;p5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29"/>
        <p:cNvGrpSpPr/>
        <p:nvPr/>
      </p:nvGrpSpPr>
      <p:grpSpPr>
        <a:xfrm>
          <a:off x="0" y="0"/>
          <a:ext cx="0" cy="0"/>
          <a:chOff x="0" y="0"/>
          <a:chExt cx="0" cy="0"/>
        </a:xfrm>
      </p:grpSpPr>
      <p:sp>
        <p:nvSpPr>
          <p:cNvPr id="430" name="Google Shape;430;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1" name="Google Shape;431;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2" name="Google Shape;432;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3" name="Google Shape;433;p96"/>
          <p:cNvGrpSpPr/>
          <p:nvPr/>
        </p:nvGrpSpPr>
        <p:grpSpPr>
          <a:xfrm>
            <a:off x="7191542" y="1"/>
            <a:ext cx="5000459" cy="1425992"/>
            <a:chOff x="7191542" y="1"/>
            <a:chExt cx="5000459" cy="1425992"/>
          </a:xfrm>
        </p:grpSpPr>
        <p:pic>
          <p:nvPicPr>
            <p:cNvPr id="434" name="Google Shape;434;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5" name="Google Shape;435;p96"/>
            <p:cNvGrpSpPr/>
            <p:nvPr/>
          </p:nvGrpSpPr>
          <p:grpSpPr>
            <a:xfrm>
              <a:off x="7191542" y="1"/>
              <a:ext cx="5000459" cy="1425992"/>
              <a:chOff x="7186272" y="0"/>
              <a:chExt cx="5005729" cy="1427495"/>
            </a:xfrm>
          </p:grpSpPr>
          <p:sp>
            <p:nvSpPr>
              <p:cNvPr id="436" name="Google Shape;436;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7" name="Google Shape;437;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903"/>
        <p:cNvGrpSpPr/>
        <p:nvPr/>
      </p:nvGrpSpPr>
      <p:grpSpPr>
        <a:xfrm>
          <a:off x="0" y="0"/>
          <a:ext cx="0" cy="0"/>
          <a:chOff x="0" y="0"/>
          <a:chExt cx="0" cy="0"/>
        </a:xfrm>
      </p:grpSpPr>
      <p:sp>
        <p:nvSpPr>
          <p:cNvPr id="3904" name="Google Shape;3904;p5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905" name="Google Shape;3905;p59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06" name="Google Shape;3906;p5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07" name="Google Shape;3907;p59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08" name="Google Shape;3908;p59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909"/>
        <p:cNvGrpSpPr/>
        <p:nvPr/>
      </p:nvGrpSpPr>
      <p:grpSpPr>
        <a:xfrm>
          <a:off x="0" y="0"/>
          <a:ext cx="0" cy="0"/>
          <a:chOff x="0" y="0"/>
          <a:chExt cx="0" cy="0"/>
        </a:xfrm>
      </p:grpSpPr>
      <p:sp>
        <p:nvSpPr>
          <p:cNvPr id="3910" name="Google Shape;3910;p5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11" name="Google Shape;3911;p5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12" name="Google Shape;3912;p59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13" name="Google Shape;3913;p59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14" name="Google Shape;3914;p59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15" name="Google Shape;3915;p59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3916"/>
        <p:cNvGrpSpPr/>
        <p:nvPr/>
      </p:nvGrpSpPr>
      <p:grpSpPr>
        <a:xfrm>
          <a:off x="0" y="0"/>
          <a:ext cx="0" cy="0"/>
          <a:chOff x="0" y="0"/>
          <a:chExt cx="0" cy="0"/>
        </a:xfrm>
      </p:grpSpPr>
      <p:sp>
        <p:nvSpPr>
          <p:cNvPr id="3917" name="Google Shape;3917;p59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8" name="Google Shape;3918;p5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19" name="Google Shape;3919;p5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20" name="Google Shape;3920;p59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921" name="Google Shape;3921;p5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3922"/>
        <p:cNvGrpSpPr/>
        <p:nvPr/>
      </p:nvGrpSpPr>
      <p:grpSpPr>
        <a:xfrm>
          <a:off x="0" y="0"/>
          <a:ext cx="0" cy="0"/>
          <a:chOff x="0" y="0"/>
          <a:chExt cx="0" cy="0"/>
        </a:xfrm>
      </p:grpSpPr>
      <p:sp>
        <p:nvSpPr>
          <p:cNvPr id="3923" name="Google Shape;3923;p5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924" name="Google Shape;3924;p59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925" name="Google Shape;3925;p5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26" name="Google Shape;3926;p59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27" name="Google Shape;3927;p59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3928"/>
        <p:cNvGrpSpPr/>
        <p:nvPr/>
      </p:nvGrpSpPr>
      <p:grpSpPr>
        <a:xfrm>
          <a:off x="0" y="0"/>
          <a:ext cx="0" cy="0"/>
          <a:chOff x="0" y="0"/>
          <a:chExt cx="0" cy="0"/>
        </a:xfrm>
      </p:grpSpPr>
      <p:sp>
        <p:nvSpPr>
          <p:cNvPr id="3929" name="Google Shape;3929;p5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30" name="Google Shape;3930;p5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31" name="Google Shape;3931;p59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2" name="Google Shape;3932;p59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3" name="Google Shape;3933;p59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34" name="Google Shape;3934;p5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3935"/>
        <p:cNvGrpSpPr/>
        <p:nvPr/>
      </p:nvGrpSpPr>
      <p:grpSpPr>
        <a:xfrm>
          <a:off x="0" y="0"/>
          <a:ext cx="0" cy="0"/>
          <a:chOff x="0" y="0"/>
          <a:chExt cx="0" cy="0"/>
        </a:xfrm>
      </p:grpSpPr>
      <p:sp>
        <p:nvSpPr>
          <p:cNvPr id="3936" name="Google Shape;3936;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37" name="Google Shape;3937;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38" name="Google Shape;3938;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39" name="Google Shape;3939;p599"/>
          <p:cNvSpPr>
            <a:spLocks noGrp="1"/>
          </p:cNvSpPr>
          <p:nvPr>
            <p:ph type="pic" idx="2"/>
          </p:nvPr>
        </p:nvSpPr>
        <p:spPr>
          <a:xfrm>
            <a:off x="7118684" y="233915"/>
            <a:ext cx="5073316" cy="5943600"/>
          </a:xfrm>
          <a:prstGeom prst="rect">
            <a:avLst/>
          </a:prstGeom>
          <a:noFill/>
          <a:ln>
            <a:noFill/>
          </a:ln>
        </p:spPr>
      </p:sp>
      <p:grpSp>
        <p:nvGrpSpPr>
          <p:cNvPr id="3940" name="Google Shape;3940;p599"/>
          <p:cNvGrpSpPr/>
          <p:nvPr/>
        </p:nvGrpSpPr>
        <p:grpSpPr>
          <a:xfrm>
            <a:off x="0" y="5020348"/>
            <a:ext cx="12192000" cy="1837653"/>
            <a:chOff x="0" y="5020348"/>
            <a:chExt cx="12192000" cy="1837653"/>
          </a:xfrm>
        </p:grpSpPr>
        <p:sp>
          <p:nvSpPr>
            <p:cNvPr id="3941" name="Google Shape;3941;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42" name="Google Shape;3942;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43" name="Google Shape;3943;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3944"/>
        <p:cNvGrpSpPr/>
        <p:nvPr/>
      </p:nvGrpSpPr>
      <p:grpSpPr>
        <a:xfrm>
          <a:off x="0" y="0"/>
          <a:ext cx="0" cy="0"/>
          <a:chOff x="0" y="0"/>
          <a:chExt cx="0" cy="0"/>
        </a:xfrm>
      </p:grpSpPr>
      <p:grpSp>
        <p:nvGrpSpPr>
          <p:cNvPr id="3945" name="Google Shape;3945;p600"/>
          <p:cNvGrpSpPr/>
          <p:nvPr/>
        </p:nvGrpSpPr>
        <p:grpSpPr>
          <a:xfrm>
            <a:off x="0" y="5020347"/>
            <a:ext cx="12192000" cy="1837653"/>
            <a:chOff x="0" y="5020347"/>
            <a:chExt cx="12192000" cy="1837653"/>
          </a:xfrm>
        </p:grpSpPr>
        <p:sp>
          <p:nvSpPr>
            <p:cNvPr id="3946" name="Google Shape;3946;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47" name="Google Shape;3947;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48" name="Google Shape;3948;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49" name="Google Shape;3949;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50" name="Google Shape;3950;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1" name="Google Shape;3951;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11_Photo Slide">
  <p:cSld name="11_Photo Slide">
    <p:spTree>
      <p:nvGrpSpPr>
        <p:cNvPr id="1" name="Shape 3952"/>
        <p:cNvGrpSpPr/>
        <p:nvPr/>
      </p:nvGrpSpPr>
      <p:grpSpPr>
        <a:xfrm>
          <a:off x="0" y="0"/>
          <a:ext cx="0" cy="0"/>
          <a:chOff x="0" y="0"/>
          <a:chExt cx="0" cy="0"/>
        </a:xfrm>
      </p:grpSpPr>
      <p:sp>
        <p:nvSpPr>
          <p:cNvPr id="3953" name="Google Shape;3953;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954" name="Google Shape;3954;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955" name="Google Shape;3955;p601"/>
          <p:cNvGrpSpPr/>
          <p:nvPr/>
        </p:nvGrpSpPr>
        <p:grpSpPr>
          <a:xfrm>
            <a:off x="0" y="5379426"/>
            <a:ext cx="2807368" cy="753891"/>
            <a:chOff x="0" y="5379426"/>
            <a:chExt cx="2807368" cy="753891"/>
          </a:xfrm>
        </p:grpSpPr>
        <p:sp>
          <p:nvSpPr>
            <p:cNvPr id="3956" name="Google Shape;3956;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57" name="Google Shape;3957;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958" name="Google Shape;3958;p601"/>
          <p:cNvSpPr>
            <a:spLocks noGrp="1"/>
          </p:cNvSpPr>
          <p:nvPr>
            <p:ph type="pic" idx="2"/>
          </p:nvPr>
        </p:nvSpPr>
        <p:spPr>
          <a:xfrm>
            <a:off x="2807368" y="457202"/>
            <a:ext cx="8915400" cy="5943598"/>
          </a:xfrm>
          <a:prstGeom prst="rect">
            <a:avLst/>
          </a:prstGeom>
          <a:noFill/>
          <a:ln>
            <a:noFill/>
          </a:ln>
        </p:spPr>
      </p:sp>
      <p:pic>
        <p:nvPicPr>
          <p:cNvPr id="3959" name="Google Shape;3959;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3960"/>
        <p:cNvGrpSpPr/>
        <p:nvPr/>
      </p:nvGrpSpPr>
      <p:grpSpPr>
        <a:xfrm>
          <a:off x="0" y="0"/>
          <a:ext cx="0" cy="0"/>
          <a:chOff x="0" y="0"/>
          <a:chExt cx="0" cy="0"/>
        </a:xfrm>
      </p:grpSpPr>
      <p:sp>
        <p:nvSpPr>
          <p:cNvPr id="3961" name="Google Shape;3961;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62" name="Google Shape;3962;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63" name="Google Shape;3963;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64" name="Google Shape;3964;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5" name="Google Shape;3965;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66" name="Google Shape;3966;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67" name="Google Shape;3967;p602"/>
          <p:cNvGrpSpPr/>
          <p:nvPr/>
        </p:nvGrpSpPr>
        <p:grpSpPr>
          <a:xfrm>
            <a:off x="7191542" y="1"/>
            <a:ext cx="5000459" cy="1425992"/>
            <a:chOff x="7191542" y="1"/>
            <a:chExt cx="5000459" cy="1425992"/>
          </a:xfrm>
        </p:grpSpPr>
        <p:pic>
          <p:nvPicPr>
            <p:cNvPr id="3968" name="Google Shape;3968;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9" name="Google Shape;3969;p602"/>
            <p:cNvGrpSpPr/>
            <p:nvPr/>
          </p:nvGrpSpPr>
          <p:grpSpPr>
            <a:xfrm>
              <a:off x="7191542" y="1"/>
              <a:ext cx="5000459" cy="1425992"/>
              <a:chOff x="7186272" y="0"/>
              <a:chExt cx="5005729" cy="1427495"/>
            </a:xfrm>
          </p:grpSpPr>
          <p:sp>
            <p:nvSpPr>
              <p:cNvPr id="3970" name="Google Shape;3970;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71" name="Google Shape;3971;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972" name="Google Shape;3972;p6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973"/>
        <p:cNvGrpSpPr/>
        <p:nvPr/>
      </p:nvGrpSpPr>
      <p:grpSpPr>
        <a:xfrm>
          <a:off x="0" y="0"/>
          <a:ext cx="0" cy="0"/>
          <a:chOff x="0" y="0"/>
          <a:chExt cx="0" cy="0"/>
        </a:xfrm>
      </p:grpSpPr>
      <p:grpSp>
        <p:nvGrpSpPr>
          <p:cNvPr id="3974" name="Google Shape;3974;p603"/>
          <p:cNvGrpSpPr/>
          <p:nvPr/>
        </p:nvGrpSpPr>
        <p:grpSpPr>
          <a:xfrm>
            <a:off x="7191542" y="1"/>
            <a:ext cx="5000459" cy="1425992"/>
            <a:chOff x="7191542" y="1"/>
            <a:chExt cx="5000459" cy="1425992"/>
          </a:xfrm>
        </p:grpSpPr>
        <p:pic>
          <p:nvPicPr>
            <p:cNvPr id="3975" name="Google Shape;3975;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76" name="Google Shape;3976;p603"/>
            <p:cNvGrpSpPr/>
            <p:nvPr/>
          </p:nvGrpSpPr>
          <p:grpSpPr>
            <a:xfrm>
              <a:off x="7191542" y="1"/>
              <a:ext cx="5000459" cy="1425992"/>
              <a:chOff x="7186272" y="0"/>
              <a:chExt cx="5005729" cy="1427495"/>
            </a:xfrm>
          </p:grpSpPr>
          <p:sp>
            <p:nvSpPr>
              <p:cNvPr id="3977" name="Google Shape;3977;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78" name="Google Shape;3978;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79" name="Google Shape;3979;p6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0" name="Google Shape;3980;p6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81" name="Google Shape;3981;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82" name="Google Shape;3982;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83" name="Google Shape;3983;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1"/>
        <p:cNvGrpSpPr/>
        <p:nvPr/>
      </p:nvGrpSpPr>
      <p:grpSpPr>
        <a:xfrm>
          <a:off x="0" y="0"/>
          <a:ext cx="0" cy="0"/>
          <a:chOff x="0" y="0"/>
          <a:chExt cx="0" cy="0"/>
        </a:xfrm>
      </p:grpSpPr>
      <p:grpSp>
        <p:nvGrpSpPr>
          <p:cNvPr id="52" name="Google Shape;52;p54"/>
          <p:cNvGrpSpPr/>
          <p:nvPr/>
        </p:nvGrpSpPr>
        <p:grpSpPr>
          <a:xfrm>
            <a:off x="7191542" y="1"/>
            <a:ext cx="5000459" cy="1425992"/>
            <a:chOff x="7191542" y="1"/>
            <a:chExt cx="5000459" cy="1425992"/>
          </a:xfrm>
        </p:grpSpPr>
        <p:pic>
          <p:nvPicPr>
            <p:cNvPr id="53" name="Google Shape;53;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 name="Google Shape;54;p54"/>
            <p:cNvGrpSpPr/>
            <p:nvPr/>
          </p:nvGrpSpPr>
          <p:grpSpPr>
            <a:xfrm>
              <a:off x="7191542" y="1"/>
              <a:ext cx="5000459" cy="1425992"/>
              <a:chOff x="7186272" y="0"/>
              <a:chExt cx="5005729" cy="1427495"/>
            </a:xfrm>
          </p:grpSpPr>
          <p:sp>
            <p:nvSpPr>
              <p:cNvPr id="55" name="Google Shape;55;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 name="Google Shape;56;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 name="Google Shape;57;p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 name="Google Shape;60;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 name="Google Shape;61;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38"/>
        <p:cNvGrpSpPr/>
        <p:nvPr/>
      </p:nvGrpSpPr>
      <p:grpSpPr>
        <a:xfrm>
          <a:off x="0" y="0"/>
          <a:ext cx="0" cy="0"/>
          <a:chOff x="0" y="0"/>
          <a:chExt cx="0" cy="0"/>
        </a:xfrm>
      </p:grpSpPr>
      <p:sp>
        <p:nvSpPr>
          <p:cNvPr id="439" name="Google Shape;439;p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0" name="Google Shape;440;p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1" name="Google Shape;441;p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42" name="Google Shape;442;p97"/>
          <p:cNvSpPr>
            <a:spLocks noGrp="1"/>
          </p:cNvSpPr>
          <p:nvPr>
            <p:ph type="pic" idx="2"/>
          </p:nvPr>
        </p:nvSpPr>
        <p:spPr>
          <a:xfrm>
            <a:off x="7118684" y="233915"/>
            <a:ext cx="5073316" cy="5943600"/>
          </a:xfrm>
          <a:prstGeom prst="rect">
            <a:avLst/>
          </a:prstGeom>
          <a:noFill/>
          <a:ln>
            <a:noFill/>
          </a:ln>
        </p:spPr>
      </p:sp>
      <p:grpSp>
        <p:nvGrpSpPr>
          <p:cNvPr id="443" name="Google Shape;443;p97"/>
          <p:cNvGrpSpPr/>
          <p:nvPr/>
        </p:nvGrpSpPr>
        <p:grpSpPr>
          <a:xfrm>
            <a:off x="0" y="5020348"/>
            <a:ext cx="12192000" cy="1837653"/>
            <a:chOff x="0" y="5020348"/>
            <a:chExt cx="12192000" cy="1837653"/>
          </a:xfrm>
        </p:grpSpPr>
        <p:sp>
          <p:nvSpPr>
            <p:cNvPr id="444" name="Google Shape;444;p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5" name="Google Shape;445;p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46" name="Google Shape;446;p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3984"/>
        <p:cNvGrpSpPr/>
        <p:nvPr/>
      </p:nvGrpSpPr>
      <p:grpSpPr>
        <a:xfrm>
          <a:off x="0" y="0"/>
          <a:ext cx="0" cy="0"/>
          <a:chOff x="0" y="0"/>
          <a:chExt cx="0" cy="0"/>
        </a:xfrm>
      </p:grpSpPr>
      <p:sp>
        <p:nvSpPr>
          <p:cNvPr id="3985" name="Google Shape;3985;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6" name="Google Shape;3986;p6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987" name="Google Shape;3987;p604"/>
          <p:cNvGrpSpPr/>
          <p:nvPr/>
        </p:nvGrpSpPr>
        <p:grpSpPr>
          <a:xfrm>
            <a:off x="7191542" y="1"/>
            <a:ext cx="5000459" cy="1425992"/>
            <a:chOff x="7191542" y="1"/>
            <a:chExt cx="5000459" cy="1425992"/>
          </a:xfrm>
        </p:grpSpPr>
        <p:pic>
          <p:nvPicPr>
            <p:cNvPr id="3988" name="Google Shape;3988;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89" name="Google Shape;3989;p604"/>
            <p:cNvGrpSpPr/>
            <p:nvPr/>
          </p:nvGrpSpPr>
          <p:grpSpPr>
            <a:xfrm>
              <a:off x="7191542" y="1"/>
              <a:ext cx="5000459" cy="1425992"/>
              <a:chOff x="7186272" y="0"/>
              <a:chExt cx="5005729" cy="1427495"/>
            </a:xfrm>
          </p:grpSpPr>
          <p:sp>
            <p:nvSpPr>
              <p:cNvPr id="3990" name="Google Shape;3990;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91" name="Google Shape;3991;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92" name="Google Shape;3992;p6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3" name="Google Shape;3993;p6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94" name="Google Shape;3994;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95" name="Google Shape;3995;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3996"/>
        <p:cNvGrpSpPr/>
        <p:nvPr/>
      </p:nvGrpSpPr>
      <p:grpSpPr>
        <a:xfrm>
          <a:off x="0" y="0"/>
          <a:ext cx="0" cy="0"/>
          <a:chOff x="0" y="0"/>
          <a:chExt cx="0" cy="0"/>
        </a:xfrm>
      </p:grpSpPr>
      <p:grpSp>
        <p:nvGrpSpPr>
          <p:cNvPr id="3997" name="Google Shape;3997;p605"/>
          <p:cNvGrpSpPr/>
          <p:nvPr/>
        </p:nvGrpSpPr>
        <p:grpSpPr>
          <a:xfrm>
            <a:off x="7191542" y="1"/>
            <a:ext cx="5000459" cy="1425992"/>
            <a:chOff x="7191542" y="1"/>
            <a:chExt cx="5000459" cy="1425992"/>
          </a:xfrm>
        </p:grpSpPr>
        <p:pic>
          <p:nvPicPr>
            <p:cNvPr id="3998" name="Google Shape;3998;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99" name="Google Shape;3999;p605"/>
            <p:cNvGrpSpPr/>
            <p:nvPr/>
          </p:nvGrpSpPr>
          <p:grpSpPr>
            <a:xfrm>
              <a:off x="7191542" y="1"/>
              <a:ext cx="5000459" cy="1425992"/>
              <a:chOff x="7186272" y="0"/>
              <a:chExt cx="5005729" cy="1427495"/>
            </a:xfrm>
          </p:grpSpPr>
          <p:sp>
            <p:nvSpPr>
              <p:cNvPr id="4000" name="Google Shape;4000;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01" name="Google Shape;4001;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02" name="Google Shape;4002;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03" name="Google Shape;4003;p6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04" name="Google Shape;4004;p6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5" name="Google Shape;4005;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06" name="Google Shape;4006;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07" name="Google Shape;4007;p6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08" name="Google Shape;4008;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09" name="Google Shape;4009;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4010"/>
        <p:cNvGrpSpPr/>
        <p:nvPr/>
      </p:nvGrpSpPr>
      <p:grpSpPr>
        <a:xfrm>
          <a:off x="0" y="0"/>
          <a:ext cx="0" cy="0"/>
          <a:chOff x="0" y="0"/>
          <a:chExt cx="0" cy="0"/>
        </a:xfrm>
      </p:grpSpPr>
      <p:grpSp>
        <p:nvGrpSpPr>
          <p:cNvPr id="4011" name="Google Shape;4011;p606"/>
          <p:cNvGrpSpPr/>
          <p:nvPr/>
        </p:nvGrpSpPr>
        <p:grpSpPr>
          <a:xfrm>
            <a:off x="7191542" y="1"/>
            <a:ext cx="5000459" cy="1425992"/>
            <a:chOff x="7191542" y="1"/>
            <a:chExt cx="5000459" cy="1425992"/>
          </a:xfrm>
        </p:grpSpPr>
        <p:pic>
          <p:nvPicPr>
            <p:cNvPr id="4012" name="Google Shape;4012;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13" name="Google Shape;4013;p606"/>
            <p:cNvGrpSpPr/>
            <p:nvPr/>
          </p:nvGrpSpPr>
          <p:grpSpPr>
            <a:xfrm>
              <a:off x="7191542" y="1"/>
              <a:ext cx="5000459" cy="1425992"/>
              <a:chOff x="7186272" y="0"/>
              <a:chExt cx="5005729" cy="1427495"/>
            </a:xfrm>
          </p:grpSpPr>
          <p:sp>
            <p:nvSpPr>
              <p:cNvPr id="4014" name="Google Shape;4014;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15" name="Google Shape;4015;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16" name="Google Shape;4016;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7" name="Google Shape;4017;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18" name="Google Shape;4018;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19" name="Google Shape;4019;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4020"/>
        <p:cNvGrpSpPr/>
        <p:nvPr/>
      </p:nvGrpSpPr>
      <p:grpSpPr>
        <a:xfrm>
          <a:off x="0" y="0"/>
          <a:ext cx="0" cy="0"/>
          <a:chOff x="0" y="0"/>
          <a:chExt cx="0" cy="0"/>
        </a:xfrm>
      </p:grpSpPr>
      <p:grpSp>
        <p:nvGrpSpPr>
          <p:cNvPr id="4021" name="Google Shape;4021;p607"/>
          <p:cNvGrpSpPr/>
          <p:nvPr/>
        </p:nvGrpSpPr>
        <p:grpSpPr>
          <a:xfrm>
            <a:off x="0" y="0"/>
            <a:ext cx="12192000" cy="2148830"/>
            <a:chOff x="0" y="0"/>
            <a:chExt cx="12192000" cy="2148830"/>
          </a:xfrm>
        </p:grpSpPr>
        <p:sp>
          <p:nvSpPr>
            <p:cNvPr id="4022" name="Google Shape;4022;p6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23" name="Google Shape;4023;p6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024" name="Google Shape;4024;p6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25" name="Google Shape;4025;p6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6" name="Google Shape;4026;p6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027" name="Google Shape;4027;p6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28" name="Google Shape;4028;p6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4029"/>
        <p:cNvGrpSpPr/>
        <p:nvPr/>
      </p:nvGrpSpPr>
      <p:grpSpPr>
        <a:xfrm>
          <a:off x="0" y="0"/>
          <a:ext cx="0" cy="0"/>
          <a:chOff x="0" y="0"/>
          <a:chExt cx="0" cy="0"/>
        </a:xfrm>
      </p:grpSpPr>
      <p:sp>
        <p:nvSpPr>
          <p:cNvPr id="4030" name="Google Shape;4030;p6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31" name="Google Shape;4031;p6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32" name="Google Shape;4032;p6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33" name="Google Shape;4033;p608"/>
          <p:cNvGrpSpPr/>
          <p:nvPr/>
        </p:nvGrpSpPr>
        <p:grpSpPr>
          <a:xfrm>
            <a:off x="7191542" y="1"/>
            <a:ext cx="5000459" cy="1425992"/>
            <a:chOff x="7191542" y="1"/>
            <a:chExt cx="5000459" cy="1425992"/>
          </a:xfrm>
        </p:grpSpPr>
        <p:pic>
          <p:nvPicPr>
            <p:cNvPr id="4034" name="Google Shape;4034;p6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35" name="Google Shape;4035;p608"/>
            <p:cNvGrpSpPr/>
            <p:nvPr/>
          </p:nvGrpSpPr>
          <p:grpSpPr>
            <a:xfrm>
              <a:off x="7191542" y="1"/>
              <a:ext cx="5000459" cy="1425992"/>
              <a:chOff x="7186272" y="0"/>
              <a:chExt cx="5005729" cy="1427495"/>
            </a:xfrm>
          </p:grpSpPr>
          <p:sp>
            <p:nvSpPr>
              <p:cNvPr id="4036" name="Google Shape;4036;p6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37" name="Google Shape;4037;p6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4038"/>
        <p:cNvGrpSpPr/>
        <p:nvPr/>
      </p:nvGrpSpPr>
      <p:grpSpPr>
        <a:xfrm>
          <a:off x="0" y="0"/>
          <a:ext cx="0" cy="0"/>
          <a:chOff x="0" y="0"/>
          <a:chExt cx="0" cy="0"/>
        </a:xfrm>
      </p:grpSpPr>
      <p:sp>
        <p:nvSpPr>
          <p:cNvPr id="4039" name="Google Shape;4039;p6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40" name="Google Shape;4040;p6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41" name="Google Shape;4041;p6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042" name="Google Shape;4042;p609"/>
          <p:cNvSpPr>
            <a:spLocks noGrp="1"/>
          </p:cNvSpPr>
          <p:nvPr>
            <p:ph type="pic" idx="2"/>
          </p:nvPr>
        </p:nvSpPr>
        <p:spPr>
          <a:xfrm>
            <a:off x="7118684" y="233915"/>
            <a:ext cx="5073316" cy="5943600"/>
          </a:xfrm>
          <a:prstGeom prst="rect">
            <a:avLst/>
          </a:prstGeom>
          <a:noFill/>
          <a:ln>
            <a:noFill/>
          </a:ln>
        </p:spPr>
      </p:sp>
      <p:grpSp>
        <p:nvGrpSpPr>
          <p:cNvPr id="4043" name="Google Shape;4043;p609"/>
          <p:cNvGrpSpPr/>
          <p:nvPr/>
        </p:nvGrpSpPr>
        <p:grpSpPr>
          <a:xfrm>
            <a:off x="0" y="5020348"/>
            <a:ext cx="12192000" cy="1837653"/>
            <a:chOff x="0" y="5020348"/>
            <a:chExt cx="12192000" cy="1837653"/>
          </a:xfrm>
        </p:grpSpPr>
        <p:sp>
          <p:nvSpPr>
            <p:cNvPr id="4044" name="Google Shape;4044;p6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45" name="Google Shape;4045;p6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046" name="Google Shape;4046;p6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4047"/>
        <p:cNvGrpSpPr/>
        <p:nvPr/>
      </p:nvGrpSpPr>
      <p:grpSpPr>
        <a:xfrm>
          <a:off x="0" y="0"/>
          <a:ext cx="0" cy="0"/>
          <a:chOff x="0" y="0"/>
          <a:chExt cx="0" cy="0"/>
        </a:xfrm>
      </p:grpSpPr>
      <p:grpSp>
        <p:nvGrpSpPr>
          <p:cNvPr id="4048" name="Google Shape;4048;p610"/>
          <p:cNvGrpSpPr/>
          <p:nvPr/>
        </p:nvGrpSpPr>
        <p:grpSpPr>
          <a:xfrm>
            <a:off x="0" y="5020347"/>
            <a:ext cx="12192000" cy="1837653"/>
            <a:chOff x="0" y="5020347"/>
            <a:chExt cx="12192000" cy="1837653"/>
          </a:xfrm>
        </p:grpSpPr>
        <p:sp>
          <p:nvSpPr>
            <p:cNvPr id="4049" name="Google Shape;4049;p6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50" name="Google Shape;4050;p6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51" name="Google Shape;4051;p6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052" name="Google Shape;4052;p6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53" name="Google Shape;4053;p6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54" name="Google Shape;4054;p6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4055"/>
        <p:cNvGrpSpPr/>
        <p:nvPr/>
      </p:nvGrpSpPr>
      <p:grpSpPr>
        <a:xfrm>
          <a:off x="0" y="0"/>
          <a:ext cx="0" cy="0"/>
          <a:chOff x="0" y="0"/>
          <a:chExt cx="0" cy="0"/>
        </a:xfrm>
      </p:grpSpPr>
      <p:sp>
        <p:nvSpPr>
          <p:cNvPr id="4056" name="Google Shape;4056;p6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57" name="Google Shape;4057;p6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58" name="Google Shape;4058;p611"/>
          <p:cNvGrpSpPr/>
          <p:nvPr/>
        </p:nvGrpSpPr>
        <p:grpSpPr>
          <a:xfrm>
            <a:off x="0" y="5379426"/>
            <a:ext cx="2807368" cy="753891"/>
            <a:chOff x="0" y="5379426"/>
            <a:chExt cx="2807368" cy="753891"/>
          </a:xfrm>
        </p:grpSpPr>
        <p:sp>
          <p:nvSpPr>
            <p:cNvPr id="4059" name="Google Shape;4059;p6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60" name="Google Shape;4060;p6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61" name="Google Shape;4061;p611"/>
          <p:cNvSpPr>
            <a:spLocks noGrp="1"/>
          </p:cNvSpPr>
          <p:nvPr>
            <p:ph type="pic" idx="2"/>
          </p:nvPr>
        </p:nvSpPr>
        <p:spPr>
          <a:xfrm>
            <a:off x="2807368" y="457202"/>
            <a:ext cx="8915400" cy="5943598"/>
          </a:xfrm>
          <a:prstGeom prst="rect">
            <a:avLst/>
          </a:prstGeom>
          <a:noFill/>
          <a:ln>
            <a:noFill/>
          </a:ln>
        </p:spPr>
      </p:sp>
      <p:pic>
        <p:nvPicPr>
          <p:cNvPr id="4062" name="Google Shape;4062;p6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4063"/>
        <p:cNvGrpSpPr/>
        <p:nvPr/>
      </p:nvGrpSpPr>
      <p:grpSpPr>
        <a:xfrm>
          <a:off x="0" y="0"/>
          <a:ext cx="0" cy="0"/>
          <a:chOff x="0" y="0"/>
          <a:chExt cx="0" cy="0"/>
        </a:xfrm>
      </p:grpSpPr>
      <p:sp>
        <p:nvSpPr>
          <p:cNvPr id="4064" name="Google Shape;4064;p6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65" name="Google Shape;4065;p6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6" name="Google Shape;4066;p6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7" name="Google Shape;4067;p6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68" name="Google Shape;4068;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69" name="Google Shape;4069;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70" name="Google Shape;4070;p612"/>
          <p:cNvGrpSpPr/>
          <p:nvPr/>
        </p:nvGrpSpPr>
        <p:grpSpPr>
          <a:xfrm>
            <a:off x="7191542" y="1"/>
            <a:ext cx="5000459" cy="1425992"/>
            <a:chOff x="7191542" y="1"/>
            <a:chExt cx="5000459" cy="1425992"/>
          </a:xfrm>
        </p:grpSpPr>
        <p:pic>
          <p:nvPicPr>
            <p:cNvPr id="4071" name="Google Shape;4071;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72" name="Google Shape;4072;p612"/>
            <p:cNvGrpSpPr/>
            <p:nvPr/>
          </p:nvGrpSpPr>
          <p:grpSpPr>
            <a:xfrm>
              <a:off x="7191542" y="1"/>
              <a:ext cx="5000459" cy="1425992"/>
              <a:chOff x="7186272" y="0"/>
              <a:chExt cx="5005729" cy="1427495"/>
            </a:xfrm>
          </p:grpSpPr>
          <p:sp>
            <p:nvSpPr>
              <p:cNvPr id="4073" name="Google Shape;4073;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74" name="Google Shape;4074;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075" name="Google Shape;4075;p6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4076"/>
        <p:cNvGrpSpPr/>
        <p:nvPr/>
      </p:nvGrpSpPr>
      <p:grpSpPr>
        <a:xfrm>
          <a:off x="0" y="0"/>
          <a:ext cx="0" cy="0"/>
          <a:chOff x="0" y="0"/>
          <a:chExt cx="0" cy="0"/>
        </a:xfrm>
      </p:grpSpPr>
      <p:grpSp>
        <p:nvGrpSpPr>
          <p:cNvPr id="4077" name="Google Shape;4077;p613"/>
          <p:cNvGrpSpPr/>
          <p:nvPr/>
        </p:nvGrpSpPr>
        <p:grpSpPr>
          <a:xfrm>
            <a:off x="7191542" y="1"/>
            <a:ext cx="5000459" cy="1425992"/>
            <a:chOff x="7191542" y="1"/>
            <a:chExt cx="5000459" cy="1425992"/>
          </a:xfrm>
        </p:grpSpPr>
        <p:pic>
          <p:nvPicPr>
            <p:cNvPr id="4078" name="Google Shape;4078;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79" name="Google Shape;4079;p613"/>
            <p:cNvGrpSpPr/>
            <p:nvPr/>
          </p:nvGrpSpPr>
          <p:grpSpPr>
            <a:xfrm>
              <a:off x="7191542" y="1"/>
              <a:ext cx="5000459" cy="1425992"/>
              <a:chOff x="7186272" y="0"/>
              <a:chExt cx="5005729" cy="1427495"/>
            </a:xfrm>
          </p:grpSpPr>
          <p:sp>
            <p:nvSpPr>
              <p:cNvPr id="4080" name="Google Shape;4080;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81" name="Google Shape;4081;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82" name="Google Shape;4082;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83" name="Google Shape;4083;p6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4" name="Google Shape;4084;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85" name="Google Shape;4085;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6" name="Google Shape;4086;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47"/>
        <p:cNvGrpSpPr/>
        <p:nvPr/>
      </p:nvGrpSpPr>
      <p:grpSpPr>
        <a:xfrm>
          <a:off x="0" y="0"/>
          <a:ext cx="0" cy="0"/>
          <a:chOff x="0" y="0"/>
          <a:chExt cx="0" cy="0"/>
        </a:xfrm>
      </p:grpSpPr>
      <p:grpSp>
        <p:nvGrpSpPr>
          <p:cNvPr id="448" name="Google Shape;448;p98"/>
          <p:cNvGrpSpPr/>
          <p:nvPr/>
        </p:nvGrpSpPr>
        <p:grpSpPr>
          <a:xfrm>
            <a:off x="0" y="5020347"/>
            <a:ext cx="12192000" cy="1837653"/>
            <a:chOff x="0" y="5020347"/>
            <a:chExt cx="12192000" cy="1837653"/>
          </a:xfrm>
        </p:grpSpPr>
        <p:sp>
          <p:nvSpPr>
            <p:cNvPr id="449" name="Google Shape;449;p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0" name="Google Shape;450;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1" name="Google Shape;451;p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2" name="Google Shape;452;p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53" name="Google Shape;453;p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4" name="Google Shape;454;p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4087"/>
        <p:cNvGrpSpPr/>
        <p:nvPr/>
      </p:nvGrpSpPr>
      <p:grpSpPr>
        <a:xfrm>
          <a:off x="0" y="0"/>
          <a:ext cx="0" cy="0"/>
          <a:chOff x="0" y="0"/>
          <a:chExt cx="0" cy="0"/>
        </a:xfrm>
      </p:grpSpPr>
      <p:sp>
        <p:nvSpPr>
          <p:cNvPr id="4088" name="Google Shape;4088;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89" name="Google Shape;4089;p6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90" name="Google Shape;4090;p614"/>
          <p:cNvGrpSpPr/>
          <p:nvPr/>
        </p:nvGrpSpPr>
        <p:grpSpPr>
          <a:xfrm>
            <a:off x="7191542" y="1"/>
            <a:ext cx="5000459" cy="1425992"/>
            <a:chOff x="7191542" y="1"/>
            <a:chExt cx="5000459" cy="1425992"/>
          </a:xfrm>
        </p:grpSpPr>
        <p:pic>
          <p:nvPicPr>
            <p:cNvPr id="4091" name="Google Shape;4091;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92" name="Google Shape;4092;p614"/>
            <p:cNvGrpSpPr/>
            <p:nvPr/>
          </p:nvGrpSpPr>
          <p:grpSpPr>
            <a:xfrm>
              <a:off x="7191542" y="1"/>
              <a:ext cx="5000459" cy="1425992"/>
              <a:chOff x="7186272" y="0"/>
              <a:chExt cx="5005729" cy="1427495"/>
            </a:xfrm>
          </p:grpSpPr>
          <p:sp>
            <p:nvSpPr>
              <p:cNvPr id="4093" name="Google Shape;4093;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94" name="Google Shape;4094;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95" name="Google Shape;4095;p6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96" name="Google Shape;4096;p6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97" name="Google Shape;4097;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8" name="Google Shape;4098;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4099"/>
        <p:cNvGrpSpPr/>
        <p:nvPr/>
      </p:nvGrpSpPr>
      <p:grpSpPr>
        <a:xfrm>
          <a:off x="0" y="0"/>
          <a:ext cx="0" cy="0"/>
          <a:chOff x="0" y="0"/>
          <a:chExt cx="0" cy="0"/>
        </a:xfrm>
      </p:grpSpPr>
      <p:grpSp>
        <p:nvGrpSpPr>
          <p:cNvPr id="4100" name="Google Shape;4100;p615"/>
          <p:cNvGrpSpPr/>
          <p:nvPr/>
        </p:nvGrpSpPr>
        <p:grpSpPr>
          <a:xfrm>
            <a:off x="7191542" y="1"/>
            <a:ext cx="5000459" cy="1425992"/>
            <a:chOff x="7191542" y="1"/>
            <a:chExt cx="5000459" cy="1425992"/>
          </a:xfrm>
        </p:grpSpPr>
        <p:pic>
          <p:nvPicPr>
            <p:cNvPr id="4101" name="Google Shape;4101;p6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02" name="Google Shape;4102;p615"/>
            <p:cNvGrpSpPr/>
            <p:nvPr/>
          </p:nvGrpSpPr>
          <p:grpSpPr>
            <a:xfrm>
              <a:off x="7191542" y="1"/>
              <a:ext cx="5000459" cy="1425992"/>
              <a:chOff x="7186272" y="0"/>
              <a:chExt cx="5005729" cy="1427495"/>
            </a:xfrm>
          </p:grpSpPr>
          <p:sp>
            <p:nvSpPr>
              <p:cNvPr id="4103" name="Google Shape;4103;p6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04" name="Google Shape;4104;p6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05" name="Google Shape;4105;p6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06" name="Google Shape;4106;p6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07" name="Google Shape;4107;p6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8" name="Google Shape;4108;p6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109" name="Google Shape;4109;p6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10" name="Google Shape;4110;p6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1" name="Google Shape;4111;p6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12" name="Google Shape;4112;p6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4113"/>
        <p:cNvGrpSpPr/>
        <p:nvPr/>
      </p:nvGrpSpPr>
      <p:grpSpPr>
        <a:xfrm>
          <a:off x="0" y="0"/>
          <a:ext cx="0" cy="0"/>
          <a:chOff x="0" y="0"/>
          <a:chExt cx="0" cy="0"/>
        </a:xfrm>
      </p:grpSpPr>
      <p:grpSp>
        <p:nvGrpSpPr>
          <p:cNvPr id="4114" name="Google Shape;4114;p616"/>
          <p:cNvGrpSpPr/>
          <p:nvPr/>
        </p:nvGrpSpPr>
        <p:grpSpPr>
          <a:xfrm>
            <a:off x="7191542" y="1"/>
            <a:ext cx="5000459" cy="1425992"/>
            <a:chOff x="7191542" y="1"/>
            <a:chExt cx="5000459" cy="1425992"/>
          </a:xfrm>
        </p:grpSpPr>
        <p:pic>
          <p:nvPicPr>
            <p:cNvPr id="4115" name="Google Shape;4115;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6" name="Google Shape;4116;p616"/>
            <p:cNvGrpSpPr/>
            <p:nvPr/>
          </p:nvGrpSpPr>
          <p:grpSpPr>
            <a:xfrm>
              <a:off x="7191542" y="1"/>
              <a:ext cx="5000459" cy="1425992"/>
              <a:chOff x="7186272" y="0"/>
              <a:chExt cx="5005729" cy="1427495"/>
            </a:xfrm>
          </p:grpSpPr>
          <p:sp>
            <p:nvSpPr>
              <p:cNvPr id="4117" name="Google Shape;4117;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18" name="Google Shape;4118;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19" name="Google Shape;4119;p6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0" name="Google Shape;4120;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21" name="Google Shape;4121;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2" name="Google Shape;4122;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4123"/>
        <p:cNvGrpSpPr/>
        <p:nvPr/>
      </p:nvGrpSpPr>
      <p:grpSpPr>
        <a:xfrm>
          <a:off x="0" y="0"/>
          <a:ext cx="0" cy="0"/>
          <a:chOff x="0" y="0"/>
          <a:chExt cx="0" cy="0"/>
        </a:xfrm>
      </p:grpSpPr>
      <p:grpSp>
        <p:nvGrpSpPr>
          <p:cNvPr id="4124" name="Google Shape;4124;p617"/>
          <p:cNvGrpSpPr/>
          <p:nvPr/>
        </p:nvGrpSpPr>
        <p:grpSpPr>
          <a:xfrm>
            <a:off x="0" y="0"/>
            <a:ext cx="12192000" cy="2148830"/>
            <a:chOff x="0" y="0"/>
            <a:chExt cx="12192000" cy="2148830"/>
          </a:xfrm>
        </p:grpSpPr>
        <p:sp>
          <p:nvSpPr>
            <p:cNvPr id="4125" name="Google Shape;4125;p6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26" name="Google Shape;4126;p6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127" name="Google Shape;4127;p6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28" name="Google Shape;4128;p6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9" name="Google Shape;4129;p6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130" name="Google Shape;4130;p6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131" name="Google Shape;4131;p6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4132"/>
        <p:cNvGrpSpPr/>
        <p:nvPr/>
      </p:nvGrpSpPr>
      <p:grpSpPr>
        <a:xfrm>
          <a:off x="0" y="0"/>
          <a:ext cx="0" cy="0"/>
          <a:chOff x="0" y="0"/>
          <a:chExt cx="0" cy="0"/>
        </a:xfrm>
      </p:grpSpPr>
      <p:sp>
        <p:nvSpPr>
          <p:cNvPr id="4133" name="Google Shape;4133;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34" name="Google Shape;4134;p6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35" name="Google Shape;4135;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6" name="Google Shape;4136;p618"/>
          <p:cNvGrpSpPr/>
          <p:nvPr/>
        </p:nvGrpSpPr>
        <p:grpSpPr>
          <a:xfrm>
            <a:off x="7191542" y="1"/>
            <a:ext cx="5000459" cy="1425992"/>
            <a:chOff x="7191542" y="1"/>
            <a:chExt cx="5000459" cy="1425992"/>
          </a:xfrm>
        </p:grpSpPr>
        <p:pic>
          <p:nvPicPr>
            <p:cNvPr id="4137" name="Google Shape;4137;p6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38" name="Google Shape;4138;p618"/>
            <p:cNvGrpSpPr/>
            <p:nvPr/>
          </p:nvGrpSpPr>
          <p:grpSpPr>
            <a:xfrm>
              <a:off x="7191542" y="1"/>
              <a:ext cx="5000459" cy="1425992"/>
              <a:chOff x="7186272" y="0"/>
              <a:chExt cx="5005729" cy="1427495"/>
            </a:xfrm>
          </p:grpSpPr>
          <p:sp>
            <p:nvSpPr>
              <p:cNvPr id="4139" name="Google Shape;4139;p6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40" name="Google Shape;4140;p6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matchingName="2_Title Slide">
  <p:cSld name="2_Title Slide">
    <p:spTree>
      <p:nvGrpSpPr>
        <p:cNvPr id="1" name="Shape 4141"/>
        <p:cNvGrpSpPr/>
        <p:nvPr/>
      </p:nvGrpSpPr>
      <p:grpSpPr>
        <a:xfrm>
          <a:off x="0" y="0"/>
          <a:ext cx="0" cy="0"/>
          <a:chOff x="0" y="0"/>
          <a:chExt cx="0" cy="0"/>
        </a:xfrm>
      </p:grpSpPr>
      <p:sp>
        <p:nvSpPr>
          <p:cNvPr id="4142" name="Google Shape;4142;p61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4143" name="Google Shape;4143;p61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4144" name="Google Shape;4144;p619"/>
          <p:cNvGrpSpPr/>
          <p:nvPr/>
        </p:nvGrpSpPr>
        <p:grpSpPr>
          <a:xfrm>
            <a:off x="0" y="0"/>
            <a:ext cx="1862667" cy="6629400"/>
            <a:chOff x="-15876" y="0"/>
            <a:chExt cx="1927803" cy="6858000"/>
          </a:xfrm>
        </p:grpSpPr>
        <p:sp>
          <p:nvSpPr>
            <p:cNvPr id="4145" name="Google Shape;4145;p61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4146" name="Google Shape;4146;p619"/>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4147" name="Google Shape;4147;p61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148" name="Google Shape;4148;p61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9" name="Google Shape;4149;p61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50" name="Google Shape;4150;p61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4151"/>
        <p:cNvGrpSpPr/>
        <p:nvPr/>
      </p:nvGrpSpPr>
      <p:grpSpPr>
        <a:xfrm>
          <a:off x="0" y="0"/>
          <a:ext cx="0" cy="0"/>
          <a:chOff x="0" y="0"/>
          <a:chExt cx="0" cy="0"/>
        </a:xfrm>
      </p:grpSpPr>
      <p:sp>
        <p:nvSpPr>
          <p:cNvPr id="4152" name="Google Shape;4152;p62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4153" name="Google Shape;4153;p62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54" name="Google Shape;4154;p62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55" name="Google Shape;4155;p62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56" name="Google Shape;4156;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157" name="Google Shape;4157;p62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158"/>
        <p:cNvGrpSpPr/>
        <p:nvPr/>
      </p:nvGrpSpPr>
      <p:grpSpPr>
        <a:xfrm>
          <a:off x="0" y="0"/>
          <a:ext cx="0" cy="0"/>
          <a:chOff x="0" y="0"/>
          <a:chExt cx="0" cy="0"/>
        </a:xfrm>
      </p:grpSpPr>
      <p:sp>
        <p:nvSpPr>
          <p:cNvPr id="4159" name="Google Shape;4159;p621"/>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0" name="Google Shape;4160;p621"/>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4161" name="Google Shape;4161;p6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162" name="Google Shape;4162;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3" name="Google Shape;4163;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164"/>
        <p:cNvGrpSpPr/>
        <p:nvPr/>
      </p:nvGrpSpPr>
      <p:grpSpPr>
        <a:xfrm>
          <a:off x="0" y="0"/>
          <a:ext cx="0" cy="0"/>
          <a:chOff x="0" y="0"/>
          <a:chExt cx="0" cy="0"/>
        </a:xfrm>
      </p:grpSpPr>
      <p:sp>
        <p:nvSpPr>
          <p:cNvPr id="4165" name="Google Shape;4165;p622"/>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66" name="Google Shape;4166;p622"/>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4167" name="Google Shape;4167;p622"/>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4168" name="Google Shape;4168;p62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169" name="Google Shape;4169;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70" name="Google Shape;4170;p6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4171"/>
        <p:cNvGrpSpPr/>
        <p:nvPr/>
      </p:nvGrpSpPr>
      <p:grpSpPr>
        <a:xfrm>
          <a:off x="0" y="0"/>
          <a:ext cx="0" cy="0"/>
          <a:chOff x="0" y="0"/>
          <a:chExt cx="0" cy="0"/>
        </a:xfrm>
      </p:grpSpPr>
      <p:sp>
        <p:nvSpPr>
          <p:cNvPr id="4172" name="Google Shape;4172;p62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73" name="Google Shape;4173;p62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4174" name="Google Shape;4174;p62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75" name="Google Shape;4175;p62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4176" name="Google Shape;4176;p62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77" name="Google Shape;4177;p62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78" name="Google Shape;4178;p62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4179" name="Google Shape;4179;p62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180" name="Google Shape;4180;p62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55"/>
        <p:cNvGrpSpPr/>
        <p:nvPr/>
      </p:nvGrpSpPr>
      <p:grpSpPr>
        <a:xfrm>
          <a:off x="0" y="0"/>
          <a:ext cx="0" cy="0"/>
          <a:chOff x="0" y="0"/>
          <a:chExt cx="0" cy="0"/>
        </a:xfrm>
      </p:grpSpPr>
      <p:sp>
        <p:nvSpPr>
          <p:cNvPr id="456" name="Google Shape;456;p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7" name="Google Shape;457;p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 name="Google Shape;458;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 name="Google Shape;459;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0" name="Google Shape;460;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 name="Google Shape;461;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62" name="Google Shape;462;p99"/>
          <p:cNvGrpSpPr/>
          <p:nvPr/>
        </p:nvGrpSpPr>
        <p:grpSpPr>
          <a:xfrm>
            <a:off x="7191542" y="1"/>
            <a:ext cx="5000459" cy="1425992"/>
            <a:chOff x="7191542" y="1"/>
            <a:chExt cx="5000459" cy="1425992"/>
          </a:xfrm>
        </p:grpSpPr>
        <p:pic>
          <p:nvPicPr>
            <p:cNvPr id="463" name="Google Shape;463;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4" name="Google Shape;464;p99"/>
            <p:cNvGrpSpPr/>
            <p:nvPr/>
          </p:nvGrpSpPr>
          <p:grpSpPr>
            <a:xfrm>
              <a:off x="7191542" y="1"/>
              <a:ext cx="5000459" cy="1425992"/>
              <a:chOff x="7186272" y="0"/>
              <a:chExt cx="5005729" cy="1427495"/>
            </a:xfrm>
          </p:grpSpPr>
          <p:sp>
            <p:nvSpPr>
              <p:cNvPr id="465" name="Google Shape;465;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6" name="Google Shape;466;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7" name="Google Shape;467;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186"/>
        <p:cNvGrpSpPr/>
        <p:nvPr/>
      </p:nvGrpSpPr>
      <p:grpSpPr>
        <a:xfrm>
          <a:off x="0" y="0"/>
          <a:ext cx="0" cy="0"/>
          <a:chOff x="0" y="0"/>
          <a:chExt cx="0" cy="0"/>
        </a:xfrm>
      </p:grpSpPr>
      <p:grpSp>
        <p:nvGrpSpPr>
          <p:cNvPr id="4187" name="Google Shape;4187;p52"/>
          <p:cNvGrpSpPr/>
          <p:nvPr/>
        </p:nvGrpSpPr>
        <p:grpSpPr>
          <a:xfrm>
            <a:off x="7191542" y="1"/>
            <a:ext cx="5000459" cy="1425992"/>
            <a:chOff x="7191542" y="1"/>
            <a:chExt cx="5000459" cy="1425992"/>
          </a:xfrm>
        </p:grpSpPr>
        <p:pic>
          <p:nvPicPr>
            <p:cNvPr id="4188" name="Google Shape;4188;p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89" name="Google Shape;4189;p52"/>
            <p:cNvGrpSpPr/>
            <p:nvPr/>
          </p:nvGrpSpPr>
          <p:grpSpPr>
            <a:xfrm>
              <a:off x="7191542" y="1"/>
              <a:ext cx="5000459" cy="1425992"/>
              <a:chOff x="7186272" y="0"/>
              <a:chExt cx="5005729" cy="1427495"/>
            </a:xfrm>
          </p:grpSpPr>
          <p:sp>
            <p:nvSpPr>
              <p:cNvPr id="4190" name="Google Shape;4190;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91" name="Google Shape;4191;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92" name="Google Shape;4192;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3" name="Google Shape;4193;p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94" name="Google Shape;4194;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95" name="Google Shape;4195;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96" name="Google Shape;4196;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197"/>
        <p:cNvGrpSpPr/>
        <p:nvPr/>
      </p:nvGrpSpPr>
      <p:grpSpPr>
        <a:xfrm>
          <a:off x="0" y="0"/>
          <a:ext cx="0" cy="0"/>
          <a:chOff x="0" y="0"/>
          <a:chExt cx="0" cy="0"/>
        </a:xfrm>
      </p:grpSpPr>
      <p:sp>
        <p:nvSpPr>
          <p:cNvPr id="4198" name="Google Shape;4198;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99" name="Google Shape;4199;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200" name="Google Shape;4200;p57"/>
          <p:cNvGrpSpPr/>
          <p:nvPr/>
        </p:nvGrpSpPr>
        <p:grpSpPr>
          <a:xfrm>
            <a:off x="7191542" y="1"/>
            <a:ext cx="5000459" cy="1425992"/>
            <a:chOff x="7191542" y="1"/>
            <a:chExt cx="5000459" cy="1425992"/>
          </a:xfrm>
        </p:grpSpPr>
        <p:pic>
          <p:nvPicPr>
            <p:cNvPr id="4201" name="Google Shape;4201;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02" name="Google Shape;4202;p57"/>
            <p:cNvGrpSpPr/>
            <p:nvPr/>
          </p:nvGrpSpPr>
          <p:grpSpPr>
            <a:xfrm>
              <a:off x="7191542" y="1"/>
              <a:ext cx="5000459" cy="1425992"/>
              <a:chOff x="7186272" y="0"/>
              <a:chExt cx="5005729" cy="1427495"/>
            </a:xfrm>
          </p:grpSpPr>
          <p:sp>
            <p:nvSpPr>
              <p:cNvPr id="4203" name="Google Shape;4203;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04" name="Google Shape;4204;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05" name="Google Shape;4205;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6" name="Google Shape;4206;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07" name="Google Shape;4207;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08" name="Google Shape;4208;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209"/>
        <p:cNvGrpSpPr/>
        <p:nvPr/>
      </p:nvGrpSpPr>
      <p:grpSpPr>
        <a:xfrm>
          <a:off x="0" y="0"/>
          <a:ext cx="0" cy="0"/>
          <a:chOff x="0" y="0"/>
          <a:chExt cx="0" cy="0"/>
        </a:xfrm>
      </p:grpSpPr>
      <p:grpSp>
        <p:nvGrpSpPr>
          <p:cNvPr id="4210" name="Google Shape;4210;p624"/>
          <p:cNvGrpSpPr/>
          <p:nvPr/>
        </p:nvGrpSpPr>
        <p:grpSpPr>
          <a:xfrm>
            <a:off x="7191542" y="1"/>
            <a:ext cx="5000459" cy="1425992"/>
            <a:chOff x="7191542" y="1"/>
            <a:chExt cx="5000459" cy="1425992"/>
          </a:xfrm>
        </p:grpSpPr>
        <p:pic>
          <p:nvPicPr>
            <p:cNvPr id="4211" name="Google Shape;4211;p6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12" name="Google Shape;4212;p624"/>
            <p:cNvGrpSpPr/>
            <p:nvPr/>
          </p:nvGrpSpPr>
          <p:grpSpPr>
            <a:xfrm>
              <a:off x="7191542" y="1"/>
              <a:ext cx="5000459" cy="1425992"/>
              <a:chOff x="7186272" y="0"/>
              <a:chExt cx="5005729" cy="1427495"/>
            </a:xfrm>
          </p:grpSpPr>
          <p:sp>
            <p:nvSpPr>
              <p:cNvPr id="4213" name="Google Shape;4213;p6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14" name="Google Shape;4214;p6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15" name="Google Shape;4215;p6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16" name="Google Shape;4216;p6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17" name="Google Shape;4217;p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18" name="Google Shape;4218;p6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19" name="Google Shape;4219;p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220"/>
        <p:cNvGrpSpPr/>
        <p:nvPr/>
      </p:nvGrpSpPr>
      <p:grpSpPr>
        <a:xfrm>
          <a:off x="0" y="0"/>
          <a:ext cx="0" cy="0"/>
          <a:chOff x="0" y="0"/>
          <a:chExt cx="0" cy="0"/>
        </a:xfrm>
      </p:grpSpPr>
      <p:grpSp>
        <p:nvGrpSpPr>
          <p:cNvPr id="4221" name="Google Shape;4221;p53"/>
          <p:cNvGrpSpPr/>
          <p:nvPr/>
        </p:nvGrpSpPr>
        <p:grpSpPr>
          <a:xfrm>
            <a:off x="7191542" y="1"/>
            <a:ext cx="5000459" cy="1425992"/>
            <a:chOff x="7191542" y="1"/>
            <a:chExt cx="5000459" cy="1425992"/>
          </a:xfrm>
        </p:grpSpPr>
        <p:pic>
          <p:nvPicPr>
            <p:cNvPr id="4222" name="Google Shape;4222;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23" name="Google Shape;4223;p53"/>
            <p:cNvGrpSpPr/>
            <p:nvPr/>
          </p:nvGrpSpPr>
          <p:grpSpPr>
            <a:xfrm>
              <a:off x="7191542" y="1"/>
              <a:ext cx="5000459" cy="1425992"/>
              <a:chOff x="7186272" y="0"/>
              <a:chExt cx="5005729" cy="1427495"/>
            </a:xfrm>
          </p:grpSpPr>
          <p:sp>
            <p:nvSpPr>
              <p:cNvPr id="4224" name="Google Shape;4224;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5" name="Google Shape;4225;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26" name="Google Shape;4226;p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27" name="Google Shape;4227;p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8" name="Google Shape;4228;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29" name="Google Shape;4229;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30" name="Google Shape;4230;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4231"/>
        <p:cNvGrpSpPr/>
        <p:nvPr/>
      </p:nvGrpSpPr>
      <p:grpSpPr>
        <a:xfrm>
          <a:off x="0" y="0"/>
          <a:ext cx="0" cy="0"/>
          <a:chOff x="0" y="0"/>
          <a:chExt cx="0" cy="0"/>
        </a:xfrm>
      </p:grpSpPr>
      <p:grpSp>
        <p:nvGrpSpPr>
          <p:cNvPr id="4232" name="Google Shape;4232;p55"/>
          <p:cNvGrpSpPr/>
          <p:nvPr/>
        </p:nvGrpSpPr>
        <p:grpSpPr>
          <a:xfrm>
            <a:off x="7191542" y="1"/>
            <a:ext cx="5000459" cy="1425992"/>
            <a:chOff x="7191542" y="1"/>
            <a:chExt cx="5000459" cy="1425992"/>
          </a:xfrm>
        </p:grpSpPr>
        <p:pic>
          <p:nvPicPr>
            <p:cNvPr id="4233" name="Google Shape;4233;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34" name="Google Shape;4234;p55"/>
            <p:cNvGrpSpPr/>
            <p:nvPr/>
          </p:nvGrpSpPr>
          <p:grpSpPr>
            <a:xfrm>
              <a:off x="7191542" y="1"/>
              <a:ext cx="5000459" cy="1425992"/>
              <a:chOff x="7186272" y="0"/>
              <a:chExt cx="5005729" cy="1427495"/>
            </a:xfrm>
          </p:grpSpPr>
          <p:sp>
            <p:nvSpPr>
              <p:cNvPr id="4235" name="Google Shape;423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36" name="Google Shape;423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37" name="Google Shape;4237;p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38" name="Google Shape;4238;p5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39" name="Google Shape;4239;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40" name="Google Shape;424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1" name="Google Shape;4241;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Title and Content">
  <p:cSld name="OBJECT 2">
    <p:spTree>
      <p:nvGrpSpPr>
        <p:cNvPr id="1" name="Shape 4242"/>
        <p:cNvGrpSpPr/>
        <p:nvPr/>
      </p:nvGrpSpPr>
      <p:grpSpPr>
        <a:xfrm>
          <a:off x="0" y="0"/>
          <a:ext cx="0" cy="0"/>
          <a:chOff x="0" y="0"/>
          <a:chExt cx="0" cy="0"/>
        </a:xfrm>
      </p:grpSpPr>
      <p:grpSp>
        <p:nvGrpSpPr>
          <p:cNvPr id="4243" name="Google Shape;4243;p625"/>
          <p:cNvGrpSpPr/>
          <p:nvPr/>
        </p:nvGrpSpPr>
        <p:grpSpPr>
          <a:xfrm>
            <a:off x="7191542" y="1"/>
            <a:ext cx="5000459" cy="1425992"/>
            <a:chOff x="7191542" y="1"/>
            <a:chExt cx="5000459" cy="1425992"/>
          </a:xfrm>
        </p:grpSpPr>
        <p:pic>
          <p:nvPicPr>
            <p:cNvPr id="4244" name="Google Shape;4244;p6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45" name="Google Shape;4245;p625"/>
            <p:cNvGrpSpPr/>
            <p:nvPr/>
          </p:nvGrpSpPr>
          <p:grpSpPr>
            <a:xfrm>
              <a:off x="7191542" y="1"/>
              <a:ext cx="5000459" cy="1425992"/>
              <a:chOff x="7186272" y="0"/>
              <a:chExt cx="5005729" cy="1427495"/>
            </a:xfrm>
          </p:grpSpPr>
          <p:sp>
            <p:nvSpPr>
              <p:cNvPr id="4246" name="Google Shape;4246;p6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47" name="Google Shape;4247;p6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48" name="Google Shape;4248;p6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49" name="Google Shape;4249;p6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0" name="Google Shape;4250;p6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51" name="Google Shape;4251;p6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52" name="Google Shape;4252;p6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Title and Content">
  <p:cSld name="OBJECT 3">
    <p:spTree>
      <p:nvGrpSpPr>
        <p:cNvPr id="1" name="Shape 4253"/>
        <p:cNvGrpSpPr/>
        <p:nvPr/>
      </p:nvGrpSpPr>
      <p:grpSpPr>
        <a:xfrm>
          <a:off x="0" y="0"/>
          <a:ext cx="0" cy="0"/>
          <a:chOff x="0" y="0"/>
          <a:chExt cx="0" cy="0"/>
        </a:xfrm>
      </p:grpSpPr>
      <p:grpSp>
        <p:nvGrpSpPr>
          <p:cNvPr id="4254" name="Google Shape;4254;p626"/>
          <p:cNvGrpSpPr/>
          <p:nvPr/>
        </p:nvGrpSpPr>
        <p:grpSpPr>
          <a:xfrm>
            <a:off x="7191542" y="1"/>
            <a:ext cx="5000459" cy="1425992"/>
            <a:chOff x="7191542" y="1"/>
            <a:chExt cx="5000459" cy="1425992"/>
          </a:xfrm>
        </p:grpSpPr>
        <p:pic>
          <p:nvPicPr>
            <p:cNvPr id="4255" name="Google Shape;4255;p6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56" name="Google Shape;4256;p626"/>
            <p:cNvGrpSpPr/>
            <p:nvPr/>
          </p:nvGrpSpPr>
          <p:grpSpPr>
            <a:xfrm>
              <a:off x="7191542" y="1"/>
              <a:ext cx="5000459" cy="1425992"/>
              <a:chOff x="7186272" y="0"/>
              <a:chExt cx="5005729" cy="1427495"/>
            </a:xfrm>
          </p:grpSpPr>
          <p:sp>
            <p:nvSpPr>
              <p:cNvPr id="4257" name="Google Shape;4257;p6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58" name="Google Shape;4258;p6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59" name="Google Shape;4259;p6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0" name="Google Shape;4260;p6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61" name="Google Shape;4261;p6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62" name="Google Shape;4262;p6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63" name="Google Shape;4263;p6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4264"/>
        <p:cNvGrpSpPr/>
        <p:nvPr/>
      </p:nvGrpSpPr>
      <p:grpSpPr>
        <a:xfrm>
          <a:off x="0" y="0"/>
          <a:ext cx="0" cy="0"/>
          <a:chOff x="0" y="0"/>
          <a:chExt cx="0" cy="0"/>
        </a:xfrm>
      </p:grpSpPr>
      <p:sp>
        <p:nvSpPr>
          <p:cNvPr id="4265" name="Google Shape;4265;p62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66" name="Google Shape;4266;p62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7" name="Google Shape;4267;p62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268" name="Google Shape;4268;p627"/>
          <p:cNvSpPr>
            <a:spLocks noGrp="1"/>
          </p:cNvSpPr>
          <p:nvPr>
            <p:ph type="pic" idx="2"/>
          </p:nvPr>
        </p:nvSpPr>
        <p:spPr>
          <a:xfrm>
            <a:off x="7118684" y="233915"/>
            <a:ext cx="5073316" cy="5943600"/>
          </a:xfrm>
          <a:prstGeom prst="rect">
            <a:avLst/>
          </a:prstGeom>
          <a:noFill/>
          <a:ln>
            <a:noFill/>
          </a:ln>
        </p:spPr>
      </p:sp>
      <p:grpSp>
        <p:nvGrpSpPr>
          <p:cNvPr id="4269" name="Google Shape;4269;p627"/>
          <p:cNvGrpSpPr/>
          <p:nvPr/>
        </p:nvGrpSpPr>
        <p:grpSpPr>
          <a:xfrm>
            <a:off x="0" y="5020348"/>
            <a:ext cx="12192000" cy="1837653"/>
            <a:chOff x="0" y="5020348"/>
            <a:chExt cx="12192000" cy="1837653"/>
          </a:xfrm>
        </p:grpSpPr>
        <p:sp>
          <p:nvSpPr>
            <p:cNvPr id="4270" name="Google Shape;4270;p6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71" name="Google Shape;4271;p62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272" name="Google Shape;4272;p6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4273"/>
        <p:cNvGrpSpPr/>
        <p:nvPr/>
      </p:nvGrpSpPr>
      <p:grpSpPr>
        <a:xfrm>
          <a:off x="0" y="0"/>
          <a:ext cx="0" cy="0"/>
          <a:chOff x="0" y="0"/>
          <a:chExt cx="0" cy="0"/>
        </a:xfrm>
      </p:grpSpPr>
      <p:grpSp>
        <p:nvGrpSpPr>
          <p:cNvPr id="4274" name="Google Shape;4274;p628"/>
          <p:cNvGrpSpPr/>
          <p:nvPr/>
        </p:nvGrpSpPr>
        <p:grpSpPr>
          <a:xfrm>
            <a:off x="7191542" y="1"/>
            <a:ext cx="5000459" cy="1425992"/>
            <a:chOff x="7191542" y="1"/>
            <a:chExt cx="5000459" cy="1425992"/>
          </a:xfrm>
        </p:grpSpPr>
        <p:pic>
          <p:nvPicPr>
            <p:cNvPr id="4275" name="Google Shape;4275;p6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76" name="Google Shape;4276;p628"/>
            <p:cNvGrpSpPr/>
            <p:nvPr/>
          </p:nvGrpSpPr>
          <p:grpSpPr>
            <a:xfrm>
              <a:off x="7191542" y="1"/>
              <a:ext cx="5000459" cy="1425992"/>
              <a:chOff x="7186272" y="0"/>
              <a:chExt cx="5005729" cy="1427495"/>
            </a:xfrm>
          </p:grpSpPr>
          <p:sp>
            <p:nvSpPr>
              <p:cNvPr id="4277" name="Google Shape;4277;p6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78" name="Google Shape;4278;p6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79" name="Google Shape;4279;p6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80" name="Google Shape;4280;p6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81" name="Google Shape;4281;p6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82" name="Google Shape;4282;p6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83" name="Google Shape;4283;p6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Title and Content">
  <p:cSld name="Title and Content 2 2">
    <p:spTree>
      <p:nvGrpSpPr>
        <p:cNvPr id="1" name="Shape 4284"/>
        <p:cNvGrpSpPr/>
        <p:nvPr/>
      </p:nvGrpSpPr>
      <p:grpSpPr>
        <a:xfrm>
          <a:off x="0" y="0"/>
          <a:ext cx="0" cy="0"/>
          <a:chOff x="0" y="0"/>
          <a:chExt cx="0" cy="0"/>
        </a:xfrm>
      </p:grpSpPr>
      <p:grpSp>
        <p:nvGrpSpPr>
          <p:cNvPr id="4285" name="Google Shape;4285;p629"/>
          <p:cNvGrpSpPr/>
          <p:nvPr/>
        </p:nvGrpSpPr>
        <p:grpSpPr>
          <a:xfrm>
            <a:off x="7191542" y="1"/>
            <a:ext cx="5000459" cy="1425992"/>
            <a:chOff x="7191542" y="1"/>
            <a:chExt cx="5000459" cy="1425992"/>
          </a:xfrm>
        </p:grpSpPr>
        <p:pic>
          <p:nvPicPr>
            <p:cNvPr id="4286" name="Google Shape;4286;p6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87" name="Google Shape;4287;p629"/>
            <p:cNvGrpSpPr/>
            <p:nvPr/>
          </p:nvGrpSpPr>
          <p:grpSpPr>
            <a:xfrm>
              <a:off x="7191542" y="1"/>
              <a:ext cx="5000459" cy="1425992"/>
              <a:chOff x="7186272" y="0"/>
              <a:chExt cx="5005729" cy="1427495"/>
            </a:xfrm>
          </p:grpSpPr>
          <p:sp>
            <p:nvSpPr>
              <p:cNvPr id="4288" name="Google Shape;4288;p6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89" name="Google Shape;4289;p6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90" name="Google Shape;4290;p6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1" name="Google Shape;4291;p6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92" name="Google Shape;4292;p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93" name="Google Shape;4293;p6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94" name="Google Shape;4294;p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68"/>
        <p:cNvGrpSpPr/>
        <p:nvPr/>
      </p:nvGrpSpPr>
      <p:grpSpPr>
        <a:xfrm>
          <a:off x="0" y="0"/>
          <a:ext cx="0" cy="0"/>
          <a:chOff x="0" y="0"/>
          <a:chExt cx="0" cy="0"/>
        </a:xfrm>
      </p:grpSpPr>
      <p:sp>
        <p:nvSpPr>
          <p:cNvPr id="469" name="Google Shape;469;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0" name="Google Shape;470;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1" name="Google Shape;471;p100"/>
          <p:cNvGrpSpPr/>
          <p:nvPr/>
        </p:nvGrpSpPr>
        <p:grpSpPr>
          <a:xfrm>
            <a:off x="0" y="5379426"/>
            <a:ext cx="2807368" cy="753891"/>
            <a:chOff x="0" y="5379426"/>
            <a:chExt cx="2807368" cy="753891"/>
          </a:xfrm>
        </p:grpSpPr>
        <p:sp>
          <p:nvSpPr>
            <p:cNvPr id="472" name="Google Shape;472;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3" name="Google Shape;473;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4" name="Google Shape;474;p100"/>
          <p:cNvSpPr>
            <a:spLocks noGrp="1"/>
          </p:cNvSpPr>
          <p:nvPr>
            <p:ph type="pic" idx="2"/>
          </p:nvPr>
        </p:nvSpPr>
        <p:spPr>
          <a:xfrm>
            <a:off x="2807368" y="457202"/>
            <a:ext cx="8915400" cy="5943598"/>
          </a:xfrm>
          <a:prstGeom prst="rect">
            <a:avLst/>
          </a:prstGeom>
          <a:noFill/>
          <a:ln>
            <a:noFill/>
          </a:ln>
        </p:spPr>
      </p:sp>
      <p:pic>
        <p:nvPicPr>
          <p:cNvPr id="475" name="Google Shape;475;p1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295"/>
        <p:cNvGrpSpPr/>
        <p:nvPr/>
      </p:nvGrpSpPr>
      <p:grpSpPr>
        <a:xfrm>
          <a:off x="0" y="0"/>
          <a:ext cx="0" cy="0"/>
          <a:chOff x="0" y="0"/>
          <a:chExt cx="0" cy="0"/>
        </a:xfrm>
      </p:grpSpPr>
      <p:sp>
        <p:nvSpPr>
          <p:cNvPr id="4296" name="Google Shape;4296;p6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97" name="Google Shape;4297;p6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298" name="Google Shape;4298;p630"/>
          <p:cNvGrpSpPr/>
          <p:nvPr/>
        </p:nvGrpSpPr>
        <p:grpSpPr>
          <a:xfrm>
            <a:off x="7191542" y="1"/>
            <a:ext cx="5000459" cy="1425992"/>
            <a:chOff x="7191542" y="1"/>
            <a:chExt cx="5000459" cy="1425992"/>
          </a:xfrm>
        </p:grpSpPr>
        <p:pic>
          <p:nvPicPr>
            <p:cNvPr id="4299" name="Google Shape;4299;p6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00" name="Google Shape;4300;p630"/>
            <p:cNvGrpSpPr/>
            <p:nvPr/>
          </p:nvGrpSpPr>
          <p:grpSpPr>
            <a:xfrm>
              <a:off x="7191542" y="1"/>
              <a:ext cx="5000459" cy="1425992"/>
              <a:chOff x="7186272" y="0"/>
              <a:chExt cx="5005729" cy="1427495"/>
            </a:xfrm>
          </p:grpSpPr>
          <p:sp>
            <p:nvSpPr>
              <p:cNvPr id="4301" name="Google Shape;4301;p6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02" name="Google Shape;4302;p6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03" name="Google Shape;4303;p6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04" name="Google Shape;4304;p6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5" name="Google Shape;4305;p6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06" name="Google Shape;4306;p6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4307"/>
        <p:cNvGrpSpPr/>
        <p:nvPr/>
      </p:nvGrpSpPr>
      <p:grpSpPr>
        <a:xfrm>
          <a:off x="0" y="0"/>
          <a:ext cx="0" cy="0"/>
          <a:chOff x="0" y="0"/>
          <a:chExt cx="0" cy="0"/>
        </a:xfrm>
      </p:grpSpPr>
      <p:grpSp>
        <p:nvGrpSpPr>
          <p:cNvPr id="4308" name="Google Shape;4308;p631"/>
          <p:cNvGrpSpPr/>
          <p:nvPr/>
        </p:nvGrpSpPr>
        <p:grpSpPr>
          <a:xfrm>
            <a:off x="7191542" y="1"/>
            <a:ext cx="5000459" cy="1425992"/>
            <a:chOff x="7191542" y="1"/>
            <a:chExt cx="5000459" cy="1425992"/>
          </a:xfrm>
        </p:grpSpPr>
        <p:pic>
          <p:nvPicPr>
            <p:cNvPr id="4309" name="Google Shape;4309;p6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10" name="Google Shape;4310;p631"/>
            <p:cNvGrpSpPr/>
            <p:nvPr/>
          </p:nvGrpSpPr>
          <p:grpSpPr>
            <a:xfrm>
              <a:off x="7191542" y="1"/>
              <a:ext cx="5000459" cy="1425992"/>
              <a:chOff x="7186272" y="0"/>
              <a:chExt cx="5005729" cy="1427495"/>
            </a:xfrm>
          </p:grpSpPr>
          <p:sp>
            <p:nvSpPr>
              <p:cNvPr id="4311" name="Google Shape;4311;p6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12" name="Google Shape;4312;p6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13" name="Google Shape;4313;p6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14" name="Google Shape;4314;p63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15" name="Google Shape;4315;p6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16" name="Google Shape;4316;p6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7" name="Google Shape;4317;p6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318"/>
        <p:cNvGrpSpPr/>
        <p:nvPr/>
      </p:nvGrpSpPr>
      <p:grpSpPr>
        <a:xfrm>
          <a:off x="0" y="0"/>
          <a:ext cx="0" cy="0"/>
          <a:chOff x="0" y="0"/>
          <a:chExt cx="0" cy="0"/>
        </a:xfrm>
      </p:grpSpPr>
      <p:sp>
        <p:nvSpPr>
          <p:cNvPr id="4319" name="Google Shape;4319;p6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20" name="Google Shape;4320;p6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21" name="Google Shape;4321;p6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322" name="Google Shape;4322;p632"/>
          <p:cNvGrpSpPr/>
          <p:nvPr/>
        </p:nvGrpSpPr>
        <p:grpSpPr>
          <a:xfrm>
            <a:off x="7191542" y="1"/>
            <a:ext cx="5000459" cy="1425992"/>
            <a:chOff x="7191542" y="1"/>
            <a:chExt cx="5000459" cy="1425992"/>
          </a:xfrm>
        </p:grpSpPr>
        <p:pic>
          <p:nvPicPr>
            <p:cNvPr id="4323" name="Google Shape;4323;p6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24" name="Google Shape;4324;p632"/>
            <p:cNvGrpSpPr/>
            <p:nvPr/>
          </p:nvGrpSpPr>
          <p:grpSpPr>
            <a:xfrm>
              <a:off x="7191542" y="1"/>
              <a:ext cx="5000459" cy="1425992"/>
              <a:chOff x="7186272" y="0"/>
              <a:chExt cx="5005729" cy="1427495"/>
            </a:xfrm>
          </p:grpSpPr>
          <p:sp>
            <p:nvSpPr>
              <p:cNvPr id="4325" name="Google Shape;4325;p6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26" name="Google Shape;4326;p6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4327"/>
        <p:cNvGrpSpPr/>
        <p:nvPr/>
      </p:nvGrpSpPr>
      <p:grpSpPr>
        <a:xfrm>
          <a:off x="0" y="0"/>
          <a:ext cx="0" cy="0"/>
          <a:chOff x="0" y="0"/>
          <a:chExt cx="0" cy="0"/>
        </a:xfrm>
      </p:grpSpPr>
      <p:grpSp>
        <p:nvGrpSpPr>
          <p:cNvPr id="4328" name="Google Shape;4328;p633"/>
          <p:cNvGrpSpPr/>
          <p:nvPr/>
        </p:nvGrpSpPr>
        <p:grpSpPr>
          <a:xfrm>
            <a:off x="0" y="5020347"/>
            <a:ext cx="12192000" cy="1837653"/>
            <a:chOff x="0" y="5020347"/>
            <a:chExt cx="12192000" cy="1837653"/>
          </a:xfrm>
        </p:grpSpPr>
        <p:sp>
          <p:nvSpPr>
            <p:cNvPr id="4329" name="Google Shape;4329;p6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330" name="Google Shape;4330;p6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331" name="Google Shape;4331;p6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332" name="Google Shape;4332;p6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333" name="Google Shape;4333;p6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34" name="Google Shape;4334;p6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4335"/>
        <p:cNvGrpSpPr/>
        <p:nvPr/>
      </p:nvGrpSpPr>
      <p:grpSpPr>
        <a:xfrm>
          <a:off x="0" y="0"/>
          <a:ext cx="0" cy="0"/>
          <a:chOff x="0" y="0"/>
          <a:chExt cx="0" cy="0"/>
        </a:xfrm>
      </p:grpSpPr>
      <p:sp>
        <p:nvSpPr>
          <p:cNvPr id="4336" name="Google Shape;4336;p6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37" name="Google Shape;4337;p6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338" name="Google Shape;4338;p634"/>
          <p:cNvGrpSpPr/>
          <p:nvPr/>
        </p:nvGrpSpPr>
        <p:grpSpPr>
          <a:xfrm>
            <a:off x="0" y="5379426"/>
            <a:ext cx="2807368" cy="753891"/>
            <a:chOff x="0" y="5379426"/>
            <a:chExt cx="2807368" cy="753891"/>
          </a:xfrm>
        </p:grpSpPr>
        <p:sp>
          <p:nvSpPr>
            <p:cNvPr id="4339" name="Google Shape;4339;p6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340" name="Google Shape;4340;p6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341" name="Google Shape;4341;p634"/>
          <p:cNvSpPr>
            <a:spLocks noGrp="1"/>
          </p:cNvSpPr>
          <p:nvPr>
            <p:ph type="pic" idx="2"/>
          </p:nvPr>
        </p:nvSpPr>
        <p:spPr>
          <a:xfrm>
            <a:off x="2807368" y="457202"/>
            <a:ext cx="8915400" cy="5943598"/>
          </a:xfrm>
          <a:prstGeom prst="rect">
            <a:avLst/>
          </a:prstGeom>
          <a:noFill/>
          <a:ln>
            <a:noFill/>
          </a:ln>
        </p:spPr>
      </p:sp>
      <p:pic>
        <p:nvPicPr>
          <p:cNvPr id="4342" name="Google Shape;4342;p6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4343"/>
        <p:cNvGrpSpPr/>
        <p:nvPr/>
      </p:nvGrpSpPr>
      <p:grpSpPr>
        <a:xfrm>
          <a:off x="0" y="0"/>
          <a:ext cx="0" cy="0"/>
          <a:chOff x="0" y="0"/>
          <a:chExt cx="0" cy="0"/>
        </a:xfrm>
      </p:grpSpPr>
      <p:grpSp>
        <p:nvGrpSpPr>
          <p:cNvPr id="4344" name="Google Shape;4344;p635"/>
          <p:cNvGrpSpPr/>
          <p:nvPr/>
        </p:nvGrpSpPr>
        <p:grpSpPr>
          <a:xfrm>
            <a:off x="7191542" y="1"/>
            <a:ext cx="5000459" cy="1425992"/>
            <a:chOff x="7191542" y="1"/>
            <a:chExt cx="5000459" cy="1425992"/>
          </a:xfrm>
        </p:grpSpPr>
        <p:pic>
          <p:nvPicPr>
            <p:cNvPr id="4345" name="Google Shape;4345;p6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6" name="Google Shape;4346;p635"/>
            <p:cNvGrpSpPr/>
            <p:nvPr/>
          </p:nvGrpSpPr>
          <p:grpSpPr>
            <a:xfrm>
              <a:off x="7191542" y="1"/>
              <a:ext cx="5000459" cy="1425992"/>
              <a:chOff x="7186272" y="0"/>
              <a:chExt cx="5005729" cy="1427495"/>
            </a:xfrm>
          </p:grpSpPr>
          <p:sp>
            <p:nvSpPr>
              <p:cNvPr id="4347" name="Google Shape;4347;p6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48" name="Google Shape;4348;p6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49" name="Google Shape;4349;p6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50" name="Google Shape;4350;p6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1" name="Google Shape;4351;p6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52" name="Google Shape;4352;p6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53" name="Google Shape;4353;p6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4354"/>
        <p:cNvGrpSpPr/>
        <p:nvPr/>
      </p:nvGrpSpPr>
      <p:grpSpPr>
        <a:xfrm>
          <a:off x="0" y="0"/>
          <a:ext cx="0" cy="0"/>
          <a:chOff x="0" y="0"/>
          <a:chExt cx="0" cy="0"/>
        </a:xfrm>
      </p:grpSpPr>
      <p:sp>
        <p:nvSpPr>
          <p:cNvPr id="4355" name="Google Shape;4355;p6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356" name="Google Shape;4356;p6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57" name="Google Shape;4357;p6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358" name="Google Shape;4358;p636"/>
          <p:cNvSpPr>
            <a:spLocks noGrp="1"/>
          </p:cNvSpPr>
          <p:nvPr>
            <p:ph type="pic" idx="2"/>
          </p:nvPr>
        </p:nvSpPr>
        <p:spPr>
          <a:xfrm>
            <a:off x="7118684" y="233915"/>
            <a:ext cx="5073316" cy="5943600"/>
          </a:xfrm>
          <a:prstGeom prst="rect">
            <a:avLst/>
          </a:prstGeom>
          <a:noFill/>
          <a:ln>
            <a:noFill/>
          </a:ln>
        </p:spPr>
      </p:sp>
      <p:grpSp>
        <p:nvGrpSpPr>
          <p:cNvPr id="4359" name="Google Shape;4359;p636"/>
          <p:cNvGrpSpPr/>
          <p:nvPr/>
        </p:nvGrpSpPr>
        <p:grpSpPr>
          <a:xfrm>
            <a:off x="0" y="5020348"/>
            <a:ext cx="12192000" cy="1837653"/>
            <a:chOff x="0" y="5020348"/>
            <a:chExt cx="12192000" cy="1837653"/>
          </a:xfrm>
        </p:grpSpPr>
        <p:sp>
          <p:nvSpPr>
            <p:cNvPr id="4360" name="Google Shape;4360;p6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361" name="Google Shape;4361;p6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362" name="Google Shape;4362;p6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Two Content">
  <p:cSld name="TWO_OBJECTS 2">
    <p:spTree>
      <p:nvGrpSpPr>
        <p:cNvPr id="1" name="Shape 4363"/>
        <p:cNvGrpSpPr/>
        <p:nvPr/>
      </p:nvGrpSpPr>
      <p:grpSpPr>
        <a:xfrm>
          <a:off x="0" y="0"/>
          <a:ext cx="0" cy="0"/>
          <a:chOff x="0" y="0"/>
          <a:chExt cx="0" cy="0"/>
        </a:xfrm>
      </p:grpSpPr>
      <p:sp>
        <p:nvSpPr>
          <p:cNvPr id="4364" name="Google Shape;4364;p6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65" name="Google Shape;4365;p6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366" name="Google Shape;4366;p637"/>
          <p:cNvGrpSpPr/>
          <p:nvPr/>
        </p:nvGrpSpPr>
        <p:grpSpPr>
          <a:xfrm>
            <a:off x="7191542" y="1"/>
            <a:ext cx="5000459" cy="1425992"/>
            <a:chOff x="7191542" y="1"/>
            <a:chExt cx="5000459" cy="1425992"/>
          </a:xfrm>
        </p:grpSpPr>
        <p:pic>
          <p:nvPicPr>
            <p:cNvPr id="4367" name="Google Shape;4367;p6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68" name="Google Shape;4368;p637"/>
            <p:cNvGrpSpPr/>
            <p:nvPr/>
          </p:nvGrpSpPr>
          <p:grpSpPr>
            <a:xfrm>
              <a:off x="7191542" y="1"/>
              <a:ext cx="5000459" cy="1425992"/>
              <a:chOff x="7186272" y="0"/>
              <a:chExt cx="5005729" cy="1427495"/>
            </a:xfrm>
          </p:grpSpPr>
          <p:sp>
            <p:nvSpPr>
              <p:cNvPr id="4369" name="Google Shape;4369;p6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70" name="Google Shape;4370;p6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71" name="Google Shape;4371;p6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72" name="Google Shape;4372;p6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73" name="Google Shape;4373;p6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4" name="Google Shape;4374;p6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Title and Content">
  <p:cSld name="Title and Content 2 3">
    <p:spTree>
      <p:nvGrpSpPr>
        <p:cNvPr id="1" name="Shape 4375"/>
        <p:cNvGrpSpPr/>
        <p:nvPr/>
      </p:nvGrpSpPr>
      <p:grpSpPr>
        <a:xfrm>
          <a:off x="0" y="0"/>
          <a:ext cx="0" cy="0"/>
          <a:chOff x="0" y="0"/>
          <a:chExt cx="0" cy="0"/>
        </a:xfrm>
      </p:grpSpPr>
      <p:grpSp>
        <p:nvGrpSpPr>
          <p:cNvPr id="4376" name="Google Shape;4376;p638"/>
          <p:cNvGrpSpPr/>
          <p:nvPr/>
        </p:nvGrpSpPr>
        <p:grpSpPr>
          <a:xfrm>
            <a:off x="7191542" y="1"/>
            <a:ext cx="5000459" cy="1425992"/>
            <a:chOff x="7191542" y="1"/>
            <a:chExt cx="5000459" cy="1425992"/>
          </a:xfrm>
        </p:grpSpPr>
        <p:pic>
          <p:nvPicPr>
            <p:cNvPr id="4377" name="Google Shape;4377;p6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78" name="Google Shape;4378;p638"/>
            <p:cNvGrpSpPr/>
            <p:nvPr/>
          </p:nvGrpSpPr>
          <p:grpSpPr>
            <a:xfrm>
              <a:off x="7191542" y="1"/>
              <a:ext cx="5000459" cy="1425992"/>
              <a:chOff x="7186272" y="0"/>
              <a:chExt cx="5005729" cy="1427495"/>
            </a:xfrm>
          </p:grpSpPr>
          <p:sp>
            <p:nvSpPr>
              <p:cNvPr id="4379" name="Google Shape;4379;p6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80" name="Google Shape;4380;p6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81" name="Google Shape;4381;p6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82" name="Google Shape;4382;p6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83" name="Google Shape;4383;p6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84" name="Google Shape;4384;p6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85" name="Google Shape;4385;p6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4386"/>
        <p:cNvGrpSpPr/>
        <p:nvPr/>
      </p:nvGrpSpPr>
      <p:grpSpPr>
        <a:xfrm>
          <a:off x="0" y="0"/>
          <a:ext cx="0" cy="0"/>
          <a:chOff x="0" y="0"/>
          <a:chExt cx="0" cy="0"/>
        </a:xfrm>
      </p:grpSpPr>
      <p:sp>
        <p:nvSpPr>
          <p:cNvPr id="4387" name="Google Shape;4387;p6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88" name="Google Shape;4388;p63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389" name="Google Shape;4389;p639"/>
          <p:cNvGrpSpPr/>
          <p:nvPr/>
        </p:nvGrpSpPr>
        <p:grpSpPr>
          <a:xfrm>
            <a:off x="7191542" y="1"/>
            <a:ext cx="5000459" cy="1425992"/>
            <a:chOff x="7191542" y="1"/>
            <a:chExt cx="5000459" cy="1425992"/>
          </a:xfrm>
        </p:grpSpPr>
        <p:pic>
          <p:nvPicPr>
            <p:cNvPr id="4390" name="Google Shape;4390;p6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91" name="Google Shape;4391;p639"/>
            <p:cNvGrpSpPr/>
            <p:nvPr/>
          </p:nvGrpSpPr>
          <p:grpSpPr>
            <a:xfrm>
              <a:off x="7191542" y="1"/>
              <a:ext cx="5000459" cy="1425992"/>
              <a:chOff x="7186272" y="0"/>
              <a:chExt cx="5005729" cy="1427495"/>
            </a:xfrm>
          </p:grpSpPr>
          <p:sp>
            <p:nvSpPr>
              <p:cNvPr id="4392" name="Google Shape;4392;p6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93" name="Google Shape;4393;p6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394" name="Google Shape;4394;p63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95" name="Google Shape;4395;p63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96" name="Google Shape;4396;p6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97" name="Google Shape;4397;p6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76"/>
        <p:cNvGrpSpPr/>
        <p:nvPr/>
      </p:nvGrpSpPr>
      <p:grpSpPr>
        <a:xfrm>
          <a:off x="0" y="0"/>
          <a:ext cx="0" cy="0"/>
          <a:chOff x="0" y="0"/>
          <a:chExt cx="0" cy="0"/>
        </a:xfrm>
      </p:grpSpPr>
      <p:sp>
        <p:nvSpPr>
          <p:cNvPr id="477" name="Google Shape;477;p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8" name="Google Shape;478;p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9" name="Google Shape;479;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 name="Google Shape;480;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1" name="Google Shape;481;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2" name="Google Shape;482;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83" name="Google Shape;483;p101"/>
          <p:cNvGrpSpPr/>
          <p:nvPr/>
        </p:nvGrpSpPr>
        <p:grpSpPr>
          <a:xfrm>
            <a:off x="7191542" y="1"/>
            <a:ext cx="5000459" cy="1425992"/>
            <a:chOff x="7191542" y="1"/>
            <a:chExt cx="5000459" cy="1425992"/>
          </a:xfrm>
        </p:grpSpPr>
        <p:pic>
          <p:nvPicPr>
            <p:cNvPr id="484" name="Google Shape;484;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 name="Google Shape;485;p101"/>
            <p:cNvGrpSpPr/>
            <p:nvPr/>
          </p:nvGrpSpPr>
          <p:grpSpPr>
            <a:xfrm>
              <a:off x="7191542" y="1"/>
              <a:ext cx="5000459" cy="1425992"/>
              <a:chOff x="7186272" y="0"/>
              <a:chExt cx="5005729" cy="1427495"/>
            </a:xfrm>
          </p:grpSpPr>
          <p:sp>
            <p:nvSpPr>
              <p:cNvPr id="486" name="Google Shape;486;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7" name="Google Shape;487;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8" name="Google Shape;488;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itle and Content">
  <p:cSld name="Title and Content 3 2">
    <p:spTree>
      <p:nvGrpSpPr>
        <p:cNvPr id="1" name="Shape 4398"/>
        <p:cNvGrpSpPr/>
        <p:nvPr/>
      </p:nvGrpSpPr>
      <p:grpSpPr>
        <a:xfrm>
          <a:off x="0" y="0"/>
          <a:ext cx="0" cy="0"/>
          <a:chOff x="0" y="0"/>
          <a:chExt cx="0" cy="0"/>
        </a:xfrm>
      </p:grpSpPr>
      <p:grpSp>
        <p:nvGrpSpPr>
          <p:cNvPr id="4399" name="Google Shape;4399;p640"/>
          <p:cNvGrpSpPr/>
          <p:nvPr/>
        </p:nvGrpSpPr>
        <p:grpSpPr>
          <a:xfrm>
            <a:off x="7191542" y="1"/>
            <a:ext cx="5000459" cy="1425992"/>
            <a:chOff x="7191542" y="1"/>
            <a:chExt cx="5000459" cy="1425992"/>
          </a:xfrm>
        </p:grpSpPr>
        <p:pic>
          <p:nvPicPr>
            <p:cNvPr id="4400" name="Google Shape;4400;p6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1" name="Google Shape;4401;p640"/>
            <p:cNvGrpSpPr/>
            <p:nvPr/>
          </p:nvGrpSpPr>
          <p:grpSpPr>
            <a:xfrm>
              <a:off x="7191542" y="1"/>
              <a:ext cx="5000459" cy="1425992"/>
              <a:chOff x="7186272" y="0"/>
              <a:chExt cx="5005729" cy="1427495"/>
            </a:xfrm>
          </p:grpSpPr>
          <p:sp>
            <p:nvSpPr>
              <p:cNvPr id="4402" name="Google Shape;4402;p6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03" name="Google Shape;4403;p6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04" name="Google Shape;4404;p6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05" name="Google Shape;4405;p6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6" name="Google Shape;4406;p6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07" name="Google Shape;4407;p6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08" name="Google Shape;4408;p6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409"/>
        <p:cNvGrpSpPr/>
        <p:nvPr/>
      </p:nvGrpSpPr>
      <p:grpSpPr>
        <a:xfrm>
          <a:off x="0" y="0"/>
          <a:ext cx="0" cy="0"/>
          <a:chOff x="0" y="0"/>
          <a:chExt cx="0" cy="0"/>
        </a:xfrm>
      </p:grpSpPr>
      <p:sp>
        <p:nvSpPr>
          <p:cNvPr id="4410" name="Google Shape;4410;p6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11" name="Google Shape;4411;p6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12" name="Google Shape;4412;p6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413" name="Google Shape;4413;p641"/>
          <p:cNvGrpSpPr/>
          <p:nvPr/>
        </p:nvGrpSpPr>
        <p:grpSpPr>
          <a:xfrm>
            <a:off x="7191542" y="1"/>
            <a:ext cx="5000459" cy="1425992"/>
            <a:chOff x="7191542" y="1"/>
            <a:chExt cx="5000459" cy="1425992"/>
          </a:xfrm>
        </p:grpSpPr>
        <p:pic>
          <p:nvPicPr>
            <p:cNvPr id="4414" name="Google Shape;4414;p6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15" name="Google Shape;4415;p641"/>
            <p:cNvGrpSpPr/>
            <p:nvPr/>
          </p:nvGrpSpPr>
          <p:grpSpPr>
            <a:xfrm>
              <a:off x="7191542" y="1"/>
              <a:ext cx="5000459" cy="1425992"/>
              <a:chOff x="7186272" y="0"/>
              <a:chExt cx="5005729" cy="1427495"/>
            </a:xfrm>
          </p:grpSpPr>
          <p:sp>
            <p:nvSpPr>
              <p:cNvPr id="4416" name="Google Shape;4416;p6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17" name="Google Shape;4417;p6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4418"/>
        <p:cNvGrpSpPr/>
        <p:nvPr/>
      </p:nvGrpSpPr>
      <p:grpSpPr>
        <a:xfrm>
          <a:off x="0" y="0"/>
          <a:ext cx="0" cy="0"/>
          <a:chOff x="0" y="0"/>
          <a:chExt cx="0" cy="0"/>
        </a:xfrm>
      </p:grpSpPr>
      <p:grpSp>
        <p:nvGrpSpPr>
          <p:cNvPr id="4419" name="Google Shape;4419;p642"/>
          <p:cNvGrpSpPr/>
          <p:nvPr/>
        </p:nvGrpSpPr>
        <p:grpSpPr>
          <a:xfrm>
            <a:off x="0" y="5020347"/>
            <a:ext cx="12192000" cy="1837653"/>
            <a:chOff x="0" y="5020347"/>
            <a:chExt cx="12192000" cy="1837653"/>
          </a:xfrm>
        </p:grpSpPr>
        <p:sp>
          <p:nvSpPr>
            <p:cNvPr id="4420" name="Google Shape;4420;p6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21" name="Google Shape;4421;p6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22" name="Google Shape;4422;p6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423" name="Google Shape;4423;p6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424" name="Google Shape;4424;p6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25" name="Google Shape;4425;p6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4426"/>
        <p:cNvGrpSpPr/>
        <p:nvPr/>
      </p:nvGrpSpPr>
      <p:grpSpPr>
        <a:xfrm>
          <a:off x="0" y="0"/>
          <a:ext cx="0" cy="0"/>
          <a:chOff x="0" y="0"/>
          <a:chExt cx="0" cy="0"/>
        </a:xfrm>
      </p:grpSpPr>
      <p:sp>
        <p:nvSpPr>
          <p:cNvPr id="4427" name="Google Shape;4427;p6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428" name="Google Shape;4428;p6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429" name="Google Shape;4429;p643"/>
          <p:cNvGrpSpPr/>
          <p:nvPr/>
        </p:nvGrpSpPr>
        <p:grpSpPr>
          <a:xfrm>
            <a:off x="0" y="5379426"/>
            <a:ext cx="2807368" cy="753891"/>
            <a:chOff x="0" y="5379426"/>
            <a:chExt cx="2807368" cy="753891"/>
          </a:xfrm>
        </p:grpSpPr>
        <p:sp>
          <p:nvSpPr>
            <p:cNvPr id="4430" name="Google Shape;4430;p6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31" name="Google Shape;4431;p6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432" name="Google Shape;4432;p643"/>
          <p:cNvSpPr>
            <a:spLocks noGrp="1"/>
          </p:cNvSpPr>
          <p:nvPr>
            <p:ph type="pic" idx="2"/>
          </p:nvPr>
        </p:nvSpPr>
        <p:spPr>
          <a:xfrm>
            <a:off x="2807368" y="457202"/>
            <a:ext cx="8915400" cy="5943598"/>
          </a:xfrm>
          <a:prstGeom prst="rect">
            <a:avLst/>
          </a:prstGeom>
          <a:noFill/>
          <a:ln>
            <a:noFill/>
          </a:ln>
        </p:spPr>
      </p:sp>
      <p:pic>
        <p:nvPicPr>
          <p:cNvPr id="4433" name="Google Shape;4433;p6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Title and Content">
  <p:cSld name="Title and Content 4 2">
    <p:spTree>
      <p:nvGrpSpPr>
        <p:cNvPr id="1" name="Shape 4434"/>
        <p:cNvGrpSpPr/>
        <p:nvPr/>
      </p:nvGrpSpPr>
      <p:grpSpPr>
        <a:xfrm>
          <a:off x="0" y="0"/>
          <a:ext cx="0" cy="0"/>
          <a:chOff x="0" y="0"/>
          <a:chExt cx="0" cy="0"/>
        </a:xfrm>
      </p:grpSpPr>
      <p:grpSp>
        <p:nvGrpSpPr>
          <p:cNvPr id="4435" name="Google Shape;4435;p644"/>
          <p:cNvGrpSpPr/>
          <p:nvPr/>
        </p:nvGrpSpPr>
        <p:grpSpPr>
          <a:xfrm>
            <a:off x="7191542" y="1"/>
            <a:ext cx="5000459" cy="1425992"/>
            <a:chOff x="7191542" y="1"/>
            <a:chExt cx="5000459" cy="1425992"/>
          </a:xfrm>
        </p:grpSpPr>
        <p:pic>
          <p:nvPicPr>
            <p:cNvPr id="4436" name="Google Shape;4436;p6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37" name="Google Shape;4437;p644"/>
            <p:cNvGrpSpPr/>
            <p:nvPr/>
          </p:nvGrpSpPr>
          <p:grpSpPr>
            <a:xfrm>
              <a:off x="7191542" y="1"/>
              <a:ext cx="5000459" cy="1425992"/>
              <a:chOff x="7186272" y="0"/>
              <a:chExt cx="5005729" cy="1427495"/>
            </a:xfrm>
          </p:grpSpPr>
          <p:sp>
            <p:nvSpPr>
              <p:cNvPr id="4438" name="Google Shape;4438;p6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39" name="Google Shape;4439;p6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40" name="Google Shape;4440;p6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1" name="Google Shape;4441;p6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42" name="Google Shape;4442;p6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43" name="Google Shape;4443;p6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4" name="Google Shape;4444;p6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Title and Content">
  <p:cSld name="Title and Content 5 2">
    <p:spTree>
      <p:nvGrpSpPr>
        <p:cNvPr id="1" name="Shape 4445"/>
        <p:cNvGrpSpPr/>
        <p:nvPr/>
      </p:nvGrpSpPr>
      <p:grpSpPr>
        <a:xfrm>
          <a:off x="0" y="0"/>
          <a:ext cx="0" cy="0"/>
          <a:chOff x="0" y="0"/>
          <a:chExt cx="0" cy="0"/>
        </a:xfrm>
      </p:grpSpPr>
      <p:grpSp>
        <p:nvGrpSpPr>
          <p:cNvPr id="4446" name="Google Shape;4446;p645"/>
          <p:cNvGrpSpPr/>
          <p:nvPr/>
        </p:nvGrpSpPr>
        <p:grpSpPr>
          <a:xfrm>
            <a:off x="7191542" y="1"/>
            <a:ext cx="5000459" cy="1425992"/>
            <a:chOff x="7191542" y="1"/>
            <a:chExt cx="5000459" cy="1425992"/>
          </a:xfrm>
        </p:grpSpPr>
        <p:pic>
          <p:nvPicPr>
            <p:cNvPr id="4447" name="Google Shape;4447;p6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48" name="Google Shape;4448;p645"/>
            <p:cNvGrpSpPr/>
            <p:nvPr/>
          </p:nvGrpSpPr>
          <p:grpSpPr>
            <a:xfrm>
              <a:off x="7191542" y="1"/>
              <a:ext cx="5000459" cy="1425992"/>
              <a:chOff x="7186272" y="0"/>
              <a:chExt cx="5005729" cy="1427495"/>
            </a:xfrm>
          </p:grpSpPr>
          <p:sp>
            <p:nvSpPr>
              <p:cNvPr id="4449" name="Google Shape;4449;p6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50" name="Google Shape;4450;p6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51" name="Google Shape;4451;p6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52" name="Google Shape;4452;p6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53" name="Google Shape;4453;p6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4" name="Google Shape;4454;p6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55" name="Google Shape;4455;p6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Title and Content">
  <p:cSld name="Title and Content 5 3">
    <p:spTree>
      <p:nvGrpSpPr>
        <p:cNvPr id="1" name="Shape 4456"/>
        <p:cNvGrpSpPr/>
        <p:nvPr/>
      </p:nvGrpSpPr>
      <p:grpSpPr>
        <a:xfrm>
          <a:off x="0" y="0"/>
          <a:ext cx="0" cy="0"/>
          <a:chOff x="0" y="0"/>
          <a:chExt cx="0" cy="0"/>
        </a:xfrm>
      </p:grpSpPr>
      <p:grpSp>
        <p:nvGrpSpPr>
          <p:cNvPr id="4457" name="Google Shape;4457;p646"/>
          <p:cNvGrpSpPr/>
          <p:nvPr/>
        </p:nvGrpSpPr>
        <p:grpSpPr>
          <a:xfrm>
            <a:off x="7191542" y="1"/>
            <a:ext cx="5000459" cy="1425992"/>
            <a:chOff x="7191542" y="1"/>
            <a:chExt cx="5000459" cy="1425992"/>
          </a:xfrm>
        </p:grpSpPr>
        <p:pic>
          <p:nvPicPr>
            <p:cNvPr id="4458" name="Google Shape;4458;p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59" name="Google Shape;4459;p646"/>
            <p:cNvGrpSpPr/>
            <p:nvPr/>
          </p:nvGrpSpPr>
          <p:grpSpPr>
            <a:xfrm>
              <a:off x="7191542" y="1"/>
              <a:ext cx="5000459" cy="1425992"/>
              <a:chOff x="7186272" y="0"/>
              <a:chExt cx="5005729" cy="1427495"/>
            </a:xfrm>
          </p:grpSpPr>
          <p:sp>
            <p:nvSpPr>
              <p:cNvPr id="4460" name="Google Shape;4460;p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61" name="Google Shape;4461;p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62" name="Google Shape;4462;p6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63" name="Google Shape;4463;p6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64" name="Google Shape;4464;p6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65" name="Google Shape;4465;p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6" name="Google Shape;4466;p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Divider">
  <p:cSld name="Divider 2 2">
    <p:bg>
      <p:bgPr>
        <a:solidFill>
          <a:schemeClr val="lt2"/>
        </a:solidFill>
        <a:effectLst/>
      </p:bgPr>
    </p:bg>
    <p:spTree>
      <p:nvGrpSpPr>
        <p:cNvPr id="1" name="Shape 4467"/>
        <p:cNvGrpSpPr/>
        <p:nvPr/>
      </p:nvGrpSpPr>
      <p:grpSpPr>
        <a:xfrm>
          <a:off x="0" y="0"/>
          <a:ext cx="0" cy="0"/>
          <a:chOff x="0" y="0"/>
          <a:chExt cx="0" cy="0"/>
        </a:xfrm>
      </p:grpSpPr>
      <p:grpSp>
        <p:nvGrpSpPr>
          <p:cNvPr id="4468" name="Google Shape;4468;p647"/>
          <p:cNvGrpSpPr/>
          <p:nvPr/>
        </p:nvGrpSpPr>
        <p:grpSpPr>
          <a:xfrm>
            <a:off x="0" y="5020347"/>
            <a:ext cx="12192000" cy="1837653"/>
            <a:chOff x="0" y="5020347"/>
            <a:chExt cx="12192000" cy="1837653"/>
          </a:xfrm>
        </p:grpSpPr>
        <p:sp>
          <p:nvSpPr>
            <p:cNvPr id="4469" name="Google Shape;4469;p6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70" name="Google Shape;4470;p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71" name="Google Shape;4471;p6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472" name="Google Shape;4472;p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473" name="Google Shape;4473;p64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74" name="Google Shape;4474;p64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4475"/>
        <p:cNvGrpSpPr/>
        <p:nvPr/>
      </p:nvGrpSpPr>
      <p:grpSpPr>
        <a:xfrm>
          <a:off x="0" y="0"/>
          <a:ext cx="0" cy="0"/>
          <a:chOff x="0" y="0"/>
          <a:chExt cx="0" cy="0"/>
        </a:xfrm>
      </p:grpSpPr>
      <p:grpSp>
        <p:nvGrpSpPr>
          <p:cNvPr id="4476" name="Google Shape;4476;p648"/>
          <p:cNvGrpSpPr/>
          <p:nvPr/>
        </p:nvGrpSpPr>
        <p:grpSpPr>
          <a:xfrm>
            <a:off x="7191542" y="1"/>
            <a:ext cx="5000459" cy="1425992"/>
            <a:chOff x="7191542" y="1"/>
            <a:chExt cx="5000459" cy="1425992"/>
          </a:xfrm>
        </p:grpSpPr>
        <p:pic>
          <p:nvPicPr>
            <p:cNvPr id="4477" name="Google Shape;4477;p6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8" name="Google Shape;4478;p648"/>
            <p:cNvGrpSpPr/>
            <p:nvPr/>
          </p:nvGrpSpPr>
          <p:grpSpPr>
            <a:xfrm>
              <a:off x="7191542" y="1"/>
              <a:ext cx="5000459" cy="1425992"/>
              <a:chOff x="7186272" y="0"/>
              <a:chExt cx="5005729" cy="1427495"/>
            </a:xfrm>
          </p:grpSpPr>
          <p:sp>
            <p:nvSpPr>
              <p:cNvPr id="4479" name="Google Shape;4479;p6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80" name="Google Shape;4480;p6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81" name="Google Shape;4481;p6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2" name="Google Shape;4482;p64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83" name="Google Shape;4483;p6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84" name="Google Shape;4484;p6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85" name="Google Shape;4485;p6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Divider">
  <p:cSld name="Divider 2 3">
    <p:bg>
      <p:bgPr>
        <a:solidFill>
          <a:schemeClr val="lt2"/>
        </a:solidFill>
        <a:effectLst/>
      </p:bgPr>
    </p:bg>
    <p:spTree>
      <p:nvGrpSpPr>
        <p:cNvPr id="1" name="Shape 4486"/>
        <p:cNvGrpSpPr/>
        <p:nvPr/>
      </p:nvGrpSpPr>
      <p:grpSpPr>
        <a:xfrm>
          <a:off x="0" y="0"/>
          <a:ext cx="0" cy="0"/>
          <a:chOff x="0" y="0"/>
          <a:chExt cx="0" cy="0"/>
        </a:xfrm>
      </p:grpSpPr>
      <p:grpSp>
        <p:nvGrpSpPr>
          <p:cNvPr id="4487" name="Google Shape;4487;p649"/>
          <p:cNvGrpSpPr/>
          <p:nvPr/>
        </p:nvGrpSpPr>
        <p:grpSpPr>
          <a:xfrm>
            <a:off x="0" y="5020347"/>
            <a:ext cx="12192000" cy="1837653"/>
            <a:chOff x="0" y="5020347"/>
            <a:chExt cx="12192000" cy="1837653"/>
          </a:xfrm>
        </p:grpSpPr>
        <p:sp>
          <p:nvSpPr>
            <p:cNvPr id="4488" name="Google Shape;4488;p6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89" name="Google Shape;4489;p6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0" name="Google Shape;4490;p6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491" name="Google Shape;4491;p6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492" name="Google Shape;4492;p6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93" name="Google Shape;4493;p6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89"/>
        <p:cNvGrpSpPr/>
        <p:nvPr/>
      </p:nvGrpSpPr>
      <p:grpSpPr>
        <a:xfrm>
          <a:off x="0" y="0"/>
          <a:ext cx="0" cy="0"/>
          <a:chOff x="0" y="0"/>
          <a:chExt cx="0" cy="0"/>
        </a:xfrm>
      </p:grpSpPr>
      <p:sp>
        <p:nvSpPr>
          <p:cNvPr id="490" name="Google Shape;490;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1" name="Google Shape;491;p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92" name="Google Shape;492;p102"/>
          <p:cNvGrpSpPr/>
          <p:nvPr/>
        </p:nvGrpSpPr>
        <p:grpSpPr>
          <a:xfrm>
            <a:off x="7191542" y="1"/>
            <a:ext cx="5000459" cy="1425992"/>
            <a:chOff x="7191542" y="1"/>
            <a:chExt cx="5000459" cy="1425992"/>
          </a:xfrm>
        </p:grpSpPr>
        <p:pic>
          <p:nvPicPr>
            <p:cNvPr id="493" name="Google Shape;493;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4" name="Google Shape;494;p102"/>
            <p:cNvGrpSpPr/>
            <p:nvPr/>
          </p:nvGrpSpPr>
          <p:grpSpPr>
            <a:xfrm>
              <a:off x="7191542" y="1"/>
              <a:ext cx="5000459" cy="1425992"/>
              <a:chOff x="7186272" y="0"/>
              <a:chExt cx="5005729" cy="1427495"/>
            </a:xfrm>
          </p:grpSpPr>
          <p:sp>
            <p:nvSpPr>
              <p:cNvPr id="495" name="Google Shape;495;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7" name="Google Shape;497;p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8" name="Google Shape;498;p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9" name="Google Shape;499;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 name="Google Shape;500;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Title and Content">
  <p:cSld name="Title and Content 6 2">
    <p:spTree>
      <p:nvGrpSpPr>
        <p:cNvPr id="1" name="Shape 4494"/>
        <p:cNvGrpSpPr/>
        <p:nvPr/>
      </p:nvGrpSpPr>
      <p:grpSpPr>
        <a:xfrm>
          <a:off x="0" y="0"/>
          <a:ext cx="0" cy="0"/>
          <a:chOff x="0" y="0"/>
          <a:chExt cx="0" cy="0"/>
        </a:xfrm>
      </p:grpSpPr>
      <p:grpSp>
        <p:nvGrpSpPr>
          <p:cNvPr id="4495" name="Google Shape;4495;p650"/>
          <p:cNvGrpSpPr/>
          <p:nvPr/>
        </p:nvGrpSpPr>
        <p:grpSpPr>
          <a:xfrm>
            <a:off x="7191542" y="1"/>
            <a:ext cx="5000459" cy="1425992"/>
            <a:chOff x="7191542" y="1"/>
            <a:chExt cx="5000459" cy="1425992"/>
          </a:xfrm>
        </p:grpSpPr>
        <p:pic>
          <p:nvPicPr>
            <p:cNvPr id="4496" name="Google Shape;4496;p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97" name="Google Shape;4497;p650"/>
            <p:cNvGrpSpPr/>
            <p:nvPr/>
          </p:nvGrpSpPr>
          <p:grpSpPr>
            <a:xfrm>
              <a:off x="7191542" y="1"/>
              <a:ext cx="5000459" cy="1425992"/>
              <a:chOff x="7186272" y="0"/>
              <a:chExt cx="5005729" cy="1427495"/>
            </a:xfrm>
          </p:grpSpPr>
          <p:sp>
            <p:nvSpPr>
              <p:cNvPr id="4498" name="Google Shape;4498;p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99" name="Google Shape;4499;p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00" name="Google Shape;4500;p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1" name="Google Shape;4501;p65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02" name="Google Shape;4502;p6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03" name="Google Shape;4503;p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04" name="Google Shape;4504;p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Title and Content">
  <p:cSld name="Title and Content 7 2">
    <p:spTree>
      <p:nvGrpSpPr>
        <p:cNvPr id="1" name="Shape 4505"/>
        <p:cNvGrpSpPr/>
        <p:nvPr/>
      </p:nvGrpSpPr>
      <p:grpSpPr>
        <a:xfrm>
          <a:off x="0" y="0"/>
          <a:ext cx="0" cy="0"/>
          <a:chOff x="0" y="0"/>
          <a:chExt cx="0" cy="0"/>
        </a:xfrm>
      </p:grpSpPr>
      <p:grpSp>
        <p:nvGrpSpPr>
          <p:cNvPr id="4506" name="Google Shape;4506;p651"/>
          <p:cNvGrpSpPr/>
          <p:nvPr/>
        </p:nvGrpSpPr>
        <p:grpSpPr>
          <a:xfrm>
            <a:off x="7191542" y="1"/>
            <a:ext cx="5000459" cy="1425992"/>
            <a:chOff x="7191542" y="1"/>
            <a:chExt cx="5000459" cy="1425992"/>
          </a:xfrm>
        </p:grpSpPr>
        <p:pic>
          <p:nvPicPr>
            <p:cNvPr id="4507" name="Google Shape;4507;p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08" name="Google Shape;4508;p651"/>
            <p:cNvGrpSpPr/>
            <p:nvPr/>
          </p:nvGrpSpPr>
          <p:grpSpPr>
            <a:xfrm>
              <a:off x="7191542" y="1"/>
              <a:ext cx="5000459" cy="1425992"/>
              <a:chOff x="7186272" y="0"/>
              <a:chExt cx="5005729" cy="1427495"/>
            </a:xfrm>
          </p:grpSpPr>
          <p:sp>
            <p:nvSpPr>
              <p:cNvPr id="4509" name="Google Shape;4509;p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10" name="Google Shape;4510;p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11" name="Google Shape;4511;p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2" name="Google Shape;4512;p6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13" name="Google Shape;4513;p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14" name="Google Shape;4514;p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5" name="Google Shape;4515;p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Cover">
  <p:cSld name="Cover 2 2">
    <p:spTree>
      <p:nvGrpSpPr>
        <p:cNvPr id="1" name="Shape 4516"/>
        <p:cNvGrpSpPr/>
        <p:nvPr/>
      </p:nvGrpSpPr>
      <p:grpSpPr>
        <a:xfrm>
          <a:off x="0" y="0"/>
          <a:ext cx="0" cy="0"/>
          <a:chOff x="0" y="0"/>
          <a:chExt cx="0" cy="0"/>
        </a:xfrm>
      </p:grpSpPr>
      <p:sp>
        <p:nvSpPr>
          <p:cNvPr id="4517" name="Google Shape;4517;p6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18" name="Google Shape;4518;p6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9" name="Google Shape;4519;p6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20" name="Google Shape;4520;p652"/>
          <p:cNvSpPr>
            <a:spLocks noGrp="1"/>
          </p:cNvSpPr>
          <p:nvPr>
            <p:ph type="pic" idx="2"/>
          </p:nvPr>
        </p:nvSpPr>
        <p:spPr>
          <a:xfrm>
            <a:off x="7118684" y="233915"/>
            <a:ext cx="5073316" cy="5943600"/>
          </a:xfrm>
          <a:prstGeom prst="rect">
            <a:avLst/>
          </a:prstGeom>
          <a:noFill/>
          <a:ln>
            <a:noFill/>
          </a:ln>
        </p:spPr>
      </p:sp>
      <p:grpSp>
        <p:nvGrpSpPr>
          <p:cNvPr id="4521" name="Google Shape;4521;p652"/>
          <p:cNvGrpSpPr/>
          <p:nvPr/>
        </p:nvGrpSpPr>
        <p:grpSpPr>
          <a:xfrm>
            <a:off x="0" y="5020348"/>
            <a:ext cx="12192000" cy="1837653"/>
            <a:chOff x="0" y="5020348"/>
            <a:chExt cx="12192000" cy="1837653"/>
          </a:xfrm>
        </p:grpSpPr>
        <p:sp>
          <p:nvSpPr>
            <p:cNvPr id="4522" name="Google Shape;4522;p6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23" name="Google Shape;4523;p6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24" name="Google Shape;4524;p6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4525"/>
        <p:cNvGrpSpPr/>
        <p:nvPr/>
      </p:nvGrpSpPr>
      <p:grpSpPr>
        <a:xfrm>
          <a:off x="0" y="0"/>
          <a:ext cx="0" cy="0"/>
          <a:chOff x="0" y="0"/>
          <a:chExt cx="0" cy="0"/>
        </a:xfrm>
      </p:grpSpPr>
      <p:grpSp>
        <p:nvGrpSpPr>
          <p:cNvPr id="4526" name="Google Shape;4526;p653"/>
          <p:cNvGrpSpPr/>
          <p:nvPr/>
        </p:nvGrpSpPr>
        <p:grpSpPr>
          <a:xfrm>
            <a:off x="0" y="5020347"/>
            <a:ext cx="12192000" cy="1837653"/>
            <a:chOff x="0" y="5020347"/>
            <a:chExt cx="12192000" cy="1837653"/>
          </a:xfrm>
        </p:grpSpPr>
        <p:sp>
          <p:nvSpPr>
            <p:cNvPr id="4527" name="Google Shape;4527;p6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28" name="Google Shape;4528;p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29" name="Google Shape;4529;p6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30" name="Google Shape;4530;p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531" name="Google Shape;4531;p6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32" name="Google Shape;4532;p6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Photo Slide">
  <p:cSld name="Photo Slide 2 2">
    <p:spTree>
      <p:nvGrpSpPr>
        <p:cNvPr id="1" name="Shape 4533"/>
        <p:cNvGrpSpPr/>
        <p:nvPr/>
      </p:nvGrpSpPr>
      <p:grpSpPr>
        <a:xfrm>
          <a:off x="0" y="0"/>
          <a:ext cx="0" cy="0"/>
          <a:chOff x="0" y="0"/>
          <a:chExt cx="0" cy="0"/>
        </a:xfrm>
      </p:grpSpPr>
      <p:sp>
        <p:nvSpPr>
          <p:cNvPr id="4534" name="Google Shape;4534;p6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535" name="Google Shape;4535;p6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536" name="Google Shape;4536;p654"/>
          <p:cNvGrpSpPr/>
          <p:nvPr/>
        </p:nvGrpSpPr>
        <p:grpSpPr>
          <a:xfrm>
            <a:off x="0" y="5379426"/>
            <a:ext cx="2807368" cy="753891"/>
            <a:chOff x="0" y="5379426"/>
            <a:chExt cx="2807368" cy="753891"/>
          </a:xfrm>
        </p:grpSpPr>
        <p:sp>
          <p:nvSpPr>
            <p:cNvPr id="4537" name="Google Shape;4537;p6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38" name="Google Shape;4538;p6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539" name="Google Shape;4539;p654"/>
          <p:cNvSpPr>
            <a:spLocks noGrp="1"/>
          </p:cNvSpPr>
          <p:nvPr>
            <p:ph type="pic" idx="2"/>
          </p:nvPr>
        </p:nvSpPr>
        <p:spPr>
          <a:xfrm>
            <a:off x="2807368" y="457202"/>
            <a:ext cx="8915400" cy="5943598"/>
          </a:xfrm>
          <a:prstGeom prst="rect">
            <a:avLst/>
          </a:prstGeom>
          <a:noFill/>
          <a:ln>
            <a:noFill/>
          </a:ln>
        </p:spPr>
      </p:sp>
      <p:pic>
        <p:nvPicPr>
          <p:cNvPr id="4540" name="Google Shape;4540;p6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4541"/>
        <p:cNvGrpSpPr/>
        <p:nvPr/>
      </p:nvGrpSpPr>
      <p:grpSpPr>
        <a:xfrm>
          <a:off x="0" y="0"/>
          <a:ext cx="0" cy="0"/>
          <a:chOff x="0" y="0"/>
          <a:chExt cx="0" cy="0"/>
        </a:xfrm>
      </p:grpSpPr>
      <p:sp>
        <p:nvSpPr>
          <p:cNvPr id="4542" name="Google Shape;4542;p6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3" name="Google Shape;4543;p6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44" name="Google Shape;4544;p6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45" name="Google Shape;4545;p6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46" name="Google Shape;4546;p6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7" name="Google Shape;4547;p6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548" name="Google Shape;4548;p655"/>
          <p:cNvGrpSpPr/>
          <p:nvPr/>
        </p:nvGrpSpPr>
        <p:grpSpPr>
          <a:xfrm>
            <a:off x="7191542" y="1"/>
            <a:ext cx="5000459" cy="1425992"/>
            <a:chOff x="7191542" y="1"/>
            <a:chExt cx="5000459" cy="1425992"/>
          </a:xfrm>
        </p:grpSpPr>
        <p:pic>
          <p:nvPicPr>
            <p:cNvPr id="4549" name="Google Shape;4549;p6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50" name="Google Shape;4550;p655"/>
            <p:cNvGrpSpPr/>
            <p:nvPr/>
          </p:nvGrpSpPr>
          <p:grpSpPr>
            <a:xfrm>
              <a:off x="7191542" y="1"/>
              <a:ext cx="5000459" cy="1425992"/>
              <a:chOff x="7186272" y="0"/>
              <a:chExt cx="5005729" cy="1427495"/>
            </a:xfrm>
          </p:grpSpPr>
          <p:sp>
            <p:nvSpPr>
              <p:cNvPr id="4551" name="Google Shape;4551;p6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52" name="Google Shape;4552;p6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553" name="Google Shape;4553;p6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4554"/>
        <p:cNvGrpSpPr/>
        <p:nvPr/>
      </p:nvGrpSpPr>
      <p:grpSpPr>
        <a:xfrm>
          <a:off x="0" y="0"/>
          <a:ext cx="0" cy="0"/>
          <a:chOff x="0" y="0"/>
          <a:chExt cx="0" cy="0"/>
        </a:xfrm>
      </p:grpSpPr>
      <p:sp>
        <p:nvSpPr>
          <p:cNvPr id="4555" name="Google Shape;4555;p6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56" name="Google Shape;4556;p6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57" name="Google Shape;4557;p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58" name="Google Shape;4558;p6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59" name="Google Shape;4559;p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60" name="Google Shape;4560;p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561" name="Google Shape;4561;p656"/>
          <p:cNvGrpSpPr/>
          <p:nvPr/>
        </p:nvGrpSpPr>
        <p:grpSpPr>
          <a:xfrm>
            <a:off x="7191542" y="1"/>
            <a:ext cx="5000459" cy="1425992"/>
            <a:chOff x="7191542" y="1"/>
            <a:chExt cx="5000459" cy="1425992"/>
          </a:xfrm>
        </p:grpSpPr>
        <p:pic>
          <p:nvPicPr>
            <p:cNvPr id="4562" name="Google Shape;4562;p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63" name="Google Shape;4563;p656"/>
            <p:cNvGrpSpPr/>
            <p:nvPr/>
          </p:nvGrpSpPr>
          <p:grpSpPr>
            <a:xfrm>
              <a:off x="7191542" y="1"/>
              <a:ext cx="5000459" cy="1425992"/>
              <a:chOff x="7186272" y="0"/>
              <a:chExt cx="5005729" cy="1427495"/>
            </a:xfrm>
          </p:grpSpPr>
          <p:sp>
            <p:nvSpPr>
              <p:cNvPr id="4564" name="Google Shape;4564;p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65" name="Google Shape;4565;p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566" name="Google Shape;4566;p65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4567"/>
        <p:cNvGrpSpPr/>
        <p:nvPr/>
      </p:nvGrpSpPr>
      <p:grpSpPr>
        <a:xfrm>
          <a:off x="0" y="0"/>
          <a:ext cx="0" cy="0"/>
          <a:chOff x="0" y="0"/>
          <a:chExt cx="0" cy="0"/>
        </a:xfrm>
      </p:grpSpPr>
      <p:grpSp>
        <p:nvGrpSpPr>
          <p:cNvPr id="4568" name="Google Shape;4568;p657"/>
          <p:cNvGrpSpPr/>
          <p:nvPr/>
        </p:nvGrpSpPr>
        <p:grpSpPr>
          <a:xfrm>
            <a:off x="7191542" y="1"/>
            <a:ext cx="5000459" cy="1425992"/>
            <a:chOff x="7191542" y="1"/>
            <a:chExt cx="5000459" cy="1425992"/>
          </a:xfrm>
        </p:grpSpPr>
        <p:pic>
          <p:nvPicPr>
            <p:cNvPr id="4569" name="Google Shape;4569;p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70" name="Google Shape;4570;p657"/>
            <p:cNvGrpSpPr/>
            <p:nvPr/>
          </p:nvGrpSpPr>
          <p:grpSpPr>
            <a:xfrm>
              <a:off x="7191542" y="1"/>
              <a:ext cx="5000459" cy="1425992"/>
              <a:chOff x="7186272" y="0"/>
              <a:chExt cx="5005729" cy="1427495"/>
            </a:xfrm>
          </p:grpSpPr>
          <p:sp>
            <p:nvSpPr>
              <p:cNvPr id="4571" name="Google Shape;4571;p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72" name="Google Shape;4572;p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73" name="Google Shape;4573;p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74" name="Google Shape;4574;p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75" name="Google Shape;4575;p6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76" name="Google Shape;4576;p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77" name="Google Shape;4577;p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Two Content">
  <p:cSld name="Two Content 2 2">
    <p:spTree>
      <p:nvGrpSpPr>
        <p:cNvPr id="1" name="Shape 4578"/>
        <p:cNvGrpSpPr/>
        <p:nvPr/>
      </p:nvGrpSpPr>
      <p:grpSpPr>
        <a:xfrm>
          <a:off x="0" y="0"/>
          <a:ext cx="0" cy="0"/>
          <a:chOff x="0" y="0"/>
          <a:chExt cx="0" cy="0"/>
        </a:xfrm>
      </p:grpSpPr>
      <p:sp>
        <p:nvSpPr>
          <p:cNvPr id="4579" name="Google Shape;4579;p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80" name="Google Shape;4580;p65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81" name="Google Shape;4581;p658"/>
          <p:cNvGrpSpPr/>
          <p:nvPr/>
        </p:nvGrpSpPr>
        <p:grpSpPr>
          <a:xfrm>
            <a:off x="7191542" y="1"/>
            <a:ext cx="5000459" cy="1425992"/>
            <a:chOff x="7191542" y="1"/>
            <a:chExt cx="5000459" cy="1425992"/>
          </a:xfrm>
        </p:grpSpPr>
        <p:pic>
          <p:nvPicPr>
            <p:cNvPr id="4582" name="Google Shape;4582;p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83" name="Google Shape;4583;p658"/>
            <p:cNvGrpSpPr/>
            <p:nvPr/>
          </p:nvGrpSpPr>
          <p:grpSpPr>
            <a:xfrm>
              <a:off x="7191542" y="1"/>
              <a:ext cx="5000459" cy="1425992"/>
              <a:chOff x="7186272" y="0"/>
              <a:chExt cx="5005729" cy="1427495"/>
            </a:xfrm>
          </p:grpSpPr>
          <p:sp>
            <p:nvSpPr>
              <p:cNvPr id="4584" name="Google Shape;4584;p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85" name="Google Shape;4585;p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86" name="Google Shape;4586;p65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87" name="Google Shape;4587;p65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88" name="Google Shape;4588;p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89" name="Google Shape;4589;p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4590"/>
        <p:cNvGrpSpPr/>
        <p:nvPr/>
      </p:nvGrpSpPr>
      <p:grpSpPr>
        <a:xfrm>
          <a:off x="0" y="0"/>
          <a:ext cx="0" cy="0"/>
          <a:chOff x="0" y="0"/>
          <a:chExt cx="0" cy="0"/>
        </a:xfrm>
      </p:grpSpPr>
      <p:grpSp>
        <p:nvGrpSpPr>
          <p:cNvPr id="4591" name="Google Shape;4591;p659"/>
          <p:cNvGrpSpPr/>
          <p:nvPr/>
        </p:nvGrpSpPr>
        <p:grpSpPr>
          <a:xfrm>
            <a:off x="7191542" y="1"/>
            <a:ext cx="5000459" cy="1425992"/>
            <a:chOff x="7191542" y="1"/>
            <a:chExt cx="5000459" cy="1425992"/>
          </a:xfrm>
        </p:grpSpPr>
        <p:pic>
          <p:nvPicPr>
            <p:cNvPr id="4592" name="Google Shape;4592;p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93" name="Google Shape;4593;p659"/>
            <p:cNvGrpSpPr/>
            <p:nvPr/>
          </p:nvGrpSpPr>
          <p:grpSpPr>
            <a:xfrm>
              <a:off x="7191542" y="1"/>
              <a:ext cx="5000459" cy="1425992"/>
              <a:chOff x="7186272" y="0"/>
              <a:chExt cx="5005729" cy="1427495"/>
            </a:xfrm>
          </p:grpSpPr>
          <p:sp>
            <p:nvSpPr>
              <p:cNvPr id="4594" name="Google Shape;4594;p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95" name="Google Shape;4595;p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596" name="Google Shape;4596;p6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97" name="Google Shape;4597;p65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598" name="Google Shape;4598;p65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99" name="Google Shape;4599;p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600" name="Google Shape;4600;p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01" name="Google Shape;4601;p6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02" name="Google Shape;4602;p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03" name="Google Shape;4603;p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01"/>
        <p:cNvGrpSpPr/>
        <p:nvPr/>
      </p:nvGrpSpPr>
      <p:grpSpPr>
        <a:xfrm>
          <a:off x="0" y="0"/>
          <a:ext cx="0" cy="0"/>
          <a:chOff x="0" y="0"/>
          <a:chExt cx="0" cy="0"/>
        </a:xfrm>
      </p:grpSpPr>
      <p:grpSp>
        <p:nvGrpSpPr>
          <p:cNvPr id="502" name="Google Shape;502;p103"/>
          <p:cNvGrpSpPr/>
          <p:nvPr/>
        </p:nvGrpSpPr>
        <p:grpSpPr>
          <a:xfrm>
            <a:off x="7191542" y="1"/>
            <a:ext cx="5000459" cy="1425992"/>
            <a:chOff x="7191542" y="1"/>
            <a:chExt cx="5000459" cy="1425992"/>
          </a:xfrm>
        </p:grpSpPr>
        <p:pic>
          <p:nvPicPr>
            <p:cNvPr id="503" name="Google Shape;503;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103"/>
            <p:cNvGrpSpPr/>
            <p:nvPr/>
          </p:nvGrpSpPr>
          <p:grpSpPr>
            <a:xfrm>
              <a:off x="7191542" y="1"/>
              <a:ext cx="5000459" cy="1425992"/>
              <a:chOff x="7186272" y="0"/>
              <a:chExt cx="5005729" cy="1427495"/>
            </a:xfrm>
          </p:grpSpPr>
          <p:sp>
            <p:nvSpPr>
              <p:cNvPr id="505" name="Google Shape;505;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6" name="Google Shape;506;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7" name="Google Shape;507;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8" name="Google Shape;508;p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9" name="Google Shape;509;p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0" name="Google Shape;510;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1" name="Google Shape;511;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 name="Google Shape;512;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3" name="Google Shape;513;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 name="Google Shape;514;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604"/>
        <p:cNvGrpSpPr/>
        <p:nvPr/>
      </p:nvGrpSpPr>
      <p:grpSpPr>
        <a:xfrm>
          <a:off x="0" y="0"/>
          <a:ext cx="0" cy="0"/>
          <a:chOff x="0" y="0"/>
          <a:chExt cx="0" cy="0"/>
        </a:xfrm>
      </p:grpSpPr>
      <p:grpSp>
        <p:nvGrpSpPr>
          <p:cNvPr id="4605" name="Google Shape;4605;p660"/>
          <p:cNvGrpSpPr/>
          <p:nvPr/>
        </p:nvGrpSpPr>
        <p:grpSpPr>
          <a:xfrm>
            <a:off x="7191542" y="1"/>
            <a:ext cx="5000459" cy="1425992"/>
            <a:chOff x="7191542" y="1"/>
            <a:chExt cx="5000459" cy="1425992"/>
          </a:xfrm>
        </p:grpSpPr>
        <p:pic>
          <p:nvPicPr>
            <p:cNvPr id="4606" name="Google Shape;4606;p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7" name="Google Shape;4607;p660"/>
            <p:cNvGrpSpPr/>
            <p:nvPr/>
          </p:nvGrpSpPr>
          <p:grpSpPr>
            <a:xfrm>
              <a:off x="7191542" y="1"/>
              <a:ext cx="5000459" cy="1425992"/>
              <a:chOff x="7186272" y="0"/>
              <a:chExt cx="5005729" cy="1427495"/>
            </a:xfrm>
          </p:grpSpPr>
          <p:sp>
            <p:nvSpPr>
              <p:cNvPr id="4608" name="Google Shape;4608;p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09" name="Google Shape;4609;p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610" name="Google Shape;4610;p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11" name="Google Shape;4611;p6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12" name="Google Shape;4612;p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13" name="Google Shape;4613;p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4614"/>
        <p:cNvGrpSpPr/>
        <p:nvPr/>
      </p:nvGrpSpPr>
      <p:grpSpPr>
        <a:xfrm>
          <a:off x="0" y="0"/>
          <a:ext cx="0" cy="0"/>
          <a:chOff x="0" y="0"/>
          <a:chExt cx="0" cy="0"/>
        </a:xfrm>
      </p:grpSpPr>
      <p:grpSp>
        <p:nvGrpSpPr>
          <p:cNvPr id="4615" name="Google Shape;4615;p661"/>
          <p:cNvGrpSpPr/>
          <p:nvPr/>
        </p:nvGrpSpPr>
        <p:grpSpPr>
          <a:xfrm>
            <a:off x="0" y="0"/>
            <a:ext cx="12192000" cy="2148830"/>
            <a:chOff x="0" y="0"/>
            <a:chExt cx="12192000" cy="2148830"/>
          </a:xfrm>
        </p:grpSpPr>
        <p:sp>
          <p:nvSpPr>
            <p:cNvPr id="4616" name="Google Shape;4616;p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17" name="Google Shape;4617;p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618" name="Google Shape;4618;p66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19" name="Google Shape;4619;p66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20" name="Google Shape;4620;p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21" name="Google Shape;4621;p66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622" name="Google Shape;4622;p66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4623"/>
        <p:cNvGrpSpPr/>
        <p:nvPr/>
      </p:nvGrpSpPr>
      <p:grpSpPr>
        <a:xfrm>
          <a:off x="0" y="0"/>
          <a:ext cx="0" cy="0"/>
          <a:chOff x="0" y="0"/>
          <a:chExt cx="0" cy="0"/>
        </a:xfrm>
      </p:grpSpPr>
      <p:sp>
        <p:nvSpPr>
          <p:cNvPr id="4624" name="Google Shape;4624;p6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25" name="Google Shape;4625;p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26" name="Google Shape;4626;p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627" name="Google Shape;4627;p662"/>
          <p:cNvGrpSpPr/>
          <p:nvPr/>
        </p:nvGrpSpPr>
        <p:grpSpPr>
          <a:xfrm>
            <a:off x="7191542" y="1"/>
            <a:ext cx="5000459" cy="1425992"/>
            <a:chOff x="7191542" y="1"/>
            <a:chExt cx="5000459" cy="1425992"/>
          </a:xfrm>
        </p:grpSpPr>
        <p:pic>
          <p:nvPicPr>
            <p:cNvPr id="4628" name="Google Shape;4628;p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29" name="Google Shape;4629;p662"/>
            <p:cNvGrpSpPr/>
            <p:nvPr/>
          </p:nvGrpSpPr>
          <p:grpSpPr>
            <a:xfrm>
              <a:off x="7191542" y="1"/>
              <a:ext cx="5000459" cy="1425992"/>
              <a:chOff x="7186272" y="0"/>
              <a:chExt cx="5005729" cy="1427495"/>
            </a:xfrm>
          </p:grpSpPr>
          <p:sp>
            <p:nvSpPr>
              <p:cNvPr id="4630" name="Google Shape;4630;p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31" name="Google Shape;4631;p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Quotation">
  <p:cSld name="Quotation 2 2">
    <p:spTree>
      <p:nvGrpSpPr>
        <p:cNvPr id="1" name="Shape 4632"/>
        <p:cNvGrpSpPr/>
        <p:nvPr/>
      </p:nvGrpSpPr>
      <p:grpSpPr>
        <a:xfrm>
          <a:off x="0" y="0"/>
          <a:ext cx="0" cy="0"/>
          <a:chOff x="0" y="0"/>
          <a:chExt cx="0" cy="0"/>
        </a:xfrm>
      </p:grpSpPr>
      <p:sp>
        <p:nvSpPr>
          <p:cNvPr id="4633" name="Google Shape;4633;p6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34" name="Google Shape;4634;p6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5" name="Google Shape;4635;p6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36" name="Google Shape;4636;p6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37" name="Google Shape;4637;p6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38" name="Google Shape;4638;p6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639" name="Google Shape;4639;p663"/>
          <p:cNvGrpSpPr/>
          <p:nvPr/>
        </p:nvGrpSpPr>
        <p:grpSpPr>
          <a:xfrm>
            <a:off x="7191542" y="1"/>
            <a:ext cx="5000459" cy="1425992"/>
            <a:chOff x="7191542" y="1"/>
            <a:chExt cx="5000459" cy="1425992"/>
          </a:xfrm>
        </p:grpSpPr>
        <p:pic>
          <p:nvPicPr>
            <p:cNvPr id="4640" name="Google Shape;4640;p6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41" name="Google Shape;4641;p663"/>
            <p:cNvGrpSpPr/>
            <p:nvPr/>
          </p:nvGrpSpPr>
          <p:grpSpPr>
            <a:xfrm>
              <a:off x="7191542" y="1"/>
              <a:ext cx="5000459" cy="1425992"/>
              <a:chOff x="7186272" y="0"/>
              <a:chExt cx="5005729" cy="1427495"/>
            </a:xfrm>
          </p:grpSpPr>
          <p:sp>
            <p:nvSpPr>
              <p:cNvPr id="4642" name="Google Shape;4642;p6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43" name="Google Shape;4643;p6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44" name="Google Shape;4644;p6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Quotation">
  <p:cSld name="Quotation 2 3">
    <p:spTree>
      <p:nvGrpSpPr>
        <p:cNvPr id="1" name="Shape 4645"/>
        <p:cNvGrpSpPr/>
        <p:nvPr/>
      </p:nvGrpSpPr>
      <p:grpSpPr>
        <a:xfrm>
          <a:off x="0" y="0"/>
          <a:ext cx="0" cy="0"/>
          <a:chOff x="0" y="0"/>
          <a:chExt cx="0" cy="0"/>
        </a:xfrm>
      </p:grpSpPr>
      <p:sp>
        <p:nvSpPr>
          <p:cNvPr id="4646" name="Google Shape;4646;p6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47" name="Google Shape;4647;p6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48" name="Google Shape;4648;p6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9" name="Google Shape;4649;p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50" name="Google Shape;4650;p6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51" name="Google Shape;4651;p6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652" name="Google Shape;4652;p664"/>
          <p:cNvGrpSpPr/>
          <p:nvPr/>
        </p:nvGrpSpPr>
        <p:grpSpPr>
          <a:xfrm>
            <a:off x="7191542" y="1"/>
            <a:ext cx="5000459" cy="1425992"/>
            <a:chOff x="7191542" y="1"/>
            <a:chExt cx="5000459" cy="1425992"/>
          </a:xfrm>
        </p:grpSpPr>
        <p:pic>
          <p:nvPicPr>
            <p:cNvPr id="4653" name="Google Shape;4653;p6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54" name="Google Shape;4654;p664"/>
            <p:cNvGrpSpPr/>
            <p:nvPr/>
          </p:nvGrpSpPr>
          <p:grpSpPr>
            <a:xfrm>
              <a:off x="7191542" y="1"/>
              <a:ext cx="5000459" cy="1425992"/>
              <a:chOff x="7186272" y="0"/>
              <a:chExt cx="5005729" cy="1427495"/>
            </a:xfrm>
          </p:grpSpPr>
          <p:sp>
            <p:nvSpPr>
              <p:cNvPr id="4655" name="Google Shape;4655;p6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56" name="Google Shape;4656;p6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57" name="Google Shape;4657;p6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Cover">
  <p:cSld name="Cover 2 3">
    <p:spTree>
      <p:nvGrpSpPr>
        <p:cNvPr id="1" name="Shape 4658"/>
        <p:cNvGrpSpPr/>
        <p:nvPr/>
      </p:nvGrpSpPr>
      <p:grpSpPr>
        <a:xfrm>
          <a:off x="0" y="0"/>
          <a:ext cx="0" cy="0"/>
          <a:chOff x="0" y="0"/>
          <a:chExt cx="0" cy="0"/>
        </a:xfrm>
      </p:grpSpPr>
      <p:sp>
        <p:nvSpPr>
          <p:cNvPr id="4659" name="Google Shape;4659;p66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60" name="Google Shape;4660;p66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61" name="Google Shape;4661;p66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662" name="Google Shape;4662;p665"/>
          <p:cNvSpPr>
            <a:spLocks noGrp="1"/>
          </p:cNvSpPr>
          <p:nvPr>
            <p:ph type="pic" idx="2"/>
          </p:nvPr>
        </p:nvSpPr>
        <p:spPr>
          <a:xfrm>
            <a:off x="7118684" y="233915"/>
            <a:ext cx="5073316" cy="5943600"/>
          </a:xfrm>
          <a:prstGeom prst="rect">
            <a:avLst/>
          </a:prstGeom>
          <a:noFill/>
          <a:ln>
            <a:noFill/>
          </a:ln>
        </p:spPr>
      </p:sp>
      <p:grpSp>
        <p:nvGrpSpPr>
          <p:cNvPr id="4663" name="Google Shape;4663;p665"/>
          <p:cNvGrpSpPr/>
          <p:nvPr/>
        </p:nvGrpSpPr>
        <p:grpSpPr>
          <a:xfrm>
            <a:off x="0" y="5020348"/>
            <a:ext cx="12192000" cy="1837653"/>
            <a:chOff x="0" y="5020348"/>
            <a:chExt cx="12192000" cy="1837653"/>
          </a:xfrm>
        </p:grpSpPr>
        <p:sp>
          <p:nvSpPr>
            <p:cNvPr id="4664" name="Google Shape;4664;p6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65" name="Google Shape;4665;p66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66" name="Google Shape;4666;p6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Divider">
  <p:cSld name="Divider 3 2">
    <p:bg>
      <p:bgPr>
        <a:solidFill>
          <a:schemeClr val="lt2"/>
        </a:solidFill>
        <a:effectLst/>
      </p:bgPr>
    </p:bg>
    <p:spTree>
      <p:nvGrpSpPr>
        <p:cNvPr id="1" name="Shape 4667"/>
        <p:cNvGrpSpPr/>
        <p:nvPr/>
      </p:nvGrpSpPr>
      <p:grpSpPr>
        <a:xfrm>
          <a:off x="0" y="0"/>
          <a:ext cx="0" cy="0"/>
          <a:chOff x="0" y="0"/>
          <a:chExt cx="0" cy="0"/>
        </a:xfrm>
      </p:grpSpPr>
      <p:grpSp>
        <p:nvGrpSpPr>
          <p:cNvPr id="4668" name="Google Shape;4668;p666"/>
          <p:cNvGrpSpPr/>
          <p:nvPr/>
        </p:nvGrpSpPr>
        <p:grpSpPr>
          <a:xfrm>
            <a:off x="0" y="5020347"/>
            <a:ext cx="12192000" cy="1837653"/>
            <a:chOff x="0" y="5020347"/>
            <a:chExt cx="12192000" cy="1837653"/>
          </a:xfrm>
        </p:grpSpPr>
        <p:sp>
          <p:nvSpPr>
            <p:cNvPr id="4669" name="Google Shape;4669;p66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70" name="Google Shape;4670;p6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71" name="Google Shape;4671;p66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72" name="Google Shape;4672;p6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673" name="Google Shape;4673;p66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74" name="Google Shape;4674;p66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Photo Slide">
  <p:cSld name="Photo Slide 2 3">
    <p:spTree>
      <p:nvGrpSpPr>
        <p:cNvPr id="1" name="Shape 4675"/>
        <p:cNvGrpSpPr/>
        <p:nvPr/>
      </p:nvGrpSpPr>
      <p:grpSpPr>
        <a:xfrm>
          <a:off x="0" y="0"/>
          <a:ext cx="0" cy="0"/>
          <a:chOff x="0" y="0"/>
          <a:chExt cx="0" cy="0"/>
        </a:xfrm>
      </p:grpSpPr>
      <p:sp>
        <p:nvSpPr>
          <p:cNvPr id="4676" name="Google Shape;4676;p66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77" name="Google Shape;4677;p6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8" name="Google Shape;4678;p667"/>
          <p:cNvGrpSpPr/>
          <p:nvPr/>
        </p:nvGrpSpPr>
        <p:grpSpPr>
          <a:xfrm>
            <a:off x="0" y="5379426"/>
            <a:ext cx="2807368" cy="753891"/>
            <a:chOff x="0" y="5379426"/>
            <a:chExt cx="2807368" cy="753891"/>
          </a:xfrm>
        </p:grpSpPr>
        <p:sp>
          <p:nvSpPr>
            <p:cNvPr id="4679" name="Google Shape;4679;p6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80" name="Google Shape;4680;p6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681" name="Google Shape;4681;p667"/>
          <p:cNvSpPr>
            <a:spLocks noGrp="1"/>
          </p:cNvSpPr>
          <p:nvPr>
            <p:ph type="pic" idx="2"/>
          </p:nvPr>
        </p:nvSpPr>
        <p:spPr>
          <a:xfrm>
            <a:off x="2807368" y="457202"/>
            <a:ext cx="8915400" cy="5943598"/>
          </a:xfrm>
          <a:prstGeom prst="rect">
            <a:avLst/>
          </a:prstGeom>
          <a:noFill/>
          <a:ln>
            <a:noFill/>
          </a:ln>
        </p:spPr>
      </p:sp>
      <p:pic>
        <p:nvPicPr>
          <p:cNvPr id="4682" name="Google Shape;4682;p66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4683"/>
        <p:cNvGrpSpPr/>
        <p:nvPr/>
      </p:nvGrpSpPr>
      <p:grpSpPr>
        <a:xfrm>
          <a:off x="0" y="0"/>
          <a:ext cx="0" cy="0"/>
          <a:chOff x="0" y="0"/>
          <a:chExt cx="0" cy="0"/>
        </a:xfrm>
      </p:grpSpPr>
      <p:sp>
        <p:nvSpPr>
          <p:cNvPr id="4684" name="Google Shape;4684;p6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85" name="Google Shape;4685;p6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86" name="Google Shape;4686;p6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87" name="Google Shape;4687;p6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88" name="Google Shape;4688;p6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89" name="Google Shape;4689;p6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690" name="Google Shape;4690;p668"/>
          <p:cNvGrpSpPr/>
          <p:nvPr/>
        </p:nvGrpSpPr>
        <p:grpSpPr>
          <a:xfrm>
            <a:off x="7191542" y="1"/>
            <a:ext cx="5000459" cy="1425992"/>
            <a:chOff x="7191542" y="1"/>
            <a:chExt cx="5000459" cy="1425992"/>
          </a:xfrm>
        </p:grpSpPr>
        <p:pic>
          <p:nvPicPr>
            <p:cNvPr id="4691" name="Google Shape;4691;p6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2" name="Google Shape;4692;p668"/>
            <p:cNvGrpSpPr/>
            <p:nvPr/>
          </p:nvGrpSpPr>
          <p:grpSpPr>
            <a:xfrm>
              <a:off x="7191542" y="1"/>
              <a:ext cx="5000459" cy="1425992"/>
              <a:chOff x="7186272" y="0"/>
              <a:chExt cx="5005729" cy="1427495"/>
            </a:xfrm>
          </p:grpSpPr>
          <p:sp>
            <p:nvSpPr>
              <p:cNvPr id="4693" name="Google Shape;4693;p6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94" name="Google Shape;4694;p6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95" name="Google Shape;4695;p6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Title and Content">
  <p:cSld name="Title and Content 8 2">
    <p:spTree>
      <p:nvGrpSpPr>
        <p:cNvPr id="1" name="Shape 4696"/>
        <p:cNvGrpSpPr/>
        <p:nvPr/>
      </p:nvGrpSpPr>
      <p:grpSpPr>
        <a:xfrm>
          <a:off x="0" y="0"/>
          <a:ext cx="0" cy="0"/>
          <a:chOff x="0" y="0"/>
          <a:chExt cx="0" cy="0"/>
        </a:xfrm>
      </p:grpSpPr>
      <p:grpSp>
        <p:nvGrpSpPr>
          <p:cNvPr id="4697" name="Google Shape;4697;p669"/>
          <p:cNvGrpSpPr/>
          <p:nvPr/>
        </p:nvGrpSpPr>
        <p:grpSpPr>
          <a:xfrm>
            <a:off x="7191542" y="1"/>
            <a:ext cx="5000459" cy="1425992"/>
            <a:chOff x="7191542" y="1"/>
            <a:chExt cx="5000459" cy="1425992"/>
          </a:xfrm>
        </p:grpSpPr>
        <p:pic>
          <p:nvPicPr>
            <p:cNvPr id="4698" name="Google Shape;4698;p6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99" name="Google Shape;4699;p669"/>
            <p:cNvGrpSpPr/>
            <p:nvPr/>
          </p:nvGrpSpPr>
          <p:grpSpPr>
            <a:xfrm>
              <a:off x="7191542" y="1"/>
              <a:ext cx="5000459" cy="1425992"/>
              <a:chOff x="7186272" y="0"/>
              <a:chExt cx="5005729" cy="1427495"/>
            </a:xfrm>
          </p:grpSpPr>
          <p:sp>
            <p:nvSpPr>
              <p:cNvPr id="4700" name="Google Shape;4700;p6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01" name="Google Shape;4701;p6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02" name="Google Shape;4702;p6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03" name="Google Shape;4703;p66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04" name="Google Shape;4704;p6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05" name="Google Shape;4705;p6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06" name="Google Shape;4706;p6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15"/>
        <p:cNvGrpSpPr/>
        <p:nvPr/>
      </p:nvGrpSpPr>
      <p:grpSpPr>
        <a:xfrm>
          <a:off x="0" y="0"/>
          <a:ext cx="0" cy="0"/>
          <a:chOff x="0" y="0"/>
          <a:chExt cx="0" cy="0"/>
        </a:xfrm>
      </p:grpSpPr>
      <p:grpSp>
        <p:nvGrpSpPr>
          <p:cNvPr id="516" name="Google Shape;516;p104"/>
          <p:cNvGrpSpPr/>
          <p:nvPr/>
        </p:nvGrpSpPr>
        <p:grpSpPr>
          <a:xfrm>
            <a:off x="7191542" y="1"/>
            <a:ext cx="5000459" cy="1425992"/>
            <a:chOff x="7191542" y="1"/>
            <a:chExt cx="5000459" cy="1425992"/>
          </a:xfrm>
        </p:grpSpPr>
        <p:pic>
          <p:nvPicPr>
            <p:cNvPr id="517" name="Google Shape;517;p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 name="Google Shape;518;p104"/>
            <p:cNvGrpSpPr/>
            <p:nvPr/>
          </p:nvGrpSpPr>
          <p:grpSpPr>
            <a:xfrm>
              <a:off x="7191542" y="1"/>
              <a:ext cx="5000459" cy="1425992"/>
              <a:chOff x="7186272" y="0"/>
              <a:chExt cx="5005729" cy="1427495"/>
            </a:xfrm>
          </p:grpSpPr>
          <p:sp>
            <p:nvSpPr>
              <p:cNvPr id="519" name="Google Shape;519;p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0" name="Google Shape;520;p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1" name="Google Shape;521;p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 name="Google Shape;522;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3" name="Google Shape;523;p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4" name="Google Shape;524;p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Two Content">
  <p:cSld name="Two Content 2 3">
    <p:spTree>
      <p:nvGrpSpPr>
        <p:cNvPr id="1" name="Shape 4707"/>
        <p:cNvGrpSpPr/>
        <p:nvPr/>
      </p:nvGrpSpPr>
      <p:grpSpPr>
        <a:xfrm>
          <a:off x="0" y="0"/>
          <a:ext cx="0" cy="0"/>
          <a:chOff x="0" y="0"/>
          <a:chExt cx="0" cy="0"/>
        </a:xfrm>
      </p:grpSpPr>
      <p:sp>
        <p:nvSpPr>
          <p:cNvPr id="4708" name="Google Shape;4708;p6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09" name="Google Shape;4709;p67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710" name="Google Shape;4710;p670"/>
          <p:cNvGrpSpPr/>
          <p:nvPr/>
        </p:nvGrpSpPr>
        <p:grpSpPr>
          <a:xfrm>
            <a:off x="7191542" y="1"/>
            <a:ext cx="5000459" cy="1425992"/>
            <a:chOff x="7191542" y="1"/>
            <a:chExt cx="5000459" cy="1425992"/>
          </a:xfrm>
        </p:grpSpPr>
        <p:pic>
          <p:nvPicPr>
            <p:cNvPr id="4711" name="Google Shape;4711;p6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12" name="Google Shape;4712;p670"/>
            <p:cNvGrpSpPr/>
            <p:nvPr/>
          </p:nvGrpSpPr>
          <p:grpSpPr>
            <a:xfrm>
              <a:off x="7191542" y="1"/>
              <a:ext cx="5000459" cy="1425992"/>
              <a:chOff x="7186272" y="0"/>
              <a:chExt cx="5005729" cy="1427495"/>
            </a:xfrm>
          </p:grpSpPr>
          <p:sp>
            <p:nvSpPr>
              <p:cNvPr id="4713" name="Google Shape;4713;p6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14" name="Google Shape;4714;p6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15" name="Google Shape;4715;p67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16" name="Google Shape;4716;p67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7" name="Google Shape;4717;p6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18" name="Google Shape;4718;p6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Comparison">
  <p:cSld name="TWO_OBJECTS_WITH_TEXT 2">
    <p:spTree>
      <p:nvGrpSpPr>
        <p:cNvPr id="1" name="Shape 4719"/>
        <p:cNvGrpSpPr/>
        <p:nvPr/>
      </p:nvGrpSpPr>
      <p:grpSpPr>
        <a:xfrm>
          <a:off x="0" y="0"/>
          <a:ext cx="0" cy="0"/>
          <a:chOff x="0" y="0"/>
          <a:chExt cx="0" cy="0"/>
        </a:xfrm>
      </p:grpSpPr>
      <p:grpSp>
        <p:nvGrpSpPr>
          <p:cNvPr id="4720" name="Google Shape;4720;p671"/>
          <p:cNvGrpSpPr/>
          <p:nvPr/>
        </p:nvGrpSpPr>
        <p:grpSpPr>
          <a:xfrm>
            <a:off x="7191542" y="1"/>
            <a:ext cx="5000459" cy="1425992"/>
            <a:chOff x="7191542" y="1"/>
            <a:chExt cx="5000459" cy="1425992"/>
          </a:xfrm>
        </p:grpSpPr>
        <p:pic>
          <p:nvPicPr>
            <p:cNvPr id="4721" name="Google Shape;4721;p6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22" name="Google Shape;4722;p671"/>
            <p:cNvGrpSpPr/>
            <p:nvPr/>
          </p:nvGrpSpPr>
          <p:grpSpPr>
            <a:xfrm>
              <a:off x="7191542" y="1"/>
              <a:ext cx="5000459" cy="1425992"/>
              <a:chOff x="7186272" y="0"/>
              <a:chExt cx="5005729" cy="1427495"/>
            </a:xfrm>
          </p:grpSpPr>
          <p:sp>
            <p:nvSpPr>
              <p:cNvPr id="4723" name="Google Shape;4723;p6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24" name="Google Shape;4724;p6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25" name="Google Shape;4725;p6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26" name="Google Shape;4726;p67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7" name="Google Shape;4727;p67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28" name="Google Shape;4728;p6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29" name="Google Shape;4729;p6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30" name="Google Shape;4730;p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31" name="Google Shape;4731;p6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32" name="Google Shape;4732;p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Title Only">
  <p:cSld name="TITLE_ONLY 2">
    <p:spTree>
      <p:nvGrpSpPr>
        <p:cNvPr id="1" name="Shape 4733"/>
        <p:cNvGrpSpPr/>
        <p:nvPr/>
      </p:nvGrpSpPr>
      <p:grpSpPr>
        <a:xfrm>
          <a:off x="0" y="0"/>
          <a:ext cx="0" cy="0"/>
          <a:chOff x="0" y="0"/>
          <a:chExt cx="0" cy="0"/>
        </a:xfrm>
      </p:grpSpPr>
      <p:grpSp>
        <p:nvGrpSpPr>
          <p:cNvPr id="4734" name="Google Shape;4734;p672"/>
          <p:cNvGrpSpPr/>
          <p:nvPr/>
        </p:nvGrpSpPr>
        <p:grpSpPr>
          <a:xfrm>
            <a:off x="7191542" y="1"/>
            <a:ext cx="5000459" cy="1425992"/>
            <a:chOff x="7191542" y="1"/>
            <a:chExt cx="5000459" cy="1425992"/>
          </a:xfrm>
        </p:grpSpPr>
        <p:pic>
          <p:nvPicPr>
            <p:cNvPr id="4735" name="Google Shape;4735;p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36" name="Google Shape;4736;p672"/>
            <p:cNvGrpSpPr/>
            <p:nvPr/>
          </p:nvGrpSpPr>
          <p:grpSpPr>
            <a:xfrm>
              <a:off x="7191542" y="1"/>
              <a:ext cx="5000459" cy="1425992"/>
              <a:chOff x="7186272" y="0"/>
              <a:chExt cx="5005729" cy="1427495"/>
            </a:xfrm>
          </p:grpSpPr>
          <p:sp>
            <p:nvSpPr>
              <p:cNvPr id="4737" name="Google Shape;4737;p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38" name="Google Shape;4738;p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39" name="Google Shape;4739;p6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40" name="Google Shape;4740;p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41" name="Google Shape;4741;p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42" name="Google Shape;4742;p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4743"/>
        <p:cNvGrpSpPr/>
        <p:nvPr/>
      </p:nvGrpSpPr>
      <p:grpSpPr>
        <a:xfrm>
          <a:off x="0" y="0"/>
          <a:ext cx="0" cy="0"/>
          <a:chOff x="0" y="0"/>
          <a:chExt cx="0" cy="0"/>
        </a:xfrm>
      </p:grpSpPr>
      <p:grpSp>
        <p:nvGrpSpPr>
          <p:cNvPr id="4744" name="Google Shape;4744;p673"/>
          <p:cNvGrpSpPr/>
          <p:nvPr/>
        </p:nvGrpSpPr>
        <p:grpSpPr>
          <a:xfrm>
            <a:off x="0" y="0"/>
            <a:ext cx="12192000" cy="2148830"/>
            <a:chOff x="0" y="0"/>
            <a:chExt cx="12192000" cy="2148830"/>
          </a:xfrm>
        </p:grpSpPr>
        <p:sp>
          <p:nvSpPr>
            <p:cNvPr id="4745" name="Google Shape;4745;p6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46" name="Google Shape;4746;p6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747" name="Google Shape;4747;p67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8" name="Google Shape;4748;p67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49" name="Google Shape;4749;p6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750" name="Google Shape;4750;p67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751" name="Google Shape;4751;p67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752"/>
        <p:cNvGrpSpPr/>
        <p:nvPr/>
      </p:nvGrpSpPr>
      <p:grpSpPr>
        <a:xfrm>
          <a:off x="0" y="0"/>
          <a:ext cx="0" cy="0"/>
          <a:chOff x="0" y="0"/>
          <a:chExt cx="0" cy="0"/>
        </a:xfrm>
      </p:grpSpPr>
      <p:sp>
        <p:nvSpPr>
          <p:cNvPr id="4753" name="Google Shape;4753;p6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54" name="Google Shape;4754;p6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55" name="Google Shape;4755;p6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756" name="Google Shape;4756;p674"/>
          <p:cNvGrpSpPr/>
          <p:nvPr/>
        </p:nvGrpSpPr>
        <p:grpSpPr>
          <a:xfrm>
            <a:off x="7191542" y="1"/>
            <a:ext cx="5000459" cy="1425992"/>
            <a:chOff x="7191542" y="1"/>
            <a:chExt cx="5000459" cy="1425992"/>
          </a:xfrm>
        </p:grpSpPr>
        <p:pic>
          <p:nvPicPr>
            <p:cNvPr id="4757" name="Google Shape;4757;p6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58" name="Google Shape;4758;p674"/>
            <p:cNvGrpSpPr/>
            <p:nvPr/>
          </p:nvGrpSpPr>
          <p:grpSpPr>
            <a:xfrm>
              <a:off x="7191542" y="1"/>
              <a:ext cx="5000459" cy="1425992"/>
              <a:chOff x="7186272" y="0"/>
              <a:chExt cx="5005729" cy="1427495"/>
            </a:xfrm>
          </p:grpSpPr>
          <p:sp>
            <p:nvSpPr>
              <p:cNvPr id="4759" name="Google Shape;4759;p6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60" name="Google Shape;4760;p6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Quotation">
  <p:cSld name="Quotation 2 4">
    <p:spTree>
      <p:nvGrpSpPr>
        <p:cNvPr id="1" name="Shape 4761"/>
        <p:cNvGrpSpPr/>
        <p:nvPr/>
      </p:nvGrpSpPr>
      <p:grpSpPr>
        <a:xfrm>
          <a:off x="0" y="0"/>
          <a:ext cx="0" cy="0"/>
          <a:chOff x="0" y="0"/>
          <a:chExt cx="0" cy="0"/>
        </a:xfrm>
      </p:grpSpPr>
      <p:sp>
        <p:nvSpPr>
          <p:cNvPr id="4762" name="Google Shape;4762;p6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63" name="Google Shape;4763;p6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64" name="Google Shape;4764;p6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5" name="Google Shape;4765;p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66" name="Google Shape;4766;p6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67" name="Google Shape;4767;p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768" name="Google Shape;4768;p675"/>
          <p:cNvGrpSpPr/>
          <p:nvPr/>
        </p:nvGrpSpPr>
        <p:grpSpPr>
          <a:xfrm>
            <a:off x="7191542" y="1"/>
            <a:ext cx="5000459" cy="1425992"/>
            <a:chOff x="7191542" y="1"/>
            <a:chExt cx="5000459" cy="1425992"/>
          </a:xfrm>
        </p:grpSpPr>
        <p:pic>
          <p:nvPicPr>
            <p:cNvPr id="4769" name="Google Shape;4769;p6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70" name="Google Shape;4770;p675"/>
            <p:cNvGrpSpPr/>
            <p:nvPr/>
          </p:nvGrpSpPr>
          <p:grpSpPr>
            <a:xfrm>
              <a:off x="7191542" y="1"/>
              <a:ext cx="5000459" cy="1425992"/>
              <a:chOff x="7186272" y="0"/>
              <a:chExt cx="5005729" cy="1427495"/>
            </a:xfrm>
          </p:grpSpPr>
          <p:sp>
            <p:nvSpPr>
              <p:cNvPr id="4771" name="Google Shape;4771;p6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72" name="Google Shape;4772;p6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773" name="Google Shape;4773;p6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Cover">
  <p:cSld name="Cover 2 4">
    <p:spTree>
      <p:nvGrpSpPr>
        <p:cNvPr id="1" name="Shape 4774"/>
        <p:cNvGrpSpPr/>
        <p:nvPr/>
      </p:nvGrpSpPr>
      <p:grpSpPr>
        <a:xfrm>
          <a:off x="0" y="0"/>
          <a:ext cx="0" cy="0"/>
          <a:chOff x="0" y="0"/>
          <a:chExt cx="0" cy="0"/>
        </a:xfrm>
      </p:grpSpPr>
      <p:sp>
        <p:nvSpPr>
          <p:cNvPr id="4775" name="Google Shape;4775;p67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76" name="Google Shape;4776;p67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77" name="Google Shape;4777;p67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778" name="Google Shape;4778;p676"/>
          <p:cNvSpPr>
            <a:spLocks noGrp="1"/>
          </p:cNvSpPr>
          <p:nvPr>
            <p:ph type="pic" idx="2"/>
          </p:nvPr>
        </p:nvSpPr>
        <p:spPr>
          <a:xfrm>
            <a:off x="7118684" y="233915"/>
            <a:ext cx="5073316" cy="5943600"/>
          </a:xfrm>
          <a:prstGeom prst="rect">
            <a:avLst/>
          </a:prstGeom>
          <a:noFill/>
          <a:ln>
            <a:noFill/>
          </a:ln>
        </p:spPr>
      </p:sp>
      <p:grpSp>
        <p:nvGrpSpPr>
          <p:cNvPr id="4779" name="Google Shape;4779;p676"/>
          <p:cNvGrpSpPr/>
          <p:nvPr/>
        </p:nvGrpSpPr>
        <p:grpSpPr>
          <a:xfrm>
            <a:off x="0" y="5020348"/>
            <a:ext cx="12192000" cy="1837653"/>
            <a:chOff x="0" y="5020348"/>
            <a:chExt cx="12192000" cy="1837653"/>
          </a:xfrm>
        </p:grpSpPr>
        <p:sp>
          <p:nvSpPr>
            <p:cNvPr id="4780" name="Google Shape;4780;p6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81" name="Google Shape;4781;p6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82" name="Google Shape;4782;p6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Divider">
  <p:cSld name="Divider 3 3">
    <p:bg>
      <p:bgPr>
        <a:solidFill>
          <a:schemeClr val="lt2"/>
        </a:solidFill>
        <a:effectLst/>
      </p:bgPr>
    </p:bg>
    <p:spTree>
      <p:nvGrpSpPr>
        <p:cNvPr id="1" name="Shape 4783"/>
        <p:cNvGrpSpPr/>
        <p:nvPr/>
      </p:nvGrpSpPr>
      <p:grpSpPr>
        <a:xfrm>
          <a:off x="0" y="0"/>
          <a:ext cx="0" cy="0"/>
          <a:chOff x="0" y="0"/>
          <a:chExt cx="0" cy="0"/>
        </a:xfrm>
      </p:grpSpPr>
      <p:grpSp>
        <p:nvGrpSpPr>
          <p:cNvPr id="4784" name="Google Shape;4784;p677"/>
          <p:cNvGrpSpPr/>
          <p:nvPr/>
        </p:nvGrpSpPr>
        <p:grpSpPr>
          <a:xfrm>
            <a:off x="0" y="5020347"/>
            <a:ext cx="12192000" cy="1837653"/>
            <a:chOff x="0" y="5020347"/>
            <a:chExt cx="12192000" cy="1837653"/>
          </a:xfrm>
        </p:grpSpPr>
        <p:sp>
          <p:nvSpPr>
            <p:cNvPr id="4785" name="Google Shape;4785;p67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86" name="Google Shape;4786;p6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87" name="Google Shape;4787;p67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88" name="Google Shape;4788;p6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789" name="Google Shape;4789;p67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90" name="Google Shape;4790;p67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Photo Slide">
  <p:cSld name="Photo Slide 2 4">
    <p:spTree>
      <p:nvGrpSpPr>
        <p:cNvPr id="1" name="Shape 4791"/>
        <p:cNvGrpSpPr/>
        <p:nvPr/>
      </p:nvGrpSpPr>
      <p:grpSpPr>
        <a:xfrm>
          <a:off x="0" y="0"/>
          <a:ext cx="0" cy="0"/>
          <a:chOff x="0" y="0"/>
          <a:chExt cx="0" cy="0"/>
        </a:xfrm>
      </p:grpSpPr>
      <p:sp>
        <p:nvSpPr>
          <p:cNvPr id="4792" name="Google Shape;4792;p6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93" name="Google Shape;4793;p6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94" name="Google Shape;4794;p678"/>
          <p:cNvGrpSpPr/>
          <p:nvPr/>
        </p:nvGrpSpPr>
        <p:grpSpPr>
          <a:xfrm>
            <a:off x="0" y="5379426"/>
            <a:ext cx="2807368" cy="753891"/>
            <a:chOff x="0" y="5379426"/>
            <a:chExt cx="2807368" cy="753891"/>
          </a:xfrm>
        </p:grpSpPr>
        <p:sp>
          <p:nvSpPr>
            <p:cNvPr id="4795" name="Google Shape;4795;p6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96" name="Google Shape;4796;p6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97" name="Google Shape;4797;p678"/>
          <p:cNvSpPr>
            <a:spLocks noGrp="1"/>
          </p:cNvSpPr>
          <p:nvPr>
            <p:ph type="pic" idx="2"/>
          </p:nvPr>
        </p:nvSpPr>
        <p:spPr>
          <a:xfrm>
            <a:off x="2807368" y="457202"/>
            <a:ext cx="8915400" cy="5943598"/>
          </a:xfrm>
          <a:prstGeom prst="rect">
            <a:avLst/>
          </a:prstGeom>
          <a:noFill/>
          <a:ln>
            <a:noFill/>
          </a:ln>
        </p:spPr>
      </p:sp>
      <p:pic>
        <p:nvPicPr>
          <p:cNvPr id="4798" name="Google Shape;4798;p6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799"/>
        <p:cNvGrpSpPr/>
        <p:nvPr/>
      </p:nvGrpSpPr>
      <p:grpSpPr>
        <a:xfrm>
          <a:off x="0" y="0"/>
          <a:ext cx="0" cy="0"/>
          <a:chOff x="0" y="0"/>
          <a:chExt cx="0" cy="0"/>
        </a:xfrm>
      </p:grpSpPr>
      <p:sp>
        <p:nvSpPr>
          <p:cNvPr id="4800" name="Google Shape;4800;p6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01" name="Google Shape;4801;p6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2" name="Google Shape;4802;p6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03" name="Google Shape;4803;p6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04" name="Google Shape;4804;p6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5" name="Google Shape;4805;p6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806" name="Google Shape;4806;p679"/>
          <p:cNvGrpSpPr/>
          <p:nvPr/>
        </p:nvGrpSpPr>
        <p:grpSpPr>
          <a:xfrm>
            <a:off x="7191542" y="1"/>
            <a:ext cx="5000459" cy="1425992"/>
            <a:chOff x="7191542" y="1"/>
            <a:chExt cx="5000459" cy="1425992"/>
          </a:xfrm>
        </p:grpSpPr>
        <p:pic>
          <p:nvPicPr>
            <p:cNvPr id="4807" name="Google Shape;4807;p6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08" name="Google Shape;4808;p679"/>
            <p:cNvGrpSpPr/>
            <p:nvPr/>
          </p:nvGrpSpPr>
          <p:grpSpPr>
            <a:xfrm>
              <a:off x="7191542" y="1"/>
              <a:ext cx="5000459" cy="1425992"/>
              <a:chOff x="7186272" y="0"/>
              <a:chExt cx="5005729" cy="1427495"/>
            </a:xfrm>
          </p:grpSpPr>
          <p:sp>
            <p:nvSpPr>
              <p:cNvPr id="4809" name="Google Shape;4809;p6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10" name="Google Shape;4810;p6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11" name="Google Shape;4811;p6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25"/>
        <p:cNvGrpSpPr/>
        <p:nvPr/>
      </p:nvGrpSpPr>
      <p:grpSpPr>
        <a:xfrm>
          <a:off x="0" y="0"/>
          <a:ext cx="0" cy="0"/>
          <a:chOff x="0" y="0"/>
          <a:chExt cx="0" cy="0"/>
        </a:xfrm>
      </p:grpSpPr>
      <p:grpSp>
        <p:nvGrpSpPr>
          <p:cNvPr id="526" name="Google Shape;526;p105"/>
          <p:cNvGrpSpPr/>
          <p:nvPr/>
        </p:nvGrpSpPr>
        <p:grpSpPr>
          <a:xfrm>
            <a:off x="0" y="0"/>
            <a:ext cx="12192000" cy="2148830"/>
            <a:chOff x="0" y="0"/>
            <a:chExt cx="12192000" cy="2148830"/>
          </a:xfrm>
        </p:grpSpPr>
        <p:sp>
          <p:nvSpPr>
            <p:cNvPr id="527" name="Google Shape;527;p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8" name="Google Shape;528;p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29" name="Google Shape;529;p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0" name="Google Shape;530;p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1" name="Google Shape;531;p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32" name="Google Shape;532;p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33" name="Google Shape;533;p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Title and Content">
  <p:cSld name="Title and Content 8 3">
    <p:spTree>
      <p:nvGrpSpPr>
        <p:cNvPr id="1" name="Shape 4812"/>
        <p:cNvGrpSpPr/>
        <p:nvPr/>
      </p:nvGrpSpPr>
      <p:grpSpPr>
        <a:xfrm>
          <a:off x="0" y="0"/>
          <a:ext cx="0" cy="0"/>
          <a:chOff x="0" y="0"/>
          <a:chExt cx="0" cy="0"/>
        </a:xfrm>
      </p:grpSpPr>
      <p:grpSp>
        <p:nvGrpSpPr>
          <p:cNvPr id="4813" name="Google Shape;4813;p680"/>
          <p:cNvGrpSpPr/>
          <p:nvPr/>
        </p:nvGrpSpPr>
        <p:grpSpPr>
          <a:xfrm>
            <a:off x="7191542" y="1"/>
            <a:ext cx="5000459" cy="1425992"/>
            <a:chOff x="7191542" y="1"/>
            <a:chExt cx="5000459" cy="1425992"/>
          </a:xfrm>
        </p:grpSpPr>
        <p:pic>
          <p:nvPicPr>
            <p:cNvPr id="4814" name="Google Shape;4814;p6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15" name="Google Shape;4815;p680"/>
            <p:cNvGrpSpPr/>
            <p:nvPr/>
          </p:nvGrpSpPr>
          <p:grpSpPr>
            <a:xfrm>
              <a:off x="7191542" y="1"/>
              <a:ext cx="5000459" cy="1425992"/>
              <a:chOff x="7186272" y="0"/>
              <a:chExt cx="5005729" cy="1427495"/>
            </a:xfrm>
          </p:grpSpPr>
          <p:sp>
            <p:nvSpPr>
              <p:cNvPr id="4816" name="Google Shape;4816;p6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17" name="Google Shape;4817;p6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18" name="Google Shape;4818;p6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19" name="Google Shape;4819;p6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20" name="Google Shape;4820;p6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21" name="Google Shape;4821;p6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22" name="Google Shape;4822;p6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Two Content">
  <p:cSld name="Two Content 2 4">
    <p:spTree>
      <p:nvGrpSpPr>
        <p:cNvPr id="1" name="Shape 4823"/>
        <p:cNvGrpSpPr/>
        <p:nvPr/>
      </p:nvGrpSpPr>
      <p:grpSpPr>
        <a:xfrm>
          <a:off x="0" y="0"/>
          <a:ext cx="0" cy="0"/>
          <a:chOff x="0" y="0"/>
          <a:chExt cx="0" cy="0"/>
        </a:xfrm>
      </p:grpSpPr>
      <p:sp>
        <p:nvSpPr>
          <p:cNvPr id="4824" name="Google Shape;4824;p6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25" name="Google Shape;4825;p6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26" name="Google Shape;4826;p681"/>
          <p:cNvGrpSpPr/>
          <p:nvPr/>
        </p:nvGrpSpPr>
        <p:grpSpPr>
          <a:xfrm>
            <a:off x="7191542" y="1"/>
            <a:ext cx="5000459" cy="1425992"/>
            <a:chOff x="7191542" y="1"/>
            <a:chExt cx="5000459" cy="1425992"/>
          </a:xfrm>
        </p:grpSpPr>
        <p:pic>
          <p:nvPicPr>
            <p:cNvPr id="4827" name="Google Shape;4827;p6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28" name="Google Shape;4828;p681"/>
            <p:cNvGrpSpPr/>
            <p:nvPr/>
          </p:nvGrpSpPr>
          <p:grpSpPr>
            <a:xfrm>
              <a:off x="7191542" y="1"/>
              <a:ext cx="5000459" cy="1425992"/>
              <a:chOff x="7186272" y="0"/>
              <a:chExt cx="5005729" cy="1427495"/>
            </a:xfrm>
          </p:grpSpPr>
          <p:sp>
            <p:nvSpPr>
              <p:cNvPr id="4829" name="Google Shape;4829;p6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0" name="Google Shape;4830;p6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31" name="Google Shape;4831;p6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32" name="Google Shape;4832;p6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33" name="Google Shape;4833;p6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34" name="Google Shape;4834;p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Comparison">
  <p:cSld name="TWO_OBJECTS_WITH_TEXT 3">
    <p:spTree>
      <p:nvGrpSpPr>
        <p:cNvPr id="1" name="Shape 4835"/>
        <p:cNvGrpSpPr/>
        <p:nvPr/>
      </p:nvGrpSpPr>
      <p:grpSpPr>
        <a:xfrm>
          <a:off x="0" y="0"/>
          <a:ext cx="0" cy="0"/>
          <a:chOff x="0" y="0"/>
          <a:chExt cx="0" cy="0"/>
        </a:xfrm>
      </p:grpSpPr>
      <p:grpSp>
        <p:nvGrpSpPr>
          <p:cNvPr id="4836" name="Google Shape;4836;p682"/>
          <p:cNvGrpSpPr/>
          <p:nvPr/>
        </p:nvGrpSpPr>
        <p:grpSpPr>
          <a:xfrm>
            <a:off x="7191542" y="1"/>
            <a:ext cx="5000459" cy="1425992"/>
            <a:chOff x="7191542" y="1"/>
            <a:chExt cx="5000459" cy="1425992"/>
          </a:xfrm>
        </p:grpSpPr>
        <p:pic>
          <p:nvPicPr>
            <p:cNvPr id="4837" name="Google Shape;4837;p6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38" name="Google Shape;4838;p682"/>
            <p:cNvGrpSpPr/>
            <p:nvPr/>
          </p:nvGrpSpPr>
          <p:grpSpPr>
            <a:xfrm>
              <a:off x="7191542" y="1"/>
              <a:ext cx="5000459" cy="1425992"/>
              <a:chOff x="7186272" y="0"/>
              <a:chExt cx="5005729" cy="1427495"/>
            </a:xfrm>
          </p:grpSpPr>
          <p:sp>
            <p:nvSpPr>
              <p:cNvPr id="4839" name="Google Shape;4839;p6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40" name="Google Shape;4840;p6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41" name="Google Shape;4841;p6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42" name="Google Shape;4842;p6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43" name="Google Shape;4843;p6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4" name="Google Shape;4844;p6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45" name="Google Shape;4845;p6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6" name="Google Shape;4846;p6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47" name="Google Shape;4847;p6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48" name="Google Shape;4848;p6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Title Only">
  <p:cSld name="TITLE_ONLY 3">
    <p:spTree>
      <p:nvGrpSpPr>
        <p:cNvPr id="1" name="Shape 4849"/>
        <p:cNvGrpSpPr/>
        <p:nvPr/>
      </p:nvGrpSpPr>
      <p:grpSpPr>
        <a:xfrm>
          <a:off x="0" y="0"/>
          <a:ext cx="0" cy="0"/>
          <a:chOff x="0" y="0"/>
          <a:chExt cx="0" cy="0"/>
        </a:xfrm>
      </p:grpSpPr>
      <p:grpSp>
        <p:nvGrpSpPr>
          <p:cNvPr id="4850" name="Google Shape;4850;p683"/>
          <p:cNvGrpSpPr/>
          <p:nvPr/>
        </p:nvGrpSpPr>
        <p:grpSpPr>
          <a:xfrm>
            <a:off x="7191542" y="1"/>
            <a:ext cx="5000459" cy="1425992"/>
            <a:chOff x="7191542" y="1"/>
            <a:chExt cx="5000459" cy="1425992"/>
          </a:xfrm>
        </p:grpSpPr>
        <p:pic>
          <p:nvPicPr>
            <p:cNvPr id="4851" name="Google Shape;4851;p6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52" name="Google Shape;4852;p683"/>
            <p:cNvGrpSpPr/>
            <p:nvPr/>
          </p:nvGrpSpPr>
          <p:grpSpPr>
            <a:xfrm>
              <a:off x="7191542" y="1"/>
              <a:ext cx="5000459" cy="1425992"/>
              <a:chOff x="7186272" y="0"/>
              <a:chExt cx="5005729" cy="1427495"/>
            </a:xfrm>
          </p:grpSpPr>
          <p:sp>
            <p:nvSpPr>
              <p:cNvPr id="4853" name="Google Shape;4853;p6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54" name="Google Shape;4854;p6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55" name="Google Shape;4855;p6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56" name="Google Shape;4856;p6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7" name="Google Shape;4857;p6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8" name="Google Shape;4858;p6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859"/>
        <p:cNvGrpSpPr/>
        <p:nvPr/>
      </p:nvGrpSpPr>
      <p:grpSpPr>
        <a:xfrm>
          <a:off x="0" y="0"/>
          <a:ext cx="0" cy="0"/>
          <a:chOff x="0" y="0"/>
          <a:chExt cx="0" cy="0"/>
        </a:xfrm>
      </p:grpSpPr>
      <p:grpSp>
        <p:nvGrpSpPr>
          <p:cNvPr id="4860" name="Google Shape;4860;p684"/>
          <p:cNvGrpSpPr/>
          <p:nvPr/>
        </p:nvGrpSpPr>
        <p:grpSpPr>
          <a:xfrm>
            <a:off x="0" y="0"/>
            <a:ext cx="12192000" cy="2148830"/>
            <a:chOff x="0" y="0"/>
            <a:chExt cx="12192000" cy="2148830"/>
          </a:xfrm>
        </p:grpSpPr>
        <p:sp>
          <p:nvSpPr>
            <p:cNvPr id="4861" name="Google Shape;4861;p6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62" name="Google Shape;4862;p6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863" name="Google Shape;4863;p6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64" name="Google Shape;4864;p6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65" name="Google Shape;4865;p6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866" name="Google Shape;4866;p6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867" name="Google Shape;4867;p6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868"/>
        <p:cNvGrpSpPr/>
        <p:nvPr/>
      </p:nvGrpSpPr>
      <p:grpSpPr>
        <a:xfrm>
          <a:off x="0" y="0"/>
          <a:ext cx="0" cy="0"/>
          <a:chOff x="0" y="0"/>
          <a:chExt cx="0" cy="0"/>
        </a:xfrm>
      </p:grpSpPr>
      <p:sp>
        <p:nvSpPr>
          <p:cNvPr id="4869" name="Google Shape;4869;p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70" name="Google Shape;4870;p6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71" name="Google Shape;4871;p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872" name="Google Shape;4872;p685"/>
          <p:cNvGrpSpPr/>
          <p:nvPr/>
        </p:nvGrpSpPr>
        <p:grpSpPr>
          <a:xfrm>
            <a:off x="7191542" y="1"/>
            <a:ext cx="5000459" cy="1425992"/>
            <a:chOff x="7191542" y="1"/>
            <a:chExt cx="5000459" cy="1425992"/>
          </a:xfrm>
        </p:grpSpPr>
        <p:pic>
          <p:nvPicPr>
            <p:cNvPr id="4873" name="Google Shape;4873;p6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74" name="Google Shape;4874;p685"/>
            <p:cNvGrpSpPr/>
            <p:nvPr/>
          </p:nvGrpSpPr>
          <p:grpSpPr>
            <a:xfrm>
              <a:off x="7191542" y="1"/>
              <a:ext cx="5000459" cy="1425992"/>
              <a:chOff x="7186272" y="0"/>
              <a:chExt cx="5005729" cy="1427495"/>
            </a:xfrm>
          </p:grpSpPr>
          <p:sp>
            <p:nvSpPr>
              <p:cNvPr id="4875" name="Google Shape;4875;p6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76" name="Google Shape;4876;p6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Quotation">
  <p:cSld name="Quotation 2 5">
    <p:spTree>
      <p:nvGrpSpPr>
        <p:cNvPr id="1" name="Shape 4877"/>
        <p:cNvGrpSpPr/>
        <p:nvPr/>
      </p:nvGrpSpPr>
      <p:grpSpPr>
        <a:xfrm>
          <a:off x="0" y="0"/>
          <a:ext cx="0" cy="0"/>
          <a:chOff x="0" y="0"/>
          <a:chExt cx="0" cy="0"/>
        </a:xfrm>
      </p:grpSpPr>
      <p:sp>
        <p:nvSpPr>
          <p:cNvPr id="4878" name="Google Shape;4878;p6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9" name="Google Shape;4879;p6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0" name="Google Shape;4880;p6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81" name="Google Shape;4881;p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82" name="Google Shape;4882;p6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83" name="Google Shape;4883;p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884" name="Google Shape;4884;p686"/>
          <p:cNvGrpSpPr/>
          <p:nvPr/>
        </p:nvGrpSpPr>
        <p:grpSpPr>
          <a:xfrm>
            <a:off x="7191542" y="1"/>
            <a:ext cx="5000459" cy="1425992"/>
            <a:chOff x="7191542" y="1"/>
            <a:chExt cx="5000459" cy="1425992"/>
          </a:xfrm>
        </p:grpSpPr>
        <p:pic>
          <p:nvPicPr>
            <p:cNvPr id="4885" name="Google Shape;4885;p6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886" name="Google Shape;4886;p686"/>
            <p:cNvGrpSpPr/>
            <p:nvPr/>
          </p:nvGrpSpPr>
          <p:grpSpPr>
            <a:xfrm>
              <a:off x="7191542" y="1"/>
              <a:ext cx="5000459" cy="1425992"/>
              <a:chOff x="7186272" y="0"/>
              <a:chExt cx="5005729" cy="1427495"/>
            </a:xfrm>
          </p:grpSpPr>
          <p:sp>
            <p:nvSpPr>
              <p:cNvPr id="4887" name="Google Shape;4887;p6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88" name="Google Shape;4888;p6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89" name="Google Shape;4889;p6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4890"/>
        <p:cNvGrpSpPr/>
        <p:nvPr/>
      </p:nvGrpSpPr>
      <p:grpSpPr>
        <a:xfrm>
          <a:off x="0" y="0"/>
          <a:ext cx="0" cy="0"/>
          <a:chOff x="0" y="0"/>
          <a:chExt cx="0" cy="0"/>
        </a:xfrm>
      </p:grpSpPr>
      <p:sp>
        <p:nvSpPr>
          <p:cNvPr id="4891" name="Google Shape;4891;p68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92" name="Google Shape;4892;p68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3" name="Google Shape;4893;p68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894" name="Google Shape;4894;p687"/>
          <p:cNvSpPr>
            <a:spLocks noGrp="1"/>
          </p:cNvSpPr>
          <p:nvPr>
            <p:ph type="pic" idx="2"/>
          </p:nvPr>
        </p:nvSpPr>
        <p:spPr>
          <a:xfrm>
            <a:off x="7118684" y="233915"/>
            <a:ext cx="5073316" cy="5943600"/>
          </a:xfrm>
          <a:prstGeom prst="rect">
            <a:avLst/>
          </a:prstGeom>
          <a:noFill/>
          <a:ln>
            <a:noFill/>
          </a:ln>
        </p:spPr>
      </p:sp>
      <p:grpSp>
        <p:nvGrpSpPr>
          <p:cNvPr id="4895" name="Google Shape;4895;p687"/>
          <p:cNvGrpSpPr/>
          <p:nvPr/>
        </p:nvGrpSpPr>
        <p:grpSpPr>
          <a:xfrm>
            <a:off x="0" y="5020348"/>
            <a:ext cx="12192000" cy="1837653"/>
            <a:chOff x="0" y="5020348"/>
            <a:chExt cx="12192000" cy="1837653"/>
          </a:xfrm>
        </p:grpSpPr>
        <p:sp>
          <p:nvSpPr>
            <p:cNvPr id="4896" name="Google Shape;4896;p6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97" name="Google Shape;4897;p6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898" name="Google Shape;4898;p6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4899"/>
        <p:cNvGrpSpPr/>
        <p:nvPr/>
      </p:nvGrpSpPr>
      <p:grpSpPr>
        <a:xfrm>
          <a:off x="0" y="0"/>
          <a:ext cx="0" cy="0"/>
          <a:chOff x="0" y="0"/>
          <a:chExt cx="0" cy="0"/>
        </a:xfrm>
      </p:grpSpPr>
      <p:grpSp>
        <p:nvGrpSpPr>
          <p:cNvPr id="4900" name="Google Shape;4900;p688"/>
          <p:cNvGrpSpPr/>
          <p:nvPr/>
        </p:nvGrpSpPr>
        <p:grpSpPr>
          <a:xfrm>
            <a:off x="0" y="5020347"/>
            <a:ext cx="12192000" cy="1837653"/>
            <a:chOff x="0" y="5020347"/>
            <a:chExt cx="12192000" cy="1837653"/>
          </a:xfrm>
        </p:grpSpPr>
        <p:sp>
          <p:nvSpPr>
            <p:cNvPr id="4901" name="Google Shape;4901;p6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02" name="Google Shape;4902;p6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03" name="Google Shape;4903;p6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904" name="Google Shape;4904;p6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905" name="Google Shape;4905;p68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06" name="Google Shape;4906;p68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4907"/>
        <p:cNvGrpSpPr/>
        <p:nvPr/>
      </p:nvGrpSpPr>
      <p:grpSpPr>
        <a:xfrm>
          <a:off x="0" y="0"/>
          <a:ext cx="0" cy="0"/>
          <a:chOff x="0" y="0"/>
          <a:chExt cx="0" cy="0"/>
        </a:xfrm>
      </p:grpSpPr>
      <p:sp>
        <p:nvSpPr>
          <p:cNvPr id="4908" name="Google Shape;4908;p68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909" name="Google Shape;4909;p68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910" name="Google Shape;4910;p689"/>
          <p:cNvGrpSpPr/>
          <p:nvPr/>
        </p:nvGrpSpPr>
        <p:grpSpPr>
          <a:xfrm>
            <a:off x="0" y="5379426"/>
            <a:ext cx="2807368" cy="753891"/>
            <a:chOff x="0" y="5379426"/>
            <a:chExt cx="2807368" cy="753891"/>
          </a:xfrm>
        </p:grpSpPr>
        <p:sp>
          <p:nvSpPr>
            <p:cNvPr id="4911" name="Google Shape;4911;p68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12" name="Google Shape;4912;p68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913" name="Google Shape;4913;p689"/>
          <p:cNvSpPr>
            <a:spLocks noGrp="1"/>
          </p:cNvSpPr>
          <p:nvPr>
            <p:ph type="pic" idx="2"/>
          </p:nvPr>
        </p:nvSpPr>
        <p:spPr>
          <a:xfrm>
            <a:off x="2807368" y="457202"/>
            <a:ext cx="8915400" cy="5943598"/>
          </a:xfrm>
          <a:prstGeom prst="rect">
            <a:avLst/>
          </a:prstGeom>
          <a:noFill/>
          <a:ln>
            <a:noFill/>
          </a:ln>
        </p:spPr>
      </p:sp>
      <p:pic>
        <p:nvPicPr>
          <p:cNvPr id="4914" name="Google Shape;4914;p68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34"/>
        <p:cNvGrpSpPr/>
        <p:nvPr/>
      </p:nvGrpSpPr>
      <p:grpSpPr>
        <a:xfrm>
          <a:off x="0" y="0"/>
          <a:ext cx="0" cy="0"/>
          <a:chOff x="0" y="0"/>
          <a:chExt cx="0" cy="0"/>
        </a:xfrm>
      </p:grpSpPr>
      <p:sp>
        <p:nvSpPr>
          <p:cNvPr id="535" name="Google Shape;535;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6" name="Google Shape;536;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7" name="Google Shape;537;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8" name="Google Shape;538;p106"/>
          <p:cNvGrpSpPr/>
          <p:nvPr/>
        </p:nvGrpSpPr>
        <p:grpSpPr>
          <a:xfrm>
            <a:off x="7191542" y="1"/>
            <a:ext cx="5000459" cy="1425992"/>
            <a:chOff x="7191542" y="1"/>
            <a:chExt cx="5000459" cy="1425992"/>
          </a:xfrm>
        </p:grpSpPr>
        <p:pic>
          <p:nvPicPr>
            <p:cNvPr id="539" name="Google Shape;539;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 name="Google Shape;540;p106"/>
            <p:cNvGrpSpPr/>
            <p:nvPr/>
          </p:nvGrpSpPr>
          <p:grpSpPr>
            <a:xfrm>
              <a:off x="7191542" y="1"/>
              <a:ext cx="5000459" cy="1425992"/>
              <a:chOff x="7186272" y="0"/>
              <a:chExt cx="5005729" cy="1427495"/>
            </a:xfrm>
          </p:grpSpPr>
          <p:sp>
            <p:nvSpPr>
              <p:cNvPr id="541" name="Google Shape;541;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2" name="Google Shape;542;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Quotation">
  <p:cSld name="Quotation 3 2">
    <p:spTree>
      <p:nvGrpSpPr>
        <p:cNvPr id="1" name="Shape 4915"/>
        <p:cNvGrpSpPr/>
        <p:nvPr/>
      </p:nvGrpSpPr>
      <p:grpSpPr>
        <a:xfrm>
          <a:off x="0" y="0"/>
          <a:ext cx="0" cy="0"/>
          <a:chOff x="0" y="0"/>
          <a:chExt cx="0" cy="0"/>
        </a:xfrm>
      </p:grpSpPr>
      <p:sp>
        <p:nvSpPr>
          <p:cNvPr id="4916" name="Google Shape;4916;p6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17" name="Google Shape;4917;p6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18" name="Google Shape;4918;p6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19" name="Google Shape;4919;p6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20" name="Google Shape;4920;p6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21" name="Google Shape;4921;p6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922" name="Google Shape;4922;p690"/>
          <p:cNvGrpSpPr/>
          <p:nvPr/>
        </p:nvGrpSpPr>
        <p:grpSpPr>
          <a:xfrm>
            <a:off x="7191542" y="1"/>
            <a:ext cx="5000459" cy="1425992"/>
            <a:chOff x="7191542" y="1"/>
            <a:chExt cx="5000459" cy="1425992"/>
          </a:xfrm>
        </p:grpSpPr>
        <p:pic>
          <p:nvPicPr>
            <p:cNvPr id="4923" name="Google Shape;4923;p6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24" name="Google Shape;4924;p690"/>
            <p:cNvGrpSpPr/>
            <p:nvPr/>
          </p:nvGrpSpPr>
          <p:grpSpPr>
            <a:xfrm>
              <a:off x="7191542" y="1"/>
              <a:ext cx="5000459" cy="1425992"/>
              <a:chOff x="7186272" y="0"/>
              <a:chExt cx="5005729" cy="1427495"/>
            </a:xfrm>
          </p:grpSpPr>
          <p:sp>
            <p:nvSpPr>
              <p:cNvPr id="4925" name="Google Shape;4925;p6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26" name="Google Shape;4926;p6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27" name="Google Shape;4927;p6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Quotation">
  <p:cSld name="Quotation 3 3">
    <p:spTree>
      <p:nvGrpSpPr>
        <p:cNvPr id="1" name="Shape 4928"/>
        <p:cNvGrpSpPr/>
        <p:nvPr/>
      </p:nvGrpSpPr>
      <p:grpSpPr>
        <a:xfrm>
          <a:off x="0" y="0"/>
          <a:ext cx="0" cy="0"/>
          <a:chOff x="0" y="0"/>
          <a:chExt cx="0" cy="0"/>
        </a:xfrm>
      </p:grpSpPr>
      <p:sp>
        <p:nvSpPr>
          <p:cNvPr id="4929" name="Google Shape;4929;p6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30" name="Google Shape;4930;p6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31" name="Google Shape;4931;p6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32" name="Google Shape;4932;p6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33" name="Google Shape;4933;p6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34" name="Google Shape;4934;p6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935" name="Google Shape;4935;p691"/>
          <p:cNvGrpSpPr/>
          <p:nvPr/>
        </p:nvGrpSpPr>
        <p:grpSpPr>
          <a:xfrm>
            <a:off x="7191542" y="1"/>
            <a:ext cx="5000459" cy="1425992"/>
            <a:chOff x="7191542" y="1"/>
            <a:chExt cx="5000459" cy="1425992"/>
          </a:xfrm>
        </p:grpSpPr>
        <p:pic>
          <p:nvPicPr>
            <p:cNvPr id="4936" name="Google Shape;4936;p6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37" name="Google Shape;4937;p691"/>
            <p:cNvGrpSpPr/>
            <p:nvPr/>
          </p:nvGrpSpPr>
          <p:grpSpPr>
            <a:xfrm>
              <a:off x="7191542" y="1"/>
              <a:ext cx="5000459" cy="1425992"/>
              <a:chOff x="7186272" y="0"/>
              <a:chExt cx="5005729" cy="1427495"/>
            </a:xfrm>
          </p:grpSpPr>
          <p:sp>
            <p:nvSpPr>
              <p:cNvPr id="4938" name="Google Shape;4938;p6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39" name="Google Shape;4939;p6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40" name="Google Shape;4940;p6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941"/>
        <p:cNvGrpSpPr/>
        <p:nvPr/>
      </p:nvGrpSpPr>
      <p:grpSpPr>
        <a:xfrm>
          <a:off x="0" y="0"/>
          <a:ext cx="0" cy="0"/>
          <a:chOff x="0" y="0"/>
          <a:chExt cx="0" cy="0"/>
        </a:xfrm>
      </p:grpSpPr>
      <p:sp>
        <p:nvSpPr>
          <p:cNvPr id="4942" name="Google Shape;4942;p6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3" name="Google Shape;4943;p6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944" name="Google Shape;4944;p692"/>
          <p:cNvGrpSpPr/>
          <p:nvPr/>
        </p:nvGrpSpPr>
        <p:grpSpPr>
          <a:xfrm>
            <a:off x="7191542" y="1"/>
            <a:ext cx="5000459" cy="1425992"/>
            <a:chOff x="7191542" y="1"/>
            <a:chExt cx="5000459" cy="1425992"/>
          </a:xfrm>
        </p:grpSpPr>
        <p:pic>
          <p:nvPicPr>
            <p:cNvPr id="4945" name="Google Shape;4945;p6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46" name="Google Shape;4946;p692"/>
            <p:cNvGrpSpPr/>
            <p:nvPr/>
          </p:nvGrpSpPr>
          <p:grpSpPr>
            <a:xfrm>
              <a:off x="7191542" y="1"/>
              <a:ext cx="5000459" cy="1425992"/>
              <a:chOff x="7186272" y="0"/>
              <a:chExt cx="5005729" cy="1427495"/>
            </a:xfrm>
          </p:grpSpPr>
          <p:sp>
            <p:nvSpPr>
              <p:cNvPr id="4947" name="Google Shape;4947;p6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48" name="Google Shape;4948;p6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49" name="Google Shape;4949;p6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0" name="Google Shape;4950;p6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51" name="Google Shape;4951;p6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52" name="Google Shape;4952;p6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4953"/>
        <p:cNvGrpSpPr/>
        <p:nvPr/>
      </p:nvGrpSpPr>
      <p:grpSpPr>
        <a:xfrm>
          <a:off x="0" y="0"/>
          <a:ext cx="0" cy="0"/>
          <a:chOff x="0" y="0"/>
          <a:chExt cx="0" cy="0"/>
        </a:xfrm>
      </p:grpSpPr>
      <p:grpSp>
        <p:nvGrpSpPr>
          <p:cNvPr id="4954" name="Google Shape;4954;p693"/>
          <p:cNvGrpSpPr/>
          <p:nvPr/>
        </p:nvGrpSpPr>
        <p:grpSpPr>
          <a:xfrm>
            <a:off x="7191542" y="1"/>
            <a:ext cx="5000459" cy="1425992"/>
            <a:chOff x="7191542" y="1"/>
            <a:chExt cx="5000459" cy="1425992"/>
          </a:xfrm>
        </p:grpSpPr>
        <p:pic>
          <p:nvPicPr>
            <p:cNvPr id="4955" name="Google Shape;4955;p6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56" name="Google Shape;4956;p693"/>
            <p:cNvGrpSpPr/>
            <p:nvPr/>
          </p:nvGrpSpPr>
          <p:grpSpPr>
            <a:xfrm>
              <a:off x="7191542" y="1"/>
              <a:ext cx="5000459" cy="1425992"/>
              <a:chOff x="7186272" y="0"/>
              <a:chExt cx="5005729" cy="1427495"/>
            </a:xfrm>
          </p:grpSpPr>
          <p:sp>
            <p:nvSpPr>
              <p:cNvPr id="4957" name="Google Shape;4957;p6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58" name="Google Shape;4958;p6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59" name="Google Shape;4959;p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60" name="Google Shape;4960;p6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1" name="Google Shape;4961;p6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62" name="Google Shape;4962;p6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63" name="Google Shape;4963;p6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64" name="Google Shape;4964;p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65" name="Google Shape;4965;p6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6" name="Google Shape;4966;p6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967"/>
        <p:cNvGrpSpPr/>
        <p:nvPr/>
      </p:nvGrpSpPr>
      <p:grpSpPr>
        <a:xfrm>
          <a:off x="0" y="0"/>
          <a:ext cx="0" cy="0"/>
          <a:chOff x="0" y="0"/>
          <a:chExt cx="0" cy="0"/>
        </a:xfrm>
      </p:grpSpPr>
      <p:grpSp>
        <p:nvGrpSpPr>
          <p:cNvPr id="4968" name="Google Shape;4968;p694"/>
          <p:cNvGrpSpPr/>
          <p:nvPr/>
        </p:nvGrpSpPr>
        <p:grpSpPr>
          <a:xfrm>
            <a:off x="7191542" y="1"/>
            <a:ext cx="5000459" cy="1425992"/>
            <a:chOff x="7191542" y="1"/>
            <a:chExt cx="5000459" cy="1425992"/>
          </a:xfrm>
        </p:grpSpPr>
        <p:pic>
          <p:nvPicPr>
            <p:cNvPr id="4969" name="Google Shape;4969;p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70" name="Google Shape;4970;p694"/>
            <p:cNvGrpSpPr/>
            <p:nvPr/>
          </p:nvGrpSpPr>
          <p:grpSpPr>
            <a:xfrm>
              <a:off x="7191542" y="1"/>
              <a:ext cx="5000459" cy="1425992"/>
              <a:chOff x="7186272" y="0"/>
              <a:chExt cx="5005729" cy="1427495"/>
            </a:xfrm>
          </p:grpSpPr>
          <p:sp>
            <p:nvSpPr>
              <p:cNvPr id="4971" name="Google Shape;4971;p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72" name="Google Shape;4972;p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73" name="Google Shape;4973;p6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74" name="Google Shape;4974;p6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75" name="Google Shape;4975;p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76" name="Google Shape;4976;p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End">
  <p:cSld name="End 2 2">
    <p:spTree>
      <p:nvGrpSpPr>
        <p:cNvPr id="1" name="Shape 4977"/>
        <p:cNvGrpSpPr/>
        <p:nvPr/>
      </p:nvGrpSpPr>
      <p:grpSpPr>
        <a:xfrm>
          <a:off x="0" y="0"/>
          <a:ext cx="0" cy="0"/>
          <a:chOff x="0" y="0"/>
          <a:chExt cx="0" cy="0"/>
        </a:xfrm>
      </p:grpSpPr>
      <p:grpSp>
        <p:nvGrpSpPr>
          <p:cNvPr id="4978" name="Google Shape;4978;p695"/>
          <p:cNvGrpSpPr/>
          <p:nvPr/>
        </p:nvGrpSpPr>
        <p:grpSpPr>
          <a:xfrm>
            <a:off x="0" y="0"/>
            <a:ext cx="12192000" cy="2148830"/>
            <a:chOff x="0" y="0"/>
            <a:chExt cx="12192000" cy="2148830"/>
          </a:xfrm>
        </p:grpSpPr>
        <p:sp>
          <p:nvSpPr>
            <p:cNvPr id="4979" name="Google Shape;4979;p6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80" name="Google Shape;4980;p6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981" name="Google Shape;4981;p6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82" name="Google Shape;4982;p6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83" name="Google Shape;4983;p6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984" name="Google Shape;4984;p6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85" name="Google Shape;4985;p6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4986"/>
        <p:cNvGrpSpPr/>
        <p:nvPr/>
      </p:nvGrpSpPr>
      <p:grpSpPr>
        <a:xfrm>
          <a:off x="0" y="0"/>
          <a:ext cx="0" cy="0"/>
          <a:chOff x="0" y="0"/>
          <a:chExt cx="0" cy="0"/>
        </a:xfrm>
      </p:grpSpPr>
      <p:sp>
        <p:nvSpPr>
          <p:cNvPr id="4987" name="Google Shape;4987;p6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88" name="Google Shape;4988;p6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89" name="Google Shape;4989;p6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90" name="Google Shape;4990;p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91" name="Google Shape;4991;p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2" name="Google Shape;4992;p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4993" name="Google Shape;4993;p696"/>
          <p:cNvGrpSpPr/>
          <p:nvPr/>
        </p:nvGrpSpPr>
        <p:grpSpPr>
          <a:xfrm>
            <a:off x="7191542" y="1"/>
            <a:ext cx="5000459" cy="1425992"/>
            <a:chOff x="7191542" y="1"/>
            <a:chExt cx="5000459" cy="1425992"/>
          </a:xfrm>
        </p:grpSpPr>
        <p:pic>
          <p:nvPicPr>
            <p:cNvPr id="4994" name="Google Shape;4994;p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95" name="Google Shape;4995;p696"/>
            <p:cNvGrpSpPr/>
            <p:nvPr/>
          </p:nvGrpSpPr>
          <p:grpSpPr>
            <a:xfrm>
              <a:off x="7191542" y="1"/>
              <a:ext cx="5000459" cy="1425992"/>
              <a:chOff x="7186272" y="0"/>
              <a:chExt cx="5005729" cy="1427495"/>
            </a:xfrm>
          </p:grpSpPr>
          <p:sp>
            <p:nvSpPr>
              <p:cNvPr id="4996" name="Google Shape;4996;p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97" name="Google Shape;4997;p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98" name="Google Shape;4998;p6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4999"/>
        <p:cNvGrpSpPr/>
        <p:nvPr/>
      </p:nvGrpSpPr>
      <p:grpSpPr>
        <a:xfrm>
          <a:off x="0" y="0"/>
          <a:ext cx="0" cy="0"/>
          <a:chOff x="0" y="0"/>
          <a:chExt cx="0" cy="0"/>
        </a:xfrm>
      </p:grpSpPr>
      <p:sp>
        <p:nvSpPr>
          <p:cNvPr id="5000" name="Google Shape;5000;p6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01" name="Google Shape;5001;p6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2" name="Google Shape;5002;p6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03" name="Google Shape;5003;p6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04" name="Google Shape;5004;p6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05" name="Google Shape;5005;p6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006" name="Google Shape;5006;p697"/>
          <p:cNvGrpSpPr/>
          <p:nvPr/>
        </p:nvGrpSpPr>
        <p:grpSpPr>
          <a:xfrm>
            <a:off x="7191542" y="1"/>
            <a:ext cx="5000459" cy="1425992"/>
            <a:chOff x="7191542" y="1"/>
            <a:chExt cx="5000459" cy="1425992"/>
          </a:xfrm>
        </p:grpSpPr>
        <p:pic>
          <p:nvPicPr>
            <p:cNvPr id="5007" name="Google Shape;5007;p6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08" name="Google Shape;5008;p697"/>
            <p:cNvGrpSpPr/>
            <p:nvPr/>
          </p:nvGrpSpPr>
          <p:grpSpPr>
            <a:xfrm>
              <a:off x="7191542" y="1"/>
              <a:ext cx="5000459" cy="1425992"/>
              <a:chOff x="7186272" y="0"/>
              <a:chExt cx="5005729" cy="1427495"/>
            </a:xfrm>
          </p:grpSpPr>
          <p:sp>
            <p:nvSpPr>
              <p:cNvPr id="5009" name="Google Shape;5009;p6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10" name="Google Shape;5010;p6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11" name="Google Shape;5011;p69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Cover">
  <p:cSld name="Cover 3 2">
    <p:spTree>
      <p:nvGrpSpPr>
        <p:cNvPr id="1" name="Shape 5012"/>
        <p:cNvGrpSpPr/>
        <p:nvPr/>
      </p:nvGrpSpPr>
      <p:grpSpPr>
        <a:xfrm>
          <a:off x="0" y="0"/>
          <a:ext cx="0" cy="0"/>
          <a:chOff x="0" y="0"/>
          <a:chExt cx="0" cy="0"/>
        </a:xfrm>
      </p:grpSpPr>
      <p:sp>
        <p:nvSpPr>
          <p:cNvPr id="5013" name="Google Shape;5013;p6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14" name="Google Shape;5014;p6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15" name="Google Shape;5015;p6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16" name="Google Shape;5016;p698"/>
          <p:cNvSpPr>
            <a:spLocks noGrp="1"/>
          </p:cNvSpPr>
          <p:nvPr>
            <p:ph type="pic" idx="2"/>
          </p:nvPr>
        </p:nvSpPr>
        <p:spPr>
          <a:xfrm>
            <a:off x="7118684" y="233915"/>
            <a:ext cx="5073316" cy="5943600"/>
          </a:xfrm>
          <a:prstGeom prst="rect">
            <a:avLst/>
          </a:prstGeom>
          <a:noFill/>
          <a:ln>
            <a:noFill/>
          </a:ln>
        </p:spPr>
      </p:sp>
      <p:grpSp>
        <p:nvGrpSpPr>
          <p:cNvPr id="5017" name="Google Shape;5017;p698"/>
          <p:cNvGrpSpPr/>
          <p:nvPr/>
        </p:nvGrpSpPr>
        <p:grpSpPr>
          <a:xfrm>
            <a:off x="0" y="5020348"/>
            <a:ext cx="12192000" cy="1837653"/>
            <a:chOff x="0" y="5020348"/>
            <a:chExt cx="12192000" cy="1837653"/>
          </a:xfrm>
        </p:grpSpPr>
        <p:sp>
          <p:nvSpPr>
            <p:cNvPr id="5018" name="Google Shape;5018;p6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19" name="Google Shape;5019;p6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020" name="Google Shape;5020;p6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Divider">
  <p:cSld name="Divider 4 2">
    <p:bg>
      <p:bgPr>
        <a:solidFill>
          <a:schemeClr val="lt2"/>
        </a:solidFill>
        <a:effectLst/>
      </p:bgPr>
    </p:bg>
    <p:spTree>
      <p:nvGrpSpPr>
        <p:cNvPr id="1" name="Shape 5021"/>
        <p:cNvGrpSpPr/>
        <p:nvPr/>
      </p:nvGrpSpPr>
      <p:grpSpPr>
        <a:xfrm>
          <a:off x="0" y="0"/>
          <a:ext cx="0" cy="0"/>
          <a:chOff x="0" y="0"/>
          <a:chExt cx="0" cy="0"/>
        </a:xfrm>
      </p:grpSpPr>
      <p:grpSp>
        <p:nvGrpSpPr>
          <p:cNvPr id="5022" name="Google Shape;5022;p699"/>
          <p:cNvGrpSpPr/>
          <p:nvPr/>
        </p:nvGrpSpPr>
        <p:grpSpPr>
          <a:xfrm>
            <a:off x="0" y="5020347"/>
            <a:ext cx="12192000" cy="1837653"/>
            <a:chOff x="0" y="5020347"/>
            <a:chExt cx="12192000" cy="1837653"/>
          </a:xfrm>
        </p:grpSpPr>
        <p:sp>
          <p:nvSpPr>
            <p:cNvPr id="5023" name="Google Shape;5023;p6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24" name="Google Shape;5024;p6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25" name="Google Shape;5025;p6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026" name="Google Shape;5026;p6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027" name="Google Shape;5027;p6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8" name="Google Shape;5028;p6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62"/>
        <p:cNvGrpSpPr/>
        <p:nvPr/>
      </p:nvGrpSpPr>
      <p:grpSpPr>
        <a:xfrm>
          <a:off x="0" y="0"/>
          <a:ext cx="0" cy="0"/>
          <a:chOff x="0" y="0"/>
          <a:chExt cx="0" cy="0"/>
        </a:xfrm>
      </p:grpSpPr>
      <p:grpSp>
        <p:nvGrpSpPr>
          <p:cNvPr id="63" name="Google Shape;63;p60"/>
          <p:cNvGrpSpPr/>
          <p:nvPr/>
        </p:nvGrpSpPr>
        <p:grpSpPr>
          <a:xfrm>
            <a:off x="0" y="5020347"/>
            <a:ext cx="12192000" cy="1837653"/>
            <a:chOff x="0" y="5020347"/>
            <a:chExt cx="12192000" cy="1837653"/>
          </a:xfrm>
        </p:grpSpPr>
        <p:sp>
          <p:nvSpPr>
            <p:cNvPr id="64" name="Google Shape;64;p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 name="Google Shape;65;p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 name="Google Shape;66;p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7" name="Google Shape;67;p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8" name="Google Shape;68;p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43"/>
        <p:cNvGrpSpPr/>
        <p:nvPr/>
      </p:nvGrpSpPr>
      <p:grpSpPr>
        <a:xfrm>
          <a:off x="0" y="0"/>
          <a:ext cx="0" cy="0"/>
          <a:chOff x="0" y="0"/>
          <a:chExt cx="0" cy="0"/>
        </a:xfrm>
      </p:grpSpPr>
      <p:sp>
        <p:nvSpPr>
          <p:cNvPr id="544" name="Google Shape;544;p10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5" name="Google Shape;545;p10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46" name="Google Shape;546;p107"/>
          <p:cNvGrpSpPr/>
          <p:nvPr/>
        </p:nvGrpSpPr>
        <p:grpSpPr>
          <a:xfrm flipH="1">
            <a:off x="-1" y="1"/>
            <a:ext cx="6418725" cy="1509822"/>
            <a:chOff x="7522541" y="1"/>
            <a:chExt cx="4669459" cy="1098357"/>
          </a:xfrm>
        </p:grpSpPr>
        <p:sp>
          <p:nvSpPr>
            <p:cNvPr id="547" name="Google Shape;547;p10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8" name="Google Shape;548;p10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49" name="Google Shape;549;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Photo Slide">
  <p:cSld name="Photo Slide 3 2">
    <p:spTree>
      <p:nvGrpSpPr>
        <p:cNvPr id="1" name="Shape 5029"/>
        <p:cNvGrpSpPr/>
        <p:nvPr/>
      </p:nvGrpSpPr>
      <p:grpSpPr>
        <a:xfrm>
          <a:off x="0" y="0"/>
          <a:ext cx="0" cy="0"/>
          <a:chOff x="0" y="0"/>
          <a:chExt cx="0" cy="0"/>
        </a:xfrm>
      </p:grpSpPr>
      <p:sp>
        <p:nvSpPr>
          <p:cNvPr id="5030" name="Google Shape;5030;p7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31" name="Google Shape;5031;p7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32" name="Google Shape;5032;p700"/>
          <p:cNvGrpSpPr/>
          <p:nvPr/>
        </p:nvGrpSpPr>
        <p:grpSpPr>
          <a:xfrm>
            <a:off x="0" y="5379426"/>
            <a:ext cx="2807368" cy="753891"/>
            <a:chOff x="0" y="5379426"/>
            <a:chExt cx="2807368" cy="753891"/>
          </a:xfrm>
        </p:grpSpPr>
        <p:sp>
          <p:nvSpPr>
            <p:cNvPr id="5033" name="Google Shape;5033;p7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34" name="Google Shape;5034;p7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035" name="Google Shape;5035;p700"/>
          <p:cNvSpPr>
            <a:spLocks noGrp="1"/>
          </p:cNvSpPr>
          <p:nvPr>
            <p:ph type="pic" idx="2"/>
          </p:nvPr>
        </p:nvSpPr>
        <p:spPr>
          <a:xfrm>
            <a:off x="2807368" y="457202"/>
            <a:ext cx="8915400" cy="5943598"/>
          </a:xfrm>
          <a:prstGeom prst="rect">
            <a:avLst/>
          </a:prstGeom>
          <a:noFill/>
          <a:ln>
            <a:noFill/>
          </a:ln>
        </p:spPr>
      </p:sp>
      <p:pic>
        <p:nvPicPr>
          <p:cNvPr id="5036" name="Google Shape;5036;p7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Quotation">
  <p:cSld name="Quotation 3 4">
    <p:spTree>
      <p:nvGrpSpPr>
        <p:cNvPr id="1" name="Shape 5037"/>
        <p:cNvGrpSpPr/>
        <p:nvPr/>
      </p:nvGrpSpPr>
      <p:grpSpPr>
        <a:xfrm>
          <a:off x="0" y="0"/>
          <a:ext cx="0" cy="0"/>
          <a:chOff x="0" y="0"/>
          <a:chExt cx="0" cy="0"/>
        </a:xfrm>
      </p:grpSpPr>
      <p:sp>
        <p:nvSpPr>
          <p:cNvPr id="5038" name="Google Shape;5038;p7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39" name="Google Shape;5039;p7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40" name="Google Shape;5040;p7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41" name="Google Shape;5041;p7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42" name="Google Shape;5042;p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43" name="Google Shape;5043;p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044" name="Google Shape;5044;p701"/>
          <p:cNvGrpSpPr/>
          <p:nvPr/>
        </p:nvGrpSpPr>
        <p:grpSpPr>
          <a:xfrm>
            <a:off x="7191542" y="1"/>
            <a:ext cx="5000459" cy="1425992"/>
            <a:chOff x="7191542" y="1"/>
            <a:chExt cx="5000459" cy="1425992"/>
          </a:xfrm>
        </p:grpSpPr>
        <p:pic>
          <p:nvPicPr>
            <p:cNvPr id="5045" name="Google Shape;5045;p7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6" name="Google Shape;5046;p701"/>
            <p:cNvGrpSpPr/>
            <p:nvPr/>
          </p:nvGrpSpPr>
          <p:grpSpPr>
            <a:xfrm>
              <a:off x="7191542" y="1"/>
              <a:ext cx="5000459" cy="1425992"/>
              <a:chOff x="7186272" y="0"/>
              <a:chExt cx="5005729" cy="1427495"/>
            </a:xfrm>
          </p:grpSpPr>
          <p:sp>
            <p:nvSpPr>
              <p:cNvPr id="5047" name="Google Shape;5047;p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48" name="Google Shape;5048;p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49" name="Google Shape;5049;p7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Quotation">
  <p:cSld name="Quotation 3 5">
    <p:spTree>
      <p:nvGrpSpPr>
        <p:cNvPr id="1" name="Shape 5050"/>
        <p:cNvGrpSpPr/>
        <p:nvPr/>
      </p:nvGrpSpPr>
      <p:grpSpPr>
        <a:xfrm>
          <a:off x="0" y="0"/>
          <a:ext cx="0" cy="0"/>
          <a:chOff x="0" y="0"/>
          <a:chExt cx="0" cy="0"/>
        </a:xfrm>
      </p:grpSpPr>
      <p:sp>
        <p:nvSpPr>
          <p:cNvPr id="5051" name="Google Shape;5051;p7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52" name="Google Shape;5052;p7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53" name="Google Shape;5053;p7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54" name="Google Shape;5054;p7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55" name="Google Shape;5055;p7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56" name="Google Shape;5056;p7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057" name="Google Shape;5057;p702"/>
          <p:cNvGrpSpPr/>
          <p:nvPr/>
        </p:nvGrpSpPr>
        <p:grpSpPr>
          <a:xfrm>
            <a:off x="7191542" y="1"/>
            <a:ext cx="5000459" cy="1425992"/>
            <a:chOff x="7191542" y="1"/>
            <a:chExt cx="5000459" cy="1425992"/>
          </a:xfrm>
        </p:grpSpPr>
        <p:pic>
          <p:nvPicPr>
            <p:cNvPr id="5058" name="Google Shape;5058;p7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59" name="Google Shape;5059;p702"/>
            <p:cNvGrpSpPr/>
            <p:nvPr/>
          </p:nvGrpSpPr>
          <p:grpSpPr>
            <a:xfrm>
              <a:off x="7191542" y="1"/>
              <a:ext cx="5000459" cy="1425992"/>
              <a:chOff x="7186272" y="0"/>
              <a:chExt cx="5005729" cy="1427495"/>
            </a:xfrm>
          </p:grpSpPr>
          <p:sp>
            <p:nvSpPr>
              <p:cNvPr id="5060" name="Google Shape;5060;p7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61" name="Google Shape;5061;p7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62" name="Google Shape;5062;p7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Quotation">
  <p:cSld name="Quotation 3 6">
    <p:spTree>
      <p:nvGrpSpPr>
        <p:cNvPr id="1" name="Shape 5063"/>
        <p:cNvGrpSpPr/>
        <p:nvPr/>
      </p:nvGrpSpPr>
      <p:grpSpPr>
        <a:xfrm>
          <a:off x="0" y="0"/>
          <a:ext cx="0" cy="0"/>
          <a:chOff x="0" y="0"/>
          <a:chExt cx="0" cy="0"/>
        </a:xfrm>
      </p:grpSpPr>
      <p:sp>
        <p:nvSpPr>
          <p:cNvPr id="5064" name="Google Shape;5064;p7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65" name="Google Shape;5065;p7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66" name="Google Shape;5066;p7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67" name="Google Shape;5067;p7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68" name="Google Shape;5068;p7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69" name="Google Shape;5069;p7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070" name="Google Shape;5070;p703"/>
          <p:cNvGrpSpPr/>
          <p:nvPr/>
        </p:nvGrpSpPr>
        <p:grpSpPr>
          <a:xfrm>
            <a:off x="7191542" y="1"/>
            <a:ext cx="5000459" cy="1425992"/>
            <a:chOff x="7191542" y="1"/>
            <a:chExt cx="5000459" cy="1425992"/>
          </a:xfrm>
        </p:grpSpPr>
        <p:pic>
          <p:nvPicPr>
            <p:cNvPr id="5071" name="Google Shape;5071;p7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72" name="Google Shape;5072;p703"/>
            <p:cNvGrpSpPr/>
            <p:nvPr/>
          </p:nvGrpSpPr>
          <p:grpSpPr>
            <a:xfrm>
              <a:off x="7191542" y="1"/>
              <a:ext cx="5000459" cy="1425992"/>
              <a:chOff x="7186272" y="0"/>
              <a:chExt cx="5005729" cy="1427495"/>
            </a:xfrm>
          </p:grpSpPr>
          <p:sp>
            <p:nvSpPr>
              <p:cNvPr id="5073" name="Google Shape;5073;p7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74" name="Google Shape;5074;p7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075" name="Google Shape;5075;p7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Two Content">
  <p:cSld name="Two Content 3 2">
    <p:spTree>
      <p:nvGrpSpPr>
        <p:cNvPr id="1" name="Shape 5076"/>
        <p:cNvGrpSpPr/>
        <p:nvPr/>
      </p:nvGrpSpPr>
      <p:grpSpPr>
        <a:xfrm>
          <a:off x="0" y="0"/>
          <a:ext cx="0" cy="0"/>
          <a:chOff x="0" y="0"/>
          <a:chExt cx="0" cy="0"/>
        </a:xfrm>
      </p:grpSpPr>
      <p:sp>
        <p:nvSpPr>
          <p:cNvPr id="5077" name="Google Shape;5077;p7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78" name="Google Shape;5078;p7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79" name="Google Shape;5079;p704"/>
          <p:cNvGrpSpPr/>
          <p:nvPr/>
        </p:nvGrpSpPr>
        <p:grpSpPr>
          <a:xfrm>
            <a:off x="7191542" y="1"/>
            <a:ext cx="5000459" cy="1425992"/>
            <a:chOff x="7191542" y="1"/>
            <a:chExt cx="5000459" cy="1425992"/>
          </a:xfrm>
        </p:grpSpPr>
        <p:pic>
          <p:nvPicPr>
            <p:cNvPr id="5080" name="Google Shape;5080;p7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81" name="Google Shape;5081;p704"/>
            <p:cNvGrpSpPr/>
            <p:nvPr/>
          </p:nvGrpSpPr>
          <p:grpSpPr>
            <a:xfrm>
              <a:off x="7191542" y="1"/>
              <a:ext cx="5000459" cy="1425992"/>
              <a:chOff x="7186272" y="0"/>
              <a:chExt cx="5005729" cy="1427495"/>
            </a:xfrm>
          </p:grpSpPr>
          <p:sp>
            <p:nvSpPr>
              <p:cNvPr id="5082" name="Google Shape;5082;p7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83" name="Google Shape;5083;p7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84" name="Google Shape;5084;p7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85" name="Google Shape;5085;p7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6" name="Google Shape;5086;p7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87" name="Google Shape;5087;p7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5088"/>
        <p:cNvGrpSpPr/>
        <p:nvPr/>
      </p:nvGrpSpPr>
      <p:grpSpPr>
        <a:xfrm>
          <a:off x="0" y="0"/>
          <a:ext cx="0" cy="0"/>
          <a:chOff x="0" y="0"/>
          <a:chExt cx="0" cy="0"/>
        </a:xfrm>
      </p:grpSpPr>
      <p:grpSp>
        <p:nvGrpSpPr>
          <p:cNvPr id="5089" name="Google Shape;5089;p705"/>
          <p:cNvGrpSpPr/>
          <p:nvPr/>
        </p:nvGrpSpPr>
        <p:grpSpPr>
          <a:xfrm>
            <a:off x="7191542" y="1"/>
            <a:ext cx="5000459" cy="1425992"/>
            <a:chOff x="7191542" y="1"/>
            <a:chExt cx="5000459" cy="1425992"/>
          </a:xfrm>
        </p:grpSpPr>
        <p:pic>
          <p:nvPicPr>
            <p:cNvPr id="5090" name="Google Shape;5090;p7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91" name="Google Shape;5091;p705"/>
            <p:cNvGrpSpPr/>
            <p:nvPr/>
          </p:nvGrpSpPr>
          <p:grpSpPr>
            <a:xfrm>
              <a:off x="7191542" y="1"/>
              <a:ext cx="5000459" cy="1425992"/>
              <a:chOff x="7186272" y="0"/>
              <a:chExt cx="5005729" cy="1427495"/>
            </a:xfrm>
          </p:grpSpPr>
          <p:sp>
            <p:nvSpPr>
              <p:cNvPr id="5092" name="Google Shape;5092;p7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93" name="Google Shape;5093;p7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94" name="Google Shape;5094;p7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95" name="Google Shape;5095;p7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96" name="Google Shape;5096;p7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97" name="Google Shape;5097;p7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098" name="Google Shape;5098;p7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99" name="Google Shape;5099;p7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00" name="Google Shape;5100;p7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01" name="Google Shape;5101;p7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5102"/>
        <p:cNvGrpSpPr/>
        <p:nvPr/>
      </p:nvGrpSpPr>
      <p:grpSpPr>
        <a:xfrm>
          <a:off x="0" y="0"/>
          <a:ext cx="0" cy="0"/>
          <a:chOff x="0" y="0"/>
          <a:chExt cx="0" cy="0"/>
        </a:xfrm>
      </p:grpSpPr>
      <p:grpSp>
        <p:nvGrpSpPr>
          <p:cNvPr id="5103" name="Google Shape;5103;p706"/>
          <p:cNvGrpSpPr/>
          <p:nvPr/>
        </p:nvGrpSpPr>
        <p:grpSpPr>
          <a:xfrm>
            <a:off x="7191542" y="1"/>
            <a:ext cx="5000459" cy="1425992"/>
            <a:chOff x="7191542" y="1"/>
            <a:chExt cx="5000459" cy="1425992"/>
          </a:xfrm>
        </p:grpSpPr>
        <p:pic>
          <p:nvPicPr>
            <p:cNvPr id="5104" name="Google Shape;5104;p7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5" name="Google Shape;5105;p706"/>
            <p:cNvGrpSpPr/>
            <p:nvPr/>
          </p:nvGrpSpPr>
          <p:grpSpPr>
            <a:xfrm>
              <a:off x="7191542" y="1"/>
              <a:ext cx="5000459" cy="1425992"/>
              <a:chOff x="7186272" y="0"/>
              <a:chExt cx="5005729" cy="1427495"/>
            </a:xfrm>
          </p:grpSpPr>
          <p:sp>
            <p:nvSpPr>
              <p:cNvPr id="5106" name="Google Shape;5106;p7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07" name="Google Shape;5107;p7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08" name="Google Shape;5108;p7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09" name="Google Shape;5109;p7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10" name="Google Shape;5110;p7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11" name="Google Shape;5111;p7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End">
  <p:cSld name="End 2 3">
    <p:spTree>
      <p:nvGrpSpPr>
        <p:cNvPr id="1" name="Shape 5112"/>
        <p:cNvGrpSpPr/>
        <p:nvPr/>
      </p:nvGrpSpPr>
      <p:grpSpPr>
        <a:xfrm>
          <a:off x="0" y="0"/>
          <a:ext cx="0" cy="0"/>
          <a:chOff x="0" y="0"/>
          <a:chExt cx="0" cy="0"/>
        </a:xfrm>
      </p:grpSpPr>
      <p:grpSp>
        <p:nvGrpSpPr>
          <p:cNvPr id="5113" name="Google Shape;5113;p707"/>
          <p:cNvGrpSpPr/>
          <p:nvPr/>
        </p:nvGrpSpPr>
        <p:grpSpPr>
          <a:xfrm>
            <a:off x="0" y="0"/>
            <a:ext cx="12192000" cy="2148830"/>
            <a:chOff x="0" y="0"/>
            <a:chExt cx="12192000" cy="2148830"/>
          </a:xfrm>
        </p:grpSpPr>
        <p:sp>
          <p:nvSpPr>
            <p:cNvPr id="5114" name="Google Shape;5114;p7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15" name="Google Shape;5115;p7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116" name="Google Shape;5116;p7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17" name="Google Shape;5117;p7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18" name="Google Shape;5118;p7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119" name="Google Shape;5119;p7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120" name="Google Shape;5120;p7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5121"/>
        <p:cNvGrpSpPr/>
        <p:nvPr/>
      </p:nvGrpSpPr>
      <p:grpSpPr>
        <a:xfrm>
          <a:off x="0" y="0"/>
          <a:ext cx="0" cy="0"/>
          <a:chOff x="0" y="0"/>
          <a:chExt cx="0" cy="0"/>
        </a:xfrm>
      </p:grpSpPr>
      <p:sp>
        <p:nvSpPr>
          <p:cNvPr id="5122" name="Google Shape;5122;p7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23" name="Google Shape;5123;p7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4" name="Google Shape;5124;p7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25" name="Google Shape;5125;p7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26" name="Google Shape;5126;p7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27" name="Google Shape;5127;p7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28" name="Google Shape;5128;p708"/>
          <p:cNvGrpSpPr/>
          <p:nvPr/>
        </p:nvGrpSpPr>
        <p:grpSpPr>
          <a:xfrm>
            <a:off x="7191542" y="1"/>
            <a:ext cx="5000459" cy="1425992"/>
            <a:chOff x="7191542" y="1"/>
            <a:chExt cx="5000459" cy="1425992"/>
          </a:xfrm>
        </p:grpSpPr>
        <p:pic>
          <p:nvPicPr>
            <p:cNvPr id="5129" name="Google Shape;5129;p7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30" name="Google Shape;5130;p708"/>
            <p:cNvGrpSpPr/>
            <p:nvPr/>
          </p:nvGrpSpPr>
          <p:grpSpPr>
            <a:xfrm>
              <a:off x="7191542" y="1"/>
              <a:ext cx="5000459" cy="1425992"/>
              <a:chOff x="7186272" y="0"/>
              <a:chExt cx="5005729" cy="1427495"/>
            </a:xfrm>
          </p:grpSpPr>
          <p:sp>
            <p:nvSpPr>
              <p:cNvPr id="5131" name="Google Shape;5131;p7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32" name="Google Shape;5132;p7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33" name="Google Shape;5133;p70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5134"/>
        <p:cNvGrpSpPr/>
        <p:nvPr/>
      </p:nvGrpSpPr>
      <p:grpSpPr>
        <a:xfrm>
          <a:off x="0" y="0"/>
          <a:ext cx="0" cy="0"/>
          <a:chOff x="0" y="0"/>
          <a:chExt cx="0" cy="0"/>
        </a:xfrm>
      </p:grpSpPr>
      <p:sp>
        <p:nvSpPr>
          <p:cNvPr id="5135" name="Google Shape;5135;p7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36" name="Google Shape;5136;p7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37" name="Google Shape;5137;p7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38" name="Google Shape;5138;p7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39" name="Google Shape;5139;p7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40" name="Google Shape;5140;p7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41" name="Google Shape;5141;p709"/>
          <p:cNvGrpSpPr/>
          <p:nvPr/>
        </p:nvGrpSpPr>
        <p:grpSpPr>
          <a:xfrm>
            <a:off x="7191542" y="1"/>
            <a:ext cx="5000459" cy="1425992"/>
            <a:chOff x="7191542" y="1"/>
            <a:chExt cx="5000459" cy="1425992"/>
          </a:xfrm>
        </p:grpSpPr>
        <p:pic>
          <p:nvPicPr>
            <p:cNvPr id="5142" name="Google Shape;5142;p7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43" name="Google Shape;5143;p709"/>
            <p:cNvGrpSpPr/>
            <p:nvPr/>
          </p:nvGrpSpPr>
          <p:grpSpPr>
            <a:xfrm>
              <a:off x="7191542" y="1"/>
              <a:ext cx="5000459" cy="1425992"/>
              <a:chOff x="7186272" y="0"/>
              <a:chExt cx="5005729" cy="1427495"/>
            </a:xfrm>
          </p:grpSpPr>
          <p:sp>
            <p:nvSpPr>
              <p:cNvPr id="5144" name="Google Shape;5144;p7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45" name="Google Shape;5145;p7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46" name="Google Shape;5146;p7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50"/>
        <p:cNvGrpSpPr/>
        <p:nvPr/>
      </p:nvGrpSpPr>
      <p:grpSpPr>
        <a:xfrm>
          <a:off x="0" y="0"/>
          <a:ext cx="0" cy="0"/>
          <a:chOff x="0" y="0"/>
          <a:chExt cx="0" cy="0"/>
        </a:xfrm>
      </p:grpSpPr>
      <p:grpSp>
        <p:nvGrpSpPr>
          <p:cNvPr id="551" name="Google Shape;551;p108"/>
          <p:cNvGrpSpPr/>
          <p:nvPr/>
        </p:nvGrpSpPr>
        <p:grpSpPr>
          <a:xfrm>
            <a:off x="0" y="5020347"/>
            <a:ext cx="12192000" cy="1837653"/>
            <a:chOff x="0" y="5020347"/>
            <a:chExt cx="12192000" cy="1837653"/>
          </a:xfrm>
        </p:grpSpPr>
        <p:sp>
          <p:nvSpPr>
            <p:cNvPr id="552" name="Google Shape;552;p1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3" name="Google Shape;553;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1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5" name="Google Shape;555;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6" name="Google Shape;556;p1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7" name="Google Shape;557;p1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5147"/>
        <p:cNvGrpSpPr/>
        <p:nvPr/>
      </p:nvGrpSpPr>
      <p:grpSpPr>
        <a:xfrm>
          <a:off x="0" y="0"/>
          <a:ext cx="0" cy="0"/>
          <a:chOff x="0" y="0"/>
          <a:chExt cx="0" cy="0"/>
        </a:xfrm>
      </p:grpSpPr>
      <p:sp>
        <p:nvSpPr>
          <p:cNvPr id="5148" name="Google Shape;5148;p7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49" name="Google Shape;5149;p7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50" name="Google Shape;5150;p7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1" name="Google Shape;5151;p7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52" name="Google Shape;5152;p7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53" name="Google Shape;5153;p7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54" name="Google Shape;5154;p710"/>
          <p:cNvGrpSpPr/>
          <p:nvPr/>
        </p:nvGrpSpPr>
        <p:grpSpPr>
          <a:xfrm>
            <a:off x="7191542" y="1"/>
            <a:ext cx="5000459" cy="1425992"/>
            <a:chOff x="7191542" y="1"/>
            <a:chExt cx="5000459" cy="1425992"/>
          </a:xfrm>
        </p:grpSpPr>
        <p:pic>
          <p:nvPicPr>
            <p:cNvPr id="5155" name="Google Shape;5155;p7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56" name="Google Shape;5156;p710"/>
            <p:cNvGrpSpPr/>
            <p:nvPr/>
          </p:nvGrpSpPr>
          <p:grpSpPr>
            <a:xfrm>
              <a:off x="7191542" y="1"/>
              <a:ext cx="5000459" cy="1425992"/>
              <a:chOff x="7186272" y="0"/>
              <a:chExt cx="5005729" cy="1427495"/>
            </a:xfrm>
          </p:grpSpPr>
          <p:sp>
            <p:nvSpPr>
              <p:cNvPr id="5157" name="Google Shape;5157;p7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8" name="Google Shape;5158;p7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59" name="Google Shape;5159;p7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5160"/>
        <p:cNvGrpSpPr/>
        <p:nvPr/>
      </p:nvGrpSpPr>
      <p:grpSpPr>
        <a:xfrm>
          <a:off x="0" y="0"/>
          <a:ext cx="0" cy="0"/>
          <a:chOff x="0" y="0"/>
          <a:chExt cx="0" cy="0"/>
        </a:xfrm>
      </p:grpSpPr>
      <p:sp>
        <p:nvSpPr>
          <p:cNvPr id="5161" name="Google Shape;5161;p7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62" name="Google Shape;5162;p7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63" name="Google Shape;5163;p7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64" name="Google Shape;5164;p7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5" name="Google Shape;5165;p7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6" name="Google Shape;5166;p7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67" name="Google Shape;5167;p711"/>
          <p:cNvGrpSpPr/>
          <p:nvPr/>
        </p:nvGrpSpPr>
        <p:grpSpPr>
          <a:xfrm>
            <a:off x="7191542" y="1"/>
            <a:ext cx="5000459" cy="1425992"/>
            <a:chOff x="7191542" y="1"/>
            <a:chExt cx="5000459" cy="1425992"/>
          </a:xfrm>
        </p:grpSpPr>
        <p:pic>
          <p:nvPicPr>
            <p:cNvPr id="5168" name="Google Shape;5168;p7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69" name="Google Shape;5169;p711"/>
            <p:cNvGrpSpPr/>
            <p:nvPr/>
          </p:nvGrpSpPr>
          <p:grpSpPr>
            <a:xfrm>
              <a:off x="7191542" y="1"/>
              <a:ext cx="5000459" cy="1425992"/>
              <a:chOff x="7186272" y="0"/>
              <a:chExt cx="5005729" cy="1427495"/>
            </a:xfrm>
          </p:grpSpPr>
          <p:sp>
            <p:nvSpPr>
              <p:cNvPr id="5170" name="Google Shape;5170;p7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71" name="Google Shape;5171;p7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72" name="Google Shape;5172;p7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5173"/>
        <p:cNvGrpSpPr/>
        <p:nvPr/>
      </p:nvGrpSpPr>
      <p:grpSpPr>
        <a:xfrm>
          <a:off x="0" y="0"/>
          <a:ext cx="0" cy="0"/>
          <a:chOff x="0" y="0"/>
          <a:chExt cx="0" cy="0"/>
        </a:xfrm>
      </p:grpSpPr>
      <p:sp>
        <p:nvSpPr>
          <p:cNvPr id="5174" name="Google Shape;5174;p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75" name="Google Shape;5175;p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6" name="Google Shape;5176;p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77" name="Google Shape;5177;p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78" name="Google Shape;5178;p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9" name="Google Shape;5179;p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80" name="Google Shape;5180;p712"/>
          <p:cNvGrpSpPr/>
          <p:nvPr/>
        </p:nvGrpSpPr>
        <p:grpSpPr>
          <a:xfrm>
            <a:off x="7191542" y="1"/>
            <a:ext cx="5000459" cy="1425992"/>
            <a:chOff x="7191542" y="1"/>
            <a:chExt cx="5000459" cy="1425992"/>
          </a:xfrm>
        </p:grpSpPr>
        <p:pic>
          <p:nvPicPr>
            <p:cNvPr id="5181" name="Google Shape;5181;p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82" name="Google Shape;5182;p712"/>
            <p:cNvGrpSpPr/>
            <p:nvPr/>
          </p:nvGrpSpPr>
          <p:grpSpPr>
            <a:xfrm>
              <a:off x="7191542" y="1"/>
              <a:ext cx="5000459" cy="1425992"/>
              <a:chOff x="7186272" y="0"/>
              <a:chExt cx="5005729" cy="1427495"/>
            </a:xfrm>
          </p:grpSpPr>
          <p:sp>
            <p:nvSpPr>
              <p:cNvPr id="5183" name="Google Shape;5183;p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84" name="Google Shape;5184;p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85" name="Google Shape;5185;p7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5186"/>
        <p:cNvGrpSpPr/>
        <p:nvPr/>
      </p:nvGrpSpPr>
      <p:grpSpPr>
        <a:xfrm>
          <a:off x="0" y="0"/>
          <a:ext cx="0" cy="0"/>
          <a:chOff x="0" y="0"/>
          <a:chExt cx="0" cy="0"/>
        </a:xfrm>
      </p:grpSpPr>
      <p:sp>
        <p:nvSpPr>
          <p:cNvPr id="5187" name="Google Shape;5187;p7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88" name="Google Shape;5188;p7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89" name="Google Shape;5189;p7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0" name="Google Shape;5190;p7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91" name="Google Shape;5191;p7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92" name="Google Shape;5192;p7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193" name="Google Shape;5193;p713"/>
          <p:cNvGrpSpPr/>
          <p:nvPr/>
        </p:nvGrpSpPr>
        <p:grpSpPr>
          <a:xfrm>
            <a:off x="7191542" y="1"/>
            <a:ext cx="5000459" cy="1425992"/>
            <a:chOff x="7191542" y="1"/>
            <a:chExt cx="5000459" cy="1425992"/>
          </a:xfrm>
        </p:grpSpPr>
        <p:pic>
          <p:nvPicPr>
            <p:cNvPr id="5194" name="Google Shape;5194;p7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95" name="Google Shape;5195;p713"/>
            <p:cNvGrpSpPr/>
            <p:nvPr/>
          </p:nvGrpSpPr>
          <p:grpSpPr>
            <a:xfrm>
              <a:off x="7191542" y="1"/>
              <a:ext cx="5000459" cy="1425992"/>
              <a:chOff x="7186272" y="0"/>
              <a:chExt cx="5005729" cy="1427495"/>
            </a:xfrm>
          </p:grpSpPr>
          <p:sp>
            <p:nvSpPr>
              <p:cNvPr id="5196" name="Google Shape;5196;p7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97" name="Google Shape;5197;p7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198" name="Google Shape;5198;p7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5199"/>
        <p:cNvGrpSpPr/>
        <p:nvPr/>
      </p:nvGrpSpPr>
      <p:grpSpPr>
        <a:xfrm>
          <a:off x="0" y="0"/>
          <a:ext cx="0" cy="0"/>
          <a:chOff x="0" y="0"/>
          <a:chExt cx="0" cy="0"/>
        </a:xfrm>
      </p:grpSpPr>
      <p:sp>
        <p:nvSpPr>
          <p:cNvPr id="5200" name="Google Shape;5200;p7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01" name="Google Shape;5201;p7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02" name="Google Shape;5202;p7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03" name="Google Shape;5203;p714"/>
          <p:cNvSpPr>
            <a:spLocks noGrp="1"/>
          </p:cNvSpPr>
          <p:nvPr>
            <p:ph type="pic" idx="2"/>
          </p:nvPr>
        </p:nvSpPr>
        <p:spPr>
          <a:xfrm>
            <a:off x="7118684" y="233915"/>
            <a:ext cx="5073316" cy="5943600"/>
          </a:xfrm>
          <a:prstGeom prst="rect">
            <a:avLst/>
          </a:prstGeom>
          <a:noFill/>
          <a:ln>
            <a:noFill/>
          </a:ln>
        </p:spPr>
      </p:sp>
      <p:grpSp>
        <p:nvGrpSpPr>
          <p:cNvPr id="5204" name="Google Shape;5204;p714"/>
          <p:cNvGrpSpPr/>
          <p:nvPr/>
        </p:nvGrpSpPr>
        <p:grpSpPr>
          <a:xfrm>
            <a:off x="0" y="5020348"/>
            <a:ext cx="12192000" cy="1837653"/>
            <a:chOff x="0" y="5020348"/>
            <a:chExt cx="12192000" cy="1837653"/>
          </a:xfrm>
        </p:grpSpPr>
        <p:sp>
          <p:nvSpPr>
            <p:cNvPr id="5205" name="Google Shape;5205;p7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06" name="Google Shape;5206;p7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07" name="Google Shape;5207;p7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5208"/>
        <p:cNvGrpSpPr/>
        <p:nvPr/>
      </p:nvGrpSpPr>
      <p:grpSpPr>
        <a:xfrm>
          <a:off x="0" y="0"/>
          <a:ext cx="0" cy="0"/>
          <a:chOff x="0" y="0"/>
          <a:chExt cx="0" cy="0"/>
        </a:xfrm>
      </p:grpSpPr>
      <p:grpSp>
        <p:nvGrpSpPr>
          <p:cNvPr id="5209" name="Google Shape;5209;p715"/>
          <p:cNvGrpSpPr/>
          <p:nvPr/>
        </p:nvGrpSpPr>
        <p:grpSpPr>
          <a:xfrm>
            <a:off x="0" y="5020347"/>
            <a:ext cx="12192000" cy="1837653"/>
            <a:chOff x="0" y="5020347"/>
            <a:chExt cx="12192000" cy="1837653"/>
          </a:xfrm>
        </p:grpSpPr>
        <p:sp>
          <p:nvSpPr>
            <p:cNvPr id="5210" name="Google Shape;5210;p7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11" name="Google Shape;5211;p7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12" name="Google Shape;5212;p7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13" name="Google Shape;5213;p7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14" name="Google Shape;5214;p7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15" name="Google Shape;5215;p7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5216"/>
        <p:cNvGrpSpPr/>
        <p:nvPr/>
      </p:nvGrpSpPr>
      <p:grpSpPr>
        <a:xfrm>
          <a:off x="0" y="0"/>
          <a:ext cx="0" cy="0"/>
          <a:chOff x="0" y="0"/>
          <a:chExt cx="0" cy="0"/>
        </a:xfrm>
      </p:grpSpPr>
      <p:sp>
        <p:nvSpPr>
          <p:cNvPr id="5217" name="Google Shape;5217;p7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18" name="Google Shape;5218;p7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19" name="Google Shape;5219;p716"/>
          <p:cNvGrpSpPr/>
          <p:nvPr/>
        </p:nvGrpSpPr>
        <p:grpSpPr>
          <a:xfrm>
            <a:off x="0" y="5379426"/>
            <a:ext cx="2807368" cy="753891"/>
            <a:chOff x="0" y="5379426"/>
            <a:chExt cx="2807368" cy="753891"/>
          </a:xfrm>
        </p:grpSpPr>
        <p:sp>
          <p:nvSpPr>
            <p:cNvPr id="5220" name="Google Shape;5220;p7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21" name="Google Shape;5221;p7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22" name="Google Shape;5222;p716"/>
          <p:cNvSpPr>
            <a:spLocks noGrp="1"/>
          </p:cNvSpPr>
          <p:nvPr>
            <p:ph type="pic" idx="2"/>
          </p:nvPr>
        </p:nvSpPr>
        <p:spPr>
          <a:xfrm>
            <a:off x="2807368" y="457202"/>
            <a:ext cx="8915400" cy="5943598"/>
          </a:xfrm>
          <a:prstGeom prst="rect">
            <a:avLst/>
          </a:prstGeom>
          <a:noFill/>
          <a:ln>
            <a:noFill/>
          </a:ln>
        </p:spPr>
      </p:sp>
      <p:pic>
        <p:nvPicPr>
          <p:cNvPr id="5223" name="Google Shape;5223;p7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Quotation">
  <p:cSld name="Quotation 4 2">
    <p:spTree>
      <p:nvGrpSpPr>
        <p:cNvPr id="1" name="Shape 5224"/>
        <p:cNvGrpSpPr/>
        <p:nvPr/>
      </p:nvGrpSpPr>
      <p:grpSpPr>
        <a:xfrm>
          <a:off x="0" y="0"/>
          <a:ext cx="0" cy="0"/>
          <a:chOff x="0" y="0"/>
          <a:chExt cx="0" cy="0"/>
        </a:xfrm>
      </p:grpSpPr>
      <p:sp>
        <p:nvSpPr>
          <p:cNvPr id="5225" name="Google Shape;5225;p7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26" name="Google Shape;5226;p7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27" name="Google Shape;5227;p7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28" name="Google Shape;5228;p7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9" name="Google Shape;5229;p7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0" name="Google Shape;5230;p7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231" name="Google Shape;5231;p717"/>
          <p:cNvGrpSpPr/>
          <p:nvPr/>
        </p:nvGrpSpPr>
        <p:grpSpPr>
          <a:xfrm>
            <a:off x="7191542" y="1"/>
            <a:ext cx="5000459" cy="1425992"/>
            <a:chOff x="7191542" y="1"/>
            <a:chExt cx="5000459" cy="1425992"/>
          </a:xfrm>
        </p:grpSpPr>
        <p:pic>
          <p:nvPicPr>
            <p:cNvPr id="5232" name="Google Shape;5232;p7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33" name="Google Shape;5233;p717"/>
            <p:cNvGrpSpPr/>
            <p:nvPr/>
          </p:nvGrpSpPr>
          <p:grpSpPr>
            <a:xfrm>
              <a:off x="7191542" y="1"/>
              <a:ext cx="5000459" cy="1425992"/>
              <a:chOff x="7186272" y="0"/>
              <a:chExt cx="5005729" cy="1427495"/>
            </a:xfrm>
          </p:grpSpPr>
          <p:sp>
            <p:nvSpPr>
              <p:cNvPr id="5234" name="Google Shape;5234;p7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35" name="Google Shape;5235;p7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236" name="Google Shape;5236;p7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Quotation">
  <p:cSld name="Quotation 4 3">
    <p:spTree>
      <p:nvGrpSpPr>
        <p:cNvPr id="1" name="Shape 5237"/>
        <p:cNvGrpSpPr/>
        <p:nvPr/>
      </p:nvGrpSpPr>
      <p:grpSpPr>
        <a:xfrm>
          <a:off x="0" y="0"/>
          <a:ext cx="0" cy="0"/>
          <a:chOff x="0" y="0"/>
          <a:chExt cx="0" cy="0"/>
        </a:xfrm>
      </p:grpSpPr>
      <p:sp>
        <p:nvSpPr>
          <p:cNvPr id="5238" name="Google Shape;5238;p7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39" name="Google Shape;5239;p7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40" name="Google Shape;5240;p7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41" name="Google Shape;5241;p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42" name="Google Shape;5242;p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43" name="Google Shape;5243;p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244" name="Google Shape;5244;p718"/>
          <p:cNvGrpSpPr/>
          <p:nvPr/>
        </p:nvGrpSpPr>
        <p:grpSpPr>
          <a:xfrm>
            <a:off x="7191542" y="1"/>
            <a:ext cx="5000459" cy="1425992"/>
            <a:chOff x="7191542" y="1"/>
            <a:chExt cx="5000459" cy="1425992"/>
          </a:xfrm>
        </p:grpSpPr>
        <p:pic>
          <p:nvPicPr>
            <p:cNvPr id="5245" name="Google Shape;5245;p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46" name="Google Shape;5246;p718"/>
            <p:cNvGrpSpPr/>
            <p:nvPr/>
          </p:nvGrpSpPr>
          <p:grpSpPr>
            <a:xfrm>
              <a:off x="7191542" y="1"/>
              <a:ext cx="5000459" cy="1425992"/>
              <a:chOff x="7186272" y="0"/>
              <a:chExt cx="5005729" cy="1427495"/>
            </a:xfrm>
          </p:grpSpPr>
          <p:sp>
            <p:nvSpPr>
              <p:cNvPr id="5247" name="Google Shape;5247;p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48" name="Google Shape;5248;p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249" name="Google Shape;5249;p7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Comparison">
  <p:cSld name="Comparison 2 2">
    <p:spTree>
      <p:nvGrpSpPr>
        <p:cNvPr id="1" name="Shape 5250"/>
        <p:cNvGrpSpPr/>
        <p:nvPr/>
      </p:nvGrpSpPr>
      <p:grpSpPr>
        <a:xfrm>
          <a:off x="0" y="0"/>
          <a:ext cx="0" cy="0"/>
          <a:chOff x="0" y="0"/>
          <a:chExt cx="0" cy="0"/>
        </a:xfrm>
      </p:grpSpPr>
      <p:grpSp>
        <p:nvGrpSpPr>
          <p:cNvPr id="5251" name="Google Shape;5251;p719"/>
          <p:cNvGrpSpPr/>
          <p:nvPr/>
        </p:nvGrpSpPr>
        <p:grpSpPr>
          <a:xfrm>
            <a:off x="7191542" y="1"/>
            <a:ext cx="5000459" cy="1425992"/>
            <a:chOff x="7191542" y="1"/>
            <a:chExt cx="5000459" cy="1425992"/>
          </a:xfrm>
        </p:grpSpPr>
        <p:pic>
          <p:nvPicPr>
            <p:cNvPr id="5252" name="Google Shape;5252;p7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53" name="Google Shape;5253;p719"/>
            <p:cNvGrpSpPr/>
            <p:nvPr/>
          </p:nvGrpSpPr>
          <p:grpSpPr>
            <a:xfrm>
              <a:off x="7191542" y="1"/>
              <a:ext cx="5000459" cy="1425992"/>
              <a:chOff x="7186272" y="0"/>
              <a:chExt cx="5005729" cy="1427495"/>
            </a:xfrm>
          </p:grpSpPr>
          <p:sp>
            <p:nvSpPr>
              <p:cNvPr id="5254" name="Google Shape;5254;p7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55" name="Google Shape;5255;p7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56" name="Google Shape;5256;p7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7" name="Google Shape;5257;p7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58" name="Google Shape;5258;p7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59" name="Google Shape;5259;p7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0" name="Google Shape;5260;p7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61" name="Google Shape;5261;p7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62" name="Google Shape;5262;p7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63" name="Google Shape;5263;p7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58"/>
        <p:cNvGrpSpPr/>
        <p:nvPr/>
      </p:nvGrpSpPr>
      <p:grpSpPr>
        <a:xfrm>
          <a:off x="0" y="0"/>
          <a:ext cx="0" cy="0"/>
          <a:chOff x="0" y="0"/>
          <a:chExt cx="0" cy="0"/>
        </a:xfrm>
      </p:grpSpPr>
      <p:sp>
        <p:nvSpPr>
          <p:cNvPr id="559" name="Google Shape;559;p1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0" name="Google Shape;560;p1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1" name="Google Shape;561;p109"/>
          <p:cNvGrpSpPr/>
          <p:nvPr/>
        </p:nvGrpSpPr>
        <p:grpSpPr>
          <a:xfrm>
            <a:off x="0" y="5379426"/>
            <a:ext cx="2807368" cy="753891"/>
            <a:chOff x="0" y="5379426"/>
            <a:chExt cx="2807368" cy="753891"/>
          </a:xfrm>
        </p:grpSpPr>
        <p:sp>
          <p:nvSpPr>
            <p:cNvPr id="562" name="Google Shape;562;p1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1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64" name="Google Shape;564;p109"/>
          <p:cNvSpPr>
            <a:spLocks noGrp="1"/>
          </p:cNvSpPr>
          <p:nvPr>
            <p:ph type="pic" idx="2"/>
          </p:nvPr>
        </p:nvSpPr>
        <p:spPr>
          <a:xfrm>
            <a:off x="2807368" y="457202"/>
            <a:ext cx="8915400" cy="5943598"/>
          </a:xfrm>
          <a:prstGeom prst="rect">
            <a:avLst/>
          </a:prstGeom>
          <a:noFill/>
          <a:ln>
            <a:noFill/>
          </a:ln>
        </p:spPr>
      </p:sp>
      <p:pic>
        <p:nvPicPr>
          <p:cNvPr id="565" name="Google Shape;565;p1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Title Only">
  <p:cSld name="Title Only 2 2">
    <p:spTree>
      <p:nvGrpSpPr>
        <p:cNvPr id="1" name="Shape 5264"/>
        <p:cNvGrpSpPr/>
        <p:nvPr/>
      </p:nvGrpSpPr>
      <p:grpSpPr>
        <a:xfrm>
          <a:off x="0" y="0"/>
          <a:ext cx="0" cy="0"/>
          <a:chOff x="0" y="0"/>
          <a:chExt cx="0" cy="0"/>
        </a:xfrm>
      </p:grpSpPr>
      <p:grpSp>
        <p:nvGrpSpPr>
          <p:cNvPr id="5265" name="Google Shape;5265;p720"/>
          <p:cNvGrpSpPr/>
          <p:nvPr/>
        </p:nvGrpSpPr>
        <p:grpSpPr>
          <a:xfrm>
            <a:off x="7191542" y="1"/>
            <a:ext cx="5000459" cy="1425992"/>
            <a:chOff x="7191542" y="1"/>
            <a:chExt cx="5000459" cy="1425992"/>
          </a:xfrm>
        </p:grpSpPr>
        <p:pic>
          <p:nvPicPr>
            <p:cNvPr id="5266" name="Google Shape;5266;p7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267" name="Google Shape;5267;p720"/>
            <p:cNvGrpSpPr/>
            <p:nvPr/>
          </p:nvGrpSpPr>
          <p:grpSpPr>
            <a:xfrm>
              <a:off x="7191542" y="1"/>
              <a:ext cx="5000459" cy="1425992"/>
              <a:chOff x="7186272" y="0"/>
              <a:chExt cx="5005729" cy="1427495"/>
            </a:xfrm>
          </p:grpSpPr>
          <p:sp>
            <p:nvSpPr>
              <p:cNvPr id="5268" name="Google Shape;5268;p7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69" name="Google Shape;5269;p7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270" name="Google Shape;5270;p7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1" name="Google Shape;5271;p7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72" name="Google Shape;5272;p7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73" name="Google Shape;5273;p7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Cover">
  <p:cSld name="Cover 4 2">
    <p:spTree>
      <p:nvGrpSpPr>
        <p:cNvPr id="1" name="Shape 5274"/>
        <p:cNvGrpSpPr/>
        <p:nvPr/>
      </p:nvGrpSpPr>
      <p:grpSpPr>
        <a:xfrm>
          <a:off x="0" y="0"/>
          <a:ext cx="0" cy="0"/>
          <a:chOff x="0" y="0"/>
          <a:chExt cx="0" cy="0"/>
        </a:xfrm>
      </p:grpSpPr>
      <p:sp>
        <p:nvSpPr>
          <p:cNvPr id="5275" name="Google Shape;5275;p7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76" name="Google Shape;5276;p7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7" name="Google Shape;5277;p7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278" name="Google Shape;5278;p721"/>
          <p:cNvSpPr>
            <a:spLocks noGrp="1"/>
          </p:cNvSpPr>
          <p:nvPr>
            <p:ph type="pic" idx="2"/>
          </p:nvPr>
        </p:nvSpPr>
        <p:spPr>
          <a:xfrm>
            <a:off x="7118684" y="233915"/>
            <a:ext cx="5073316" cy="5943600"/>
          </a:xfrm>
          <a:prstGeom prst="rect">
            <a:avLst/>
          </a:prstGeom>
          <a:noFill/>
          <a:ln>
            <a:noFill/>
          </a:ln>
        </p:spPr>
      </p:sp>
      <p:grpSp>
        <p:nvGrpSpPr>
          <p:cNvPr id="5279" name="Google Shape;5279;p721"/>
          <p:cNvGrpSpPr/>
          <p:nvPr/>
        </p:nvGrpSpPr>
        <p:grpSpPr>
          <a:xfrm>
            <a:off x="0" y="5020348"/>
            <a:ext cx="12192000" cy="1837653"/>
            <a:chOff x="0" y="5020348"/>
            <a:chExt cx="12192000" cy="1837653"/>
          </a:xfrm>
        </p:grpSpPr>
        <p:sp>
          <p:nvSpPr>
            <p:cNvPr id="5280" name="Google Shape;5280;p7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81" name="Google Shape;5281;p7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82" name="Google Shape;5282;p7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Divider">
  <p:cSld name="Divider 5 2">
    <p:bg>
      <p:bgPr>
        <a:solidFill>
          <a:schemeClr val="lt2"/>
        </a:solidFill>
        <a:effectLst/>
      </p:bgPr>
    </p:bg>
    <p:spTree>
      <p:nvGrpSpPr>
        <p:cNvPr id="1" name="Shape 5283"/>
        <p:cNvGrpSpPr/>
        <p:nvPr/>
      </p:nvGrpSpPr>
      <p:grpSpPr>
        <a:xfrm>
          <a:off x="0" y="0"/>
          <a:ext cx="0" cy="0"/>
          <a:chOff x="0" y="0"/>
          <a:chExt cx="0" cy="0"/>
        </a:xfrm>
      </p:grpSpPr>
      <p:grpSp>
        <p:nvGrpSpPr>
          <p:cNvPr id="5284" name="Google Shape;5284;p722"/>
          <p:cNvGrpSpPr/>
          <p:nvPr/>
        </p:nvGrpSpPr>
        <p:grpSpPr>
          <a:xfrm>
            <a:off x="0" y="5020347"/>
            <a:ext cx="12192000" cy="1837653"/>
            <a:chOff x="0" y="5020347"/>
            <a:chExt cx="12192000" cy="1837653"/>
          </a:xfrm>
        </p:grpSpPr>
        <p:sp>
          <p:nvSpPr>
            <p:cNvPr id="5285" name="Google Shape;5285;p72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86" name="Google Shape;5286;p72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87" name="Google Shape;5287;p72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88" name="Google Shape;5288;p72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9" name="Google Shape;5289;p72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0" name="Google Shape;5290;p72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Photo Slide">
  <p:cSld name="Photo Slide 4 2">
    <p:spTree>
      <p:nvGrpSpPr>
        <p:cNvPr id="1" name="Shape 5291"/>
        <p:cNvGrpSpPr/>
        <p:nvPr/>
      </p:nvGrpSpPr>
      <p:grpSpPr>
        <a:xfrm>
          <a:off x="0" y="0"/>
          <a:ext cx="0" cy="0"/>
          <a:chOff x="0" y="0"/>
          <a:chExt cx="0" cy="0"/>
        </a:xfrm>
      </p:grpSpPr>
      <p:sp>
        <p:nvSpPr>
          <p:cNvPr id="5292" name="Google Shape;5292;p72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293" name="Google Shape;5293;p72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294" name="Google Shape;5294;p723"/>
          <p:cNvGrpSpPr/>
          <p:nvPr/>
        </p:nvGrpSpPr>
        <p:grpSpPr>
          <a:xfrm>
            <a:off x="0" y="5379426"/>
            <a:ext cx="2807368" cy="753891"/>
            <a:chOff x="0" y="5379426"/>
            <a:chExt cx="2807368" cy="753891"/>
          </a:xfrm>
        </p:grpSpPr>
        <p:sp>
          <p:nvSpPr>
            <p:cNvPr id="5295" name="Google Shape;5295;p72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96" name="Google Shape;5296;p72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297" name="Google Shape;5297;p723"/>
          <p:cNvSpPr>
            <a:spLocks noGrp="1"/>
          </p:cNvSpPr>
          <p:nvPr>
            <p:ph type="pic" idx="2"/>
          </p:nvPr>
        </p:nvSpPr>
        <p:spPr>
          <a:xfrm>
            <a:off x="2807368" y="457202"/>
            <a:ext cx="8915400" cy="5943598"/>
          </a:xfrm>
          <a:prstGeom prst="rect">
            <a:avLst/>
          </a:prstGeom>
          <a:noFill/>
          <a:ln>
            <a:noFill/>
          </a:ln>
        </p:spPr>
      </p:sp>
      <p:pic>
        <p:nvPicPr>
          <p:cNvPr id="5298" name="Google Shape;5298;p72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Quotation">
  <p:cSld name="Quotation 4 4">
    <p:spTree>
      <p:nvGrpSpPr>
        <p:cNvPr id="1" name="Shape 5299"/>
        <p:cNvGrpSpPr/>
        <p:nvPr/>
      </p:nvGrpSpPr>
      <p:grpSpPr>
        <a:xfrm>
          <a:off x="0" y="0"/>
          <a:ext cx="0" cy="0"/>
          <a:chOff x="0" y="0"/>
          <a:chExt cx="0" cy="0"/>
        </a:xfrm>
      </p:grpSpPr>
      <p:sp>
        <p:nvSpPr>
          <p:cNvPr id="5300" name="Google Shape;5300;p7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01" name="Google Shape;5301;p7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02" name="Google Shape;5302;p7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03" name="Google Shape;5303;p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04" name="Google Shape;5304;p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5" name="Google Shape;5305;p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306" name="Google Shape;5306;p724"/>
          <p:cNvGrpSpPr/>
          <p:nvPr/>
        </p:nvGrpSpPr>
        <p:grpSpPr>
          <a:xfrm>
            <a:off x="7191542" y="1"/>
            <a:ext cx="5000459" cy="1425992"/>
            <a:chOff x="7191542" y="1"/>
            <a:chExt cx="5000459" cy="1425992"/>
          </a:xfrm>
        </p:grpSpPr>
        <p:pic>
          <p:nvPicPr>
            <p:cNvPr id="5307" name="Google Shape;5307;p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08" name="Google Shape;5308;p724"/>
            <p:cNvGrpSpPr/>
            <p:nvPr/>
          </p:nvGrpSpPr>
          <p:grpSpPr>
            <a:xfrm>
              <a:off x="7191542" y="1"/>
              <a:ext cx="5000459" cy="1425992"/>
              <a:chOff x="7186272" y="0"/>
              <a:chExt cx="5005729" cy="1427495"/>
            </a:xfrm>
          </p:grpSpPr>
          <p:sp>
            <p:nvSpPr>
              <p:cNvPr id="5309" name="Google Shape;5309;p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10" name="Google Shape;5310;p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11" name="Google Shape;5311;p7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Quotation">
  <p:cSld name="Quotation 4 5">
    <p:spTree>
      <p:nvGrpSpPr>
        <p:cNvPr id="1" name="Shape 5312"/>
        <p:cNvGrpSpPr/>
        <p:nvPr/>
      </p:nvGrpSpPr>
      <p:grpSpPr>
        <a:xfrm>
          <a:off x="0" y="0"/>
          <a:ext cx="0" cy="0"/>
          <a:chOff x="0" y="0"/>
          <a:chExt cx="0" cy="0"/>
        </a:xfrm>
      </p:grpSpPr>
      <p:sp>
        <p:nvSpPr>
          <p:cNvPr id="5313" name="Google Shape;5313;p7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14" name="Google Shape;5314;p7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5" name="Google Shape;5315;p7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16" name="Google Shape;5316;p7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17" name="Google Shape;5317;p7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8" name="Google Shape;5318;p7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319" name="Google Shape;5319;p725"/>
          <p:cNvGrpSpPr/>
          <p:nvPr/>
        </p:nvGrpSpPr>
        <p:grpSpPr>
          <a:xfrm>
            <a:off x="7191542" y="1"/>
            <a:ext cx="5000459" cy="1425992"/>
            <a:chOff x="7191542" y="1"/>
            <a:chExt cx="5000459" cy="1425992"/>
          </a:xfrm>
        </p:grpSpPr>
        <p:pic>
          <p:nvPicPr>
            <p:cNvPr id="5320" name="Google Shape;5320;p7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21" name="Google Shape;5321;p725"/>
            <p:cNvGrpSpPr/>
            <p:nvPr/>
          </p:nvGrpSpPr>
          <p:grpSpPr>
            <a:xfrm>
              <a:off x="7191542" y="1"/>
              <a:ext cx="5000459" cy="1425992"/>
              <a:chOff x="7186272" y="0"/>
              <a:chExt cx="5005729" cy="1427495"/>
            </a:xfrm>
          </p:grpSpPr>
          <p:sp>
            <p:nvSpPr>
              <p:cNvPr id="5322" name="Google Shape;5322;p7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23" name="Google Shape;5323;p7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24" name="Google Shape;5324;p7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Quotation">
  <p:cSld name="Quotation 4 6">
    <p:spTree>
      <p:nvGrpSpPr>
        <p:cNvPr id="1" name="Shape 5325"/>
        <p:cNvGrpSpPr/>
        <p:nvPr/>
      </p:nvGrpSpPr>
      <p:grpSpPr>
        <a:xfrm>
          <a:off x="0" y="0"/>
          <a:ext cx="0" cy="0"/>
          <a:chOff x="0" y="0"/>
          <a:chExt cx="0" cy="0"/>
        </a:xfrm>
      </p:grpSpPr>
      <p:sp>
        <p:nvSpPr>
          <p:cNvPr id="5326" name="Google Shape;5326;p7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27" name="Google Shape;5327;p7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28" name="Google Shape;5328;p7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29" name="Google Shape;5329;p7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30" name="Google Shape;5330;p7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1" name="Google Shape;5331;p7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332" name="Google Shape;5332;p726"/>
          <p:cNvGrpSpPr/>
          <p:nvPr/>
        </p:nvGrpSpPr>
        <p:grpSpPr>
          <a:xfrm>
            <a:off x="7191542" y="1"/>
            <a:ext cx="5000459" cy="1425992"/>
            <a:chOff x="7191542" y="1"/>
            <a:chExt cx="5000459" cy="1425992"/>
          </a:xfrm>
        </p:grpSpPr>
        <p:pic>
          <p:nvPicPr>
            <p:cNvPr id="5333" name="Google Shape;5333;p7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4" name="Google Shape;5334;p726"/>
            <p:cNvGrpSpPr/>
            <p:nvPr/>
          </p:nvGrpSpPr>
          <p:grpSpPr>
            <a:xfrm>
              <a:off x="7191542" y="1"/>
              <a:ext cx="5000459" cy="1425992"/>
              <a:chOff x="7186272" y="0"/>
              <a:chExt cx="5005729" cy="1427495"/>
            </a:xfrm>
          </p:grpSpPr>
          <p:sp>
            <p:nvSpPr>
              <p:cNvPr id="5335" name="Google Shape;5335;p7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36" name="Google Shape;5336;p7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37" name="Google Shape;5337;p7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Comparison">
  <p:cSld name="Comparison 2 3">
    <p:spTree>
      <p:nvGrpSpPr>
        <p:cNvPr id="1" name="Shape 5338"/>
        <p:cNvGrpSpPr/>
        <p:nvPr/>
      </p:nvGrpSpPr>
      <p:grpSpPr>
        <a:xfrm>
          <a:off x="0" y="0"/>
          <a:ext cx="0" cy="0"/>
          <a:chOff x="0" y="0"/>
          <a:chExt cx="0" cy="0"/>
        </a:xfrm>
      </p:grpSpPr>
      <p:grpSp>
        <p:nvGrpSpPr>
          <p:cNvPr id="5339" name="Google Shape;5339;p727"/>
          <p:cNvGrpSpPr/>
          <p:nvPr/>
        </p:nvGrpSpPr>
        <p:grpSpPr>
          <a:xfrm>
            <a:off x="7191542" y="1"/>
            <a:ext cx="5000459" cy="1425992"/>
            <a:chOff x="7191542" y="1"/>
            <a:chExt cx="5000459" cy="1425992"/>
          </a:xfrm>
        </p:grpSpPr>
        <p:pic>
          <p:nvPicPr>
            <p:cNvPr id="5340" name="Google Shape;5340;p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41" name="Google Shape;5341;p727"/>
            <p:cNvGrpSpPr/>
            <p:nvPr/>
          </p:nvGrpSpPr>
          <p:grpSpPr>
            <a:xfrm>
              <a:off x="7191542" y="1"/>
              <a:ext cx="5000459" cy="1425992"/>
              <a:chOff x="7186272" y="0"/>
              <a:chExt cx="5005729" cy="1427495"/>
            </a:xfrm>
          </p:grpSpPr>
          <p:sp>
            <p:nvSpPr>
              <p:cNvPr id="5342" name="Google Shape;5342;p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43" name="Google Shape;5343;p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44" name="Google Shape;5344;p7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45" name="Google Shape;5345;p7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46" name="Google Shape;5346;p7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7" name="Google Shape;5347;p7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48" name="Google Shape;5348;p7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49" name="Google Shape;5349;p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50" name="Google Shape;5350;p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51" name="Google Shape;5351;p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Title Only">
  <p:cSld name="Title Only 2 3">
    <p:spTree>
      <p:nvGrpSpPr>
        <p:cNvPr id="1" name="Shape 5352"/>
        <p:cNvGrpSpPr/>
        <p:nvPr/>
      </p:nvGrpSpPr>
      <p:grpSpPr>
        <a:xfrm>
          <a:off x="0" y="0"/>
          <a:ext cx="0" cy="0"/>
          <a:chOff x="0" y="0"/>
          <a:chExt cx="0" cy="0"/>
        </a:xfrm>
      </p:grpSpPr>
      <p:grpSp>
        <p:nvGrpSpPr>
          <p:cNvPr id="5353" name="Google Shape;5353;p728"/>
          <p:cNvGrpSpPr/>
          <p:nvPr/>
        </p:nvGrpSpPr>
        <p:grpSpPr>
          <a:xfrm>
            <a:off x="7191542" y="1"/>
            <a:ext cx="5000459" cy="1425992"/>
            <a:chOff x="7191542" y="1"/>
            <a:chExt cx="5000459" cy="1425992"/>
          </a:xfrm>
        </p:grpSpPr>
        <p:pic>
          <p:nvPicPr>
            <p:cNvPr id="5354" name="Google Shape;5354;p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55" name="Google Shape;5355;p728"/>
            <p:cNvGrpSpPr/>
            <p:nvPr/>
          </p:nvGrpSpPr>
          <p:grpSpPr>
            <a:xfrm>
              <a:off x="7191542" y="1"/>
              <a:ext cx="5000459" cy="1425992"/>
              <a:chOff x="7186272" y="0"/>
              <a:chExt cx="5005729" cy="1427495"/>
            </a:xfrm>
          </p:grpSpPr>
          <p:sp>
            <p:nvSpPr>
              <p:cNvPr id="5356" name="Google Shape;5356;p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57" name="Google Shape;5357;p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58" name="Google Shape;5358;p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59" name="Google Shape;5359;p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60" name="Google Shape;5360;p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61" name="Google Shape;5361;p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5362"/>
        <p:cNvGrpSpPr/>
        <p:nvPr/>
      </p:nvGrpSpPr>
      <p:grpSpPr>
        <a:xfrm>
          <a:off x="0" y="0"/>
          <a:ext cx="0" cy="0"/>
          <a:chOff x="0" y="0"/>
          <a:chExt cx="0" cy="0"/>
        </a:xfrm>
      </p:grpSpPr>
      <p:sp>
        <p:nvSpPr>
          <p:cNvPr id="5363" name="Google Shape;5363;p72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64" name="Google Shape;5364;p72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65" name="Google Shape;5365;p72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366" name="Google Shape;5366;p729"/>
          <p:cNvSpPr>
            <a:spLocks noGrp="1"/>
          </p:cNvSpPr>
          <p:nvPr>
            <p:ph type="pic" idx="2"/>
          </p:nvPr>
        </p:nvSpPr>
        <p:spPr>
          <a:xfrm>
            <a:off x="7118684" y="233915"/>
            <a:ext cx="5073316" cy="5943600"/>
          </a:xfrm>
          <a:prstGeom prst="rect">
            <a:avLst/>
          </a:prstGeom>
          <a:noFill/>
          <a:ln>
            <a:noFill/>
          </a:ln>
        </p:spPr>
      </p:sp>
      <p:grpSp>
        <p:nvGrpSpPr>
          <p:cNvPr id="5367" name="Google Shape;5367;p729"/>
          <p:cNvGrpSpPr/>
          <p:nvPr/>
        </p:nvGrpSpPr>
        <p:grpSpPr>
          <a:xfrm>
            <a:off x="0" y="5020348"/>
            <a:ext cx="12192000" cy="1837653"/>
            <a:chOff x="0" y="5020348"/>
            <a:chExt cx="12192000" cy="1837653"/>
          </a:xfrm>
        </p:grpSpPr>
        <p:sp>
          <p:nvSpPr>
            <p:cNvPr id="5368" name="Google Shape;5368;p7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69" name="Google Shape;5369;p72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370" name="Google Shape;5370;p7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66"/>
        <p:cNvGrpSpPr/>
        <p:nvPr/>
      </p:nvGrpSpPr>
      <p:grpSpPr>
        <a:xfrm>
          <a:off x="0" y="0"/>
          <a:ext cx="0" cy="0"/>
          <a:chOff x="0" y="0"/>
          <a:chExt cx="0" cy="0"/>
        </a:xfrm>
      </p:grpSpPr>
      <p:sp>
        <p:nvSpPr>
          <p:cNvPr id="567" name="Google Shape;567;p1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8" name="Google Shape;568;p1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 name="Google Shape;569;p1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0" name="Google Shape;570;p110"/>
          <p:cNvSpPr>
            <a:spLocks noGrp="1"/>
          </p:cNvSpPr>
          <p:nvPr>
            <p:ph type="pic" idx="2"/>
          </p:nvPr>
        </p:nvSpPr>
        <p:spPr>
          <a:xfrm>
            <a:off x="7118684" y="233915"/>
            <a:ext cx="5073316" cy="5943600"/>
          </a:xfrm>
          <a:prstGeom prst="rect">
            <a:avLst/>
          </a:prstGeom>
          <a:noFill/>
          <a:ln>
            <a:noFill/>
          </a:ln>
        </p:spPr>
      </p:sp>
      <p:grpSp>
        <p:nvGrpSpPr>
          <p:cNvPr id="571" name="Google Shape;571;p110"/>
          <p:cNvGrpSpPr/>
          <p:nvPr/>
        </p:nvGrpSpPr>
        <p:grpSpPr>
          <a:xfrm>
            <a:off x="0" y="5020348"/>
            <a:ext cx="12192000" cy="1837653"/>
            <a:chOff x="0" y="5020348"/>
            <a:chExt cx="12192000" cy="1837653"/>
          </a:xfrm>
        </p:grpSpPr>
        <p:sp>
          <p:nvSpPr>
            <p:cNvPr id="572" name="Google Shape;572;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3" name="Google Shape;573;p1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4" name="Google Shape;574;p1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371"/>
        <p:cNvGrpSpPr/>
        <p:nvPr/>
      </p:nvGrpSpPr>
      <p:grpSpPr>
        <a:xfrm>
          <a:off x="0" y="0"/>
          <a:ext cx="0" cy="0"/>
          <a:chOff x="0" y="0"/>
          <a:chExt cx="0" cy="0"/>
        </a:xfrm>
      </p:grpSpPr>
      <p:grpSp>
        <p:nvGrpSpPr>
          <p:cNvPr id="5372" name="Google Shape;5372;p730"/>
          <p:cNvGrpSpPr/>
          <p:nvPr/>
        </p:nvGrpSpPr>
        <p:grpSpPr>
          <a:xfrm>
            <a:off x="0" y="5020347"/>
            <a:ext cx="12192000" cy="1837653"/>
            <a:chOff x="0" y="5020347"/>
            <a:chExt cx="12192000" cy="1837653"/>
          </a:xfrm>
        </p:grpSpPr>
        <p:sp>
          <p:nvSpPr>
            <p:cNvPr id="5373" name="Google Shape;5373;p73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74" name="Google Shape;5374;p7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75" name="Google Shape;5375;p73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376" name="Google Shape;5376;p7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377" name="Google Shape;5377;p73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78" name="Google Shape;5378;p73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379"/>
        <p:cNvGrpSpPr/>
        <p:nvPr/>
      </p:nvGrpSpPr>
      <p:grpSpPr>
        <a:xfrm>
          <a:off x="0" y="0"/>
          <a:ext cx="0" cy="0"/>
          <a:chOff x="0" y="0"/>
          <a:chExt cx="0" cy="0"/>
        </a:xfrm>
      </p:grpSpPr>
      <p:sp>
        <p:nvSpPr>
          <p:cNvPr id="5380" name="Google Shape;5380;p73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381" name="Google Shape;5381;p73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82" name="Google Shape;5382;p731"/>
          <p:cNvGrpSpPr/>
          <p:nvPr/>
        </p:nvGrpSpPr>
        <p:grpSpPr>
          <a:xfrm>
            <a:off x="0" y="5379426"/>
            <a:ext cx="2807368" cy="753891"/>
            <a:chOff x="0" y="5379426"/>
            <a:chExt cx="2807368" cy="753891"/>
          </a:xfrm>
        </p:grpSpPr>
        <p:sp>
          <p:nvSpPr>
            <p:cNvPr id="5383" name="Google Shape;5383;p73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84" name="Google Shape;5384;p73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385" name="Google Shape;5385;p731"/>
          <p:cNvSpPr>
            <a:spLocks noGrp="1"/>
          </p:cNvSpPr>
          <p:nvPr>
            <p:ph type="pic" idx="2"/>
          </p:nvPr>
        </p:nvSpPr>
        <p:spPr>
          <a:xfrm>
            <a:off x="2807368" y="457202"/>
            <a:ext cx="8915400" cy="5943598"/>
          </a:xfrm>
          <a:prstGeom prst="rect">
            <a:avLst/>
          </a:prstGeom>
          <a:noFill/>
          <a:ln>
            <a:noFill/>
          </a:ln>
        </p:spPr>
      </p:sp>
      <p:pic>
        <p:nvPicPr>
          <p:cNvPr id="5386" name="Google Shape;5386;p73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5387"/>
        <p:cNvGrpSpPr/>
        <p:nvPr/>
      </p:nvGrpSpPr>
      <p:grpSpPr>
        <a:xfrm>
          <a:off x="0" y="0"/>
          <a:ext cx="0" cy="0"/>
          <a:chOff x="0" y="0"/>
          <a:chExt cx="0" cy="0"/>
        </a:xfrm>
      </p:grpSpPr>
      <p:sp>
        <p:nvSpPr>
          <p:cNvPr id="5388" name="Google Shape;5388;p7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89" name="Google Shape;5389;p7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0" name="Google Shape;5390;p7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391" name="Google Shape;5391;p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92" name="Google Shape;5392;p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93" name="Google Shape;5393;p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394" name="Google Shape;5394;p732"/>
          <p:cNvGrpSpPr/>
          <p:nvPr/>
        </p:nvGrpSpPr>
        <p:grpSpPr>
          <a:xfrm>
            <a:off x="7191542" y="1"/>
            <a:ext cx="5000459" cy="1425992"/>
            <a:chOff x="7191542" y="1"/>
            <a:chExt cx="5000459" cy="1425992"/>
          </a:xfrm>
        </p:grpSpPr>
        <p:pic>
          <p:nvPicPr>
            <p:cNvPr id="5395" name="Google Shape;5395;p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96" name="Google Shape;5396;p732"/>
            <p:cNvGrpSpPr/>
            <p:nvPr/>
          </p:nvGrpSpPr>
          <p:grpSpPr>
            <a:xfrm>
              <a:off x="7191542" y="1"/>
              <a:ext cx="5000459" cy="1425992"/>
              <a:chOff x="7186272" y="0"/>
              <a:chExt cx="5005729" cy="1427495"/>
            </a:xfrm>
          </p:grpSpPr>
          <p:sp>
            <p:nvSpPr>
              <p:cNvPr id="5397" name="Google Shape;5397;p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98" name="Google Shape;5398;p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99" name="Google Shape;5399;p7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5400"/>
        <p:cNvGrpSpPr/>
        <p:nvPr/>
      </p:nvGrpSpPr>
      <p:grpSpPr>
        <a:xfrm>
          <a:off x="0" y="0"/>
          <a:ext cx="0" cy="0"/>
          <a:chOff x="0" y="0"/>
          <a:chExt cx="0" cy="0"/>
        </a:xfrm>
      </p:grpSpPr>
      <p:sp>
        <p:nvSpPr>
          <p:cNvPr id="5401" name="Google Shape;5401;p7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02" name="Google Shape;5402;p7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03" name="Google Shape;5403;p7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4" name="Google Shape;5404;p7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05" name="Google Shape;5405;p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06" name="Google Shape;5406;p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407" name="Google Shape;5407;p733"/>
          <p:cNvGrpSpPr/>
          <p:nvPr/>
        </p:nvGrpSpPr>
        <p:grpSpPr>
          <a:xfrm>
            <a:off x="7191542" y="1"/>
            <a:ext cx="5000459" cy="1425992"/>
            <a:chOff x="7191542" y="1"/>
            <a:chExt cx="5000459" cy="1425992"/>
          </a:xfrm>
        </p:grpSpPr>
        <p:pic>
          <p:nvPicPr>
            <p:cNvPr id="5408" name="Google Shape;5408;p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09" name="Google Shape;5409;p733"/>
            <p:cNvGrpSpPr/>
            <p:nvPr/>
          </p:nvGrpSpPr>
          <p:grpSpPr>
            <a:xfrm>
              <a:off x="7191542" y="1"/>
              <a:ext cx="5000459" cy="1425992"/>
              <a:chOff x="7186272" y="0"/>
              <a:chExt cx="5005729" cy="1427495"/>
            </a:xfrm>
          </p:grpSpPr>
          <p:sp>
            <p:nvSpPr>
              <p:cNvPr id="5410" name="Google Shape;5410;p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11" name="Google Shape;5411;p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412" name="Google Shape;5412;p7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413"/>
        <p:cNvGrpSpPr/>
        <p:nvPr/>
      </p:nvGrpSpPr>
      <p:grpSpPr>
        <a:xfrm>
          <a:off x="0" y="0"/>
          <a:ext cx="0" cy="0"/>
          <a:chOff x="0" y="0"/>
          <a:chExt cx="0" cy="0"/>
        </a:xfrm>
      </p:grpSpPr>
      <p:sp>
        <p:nvSpPr>
          <p:cNvPr id="5414" name="Google Shape;5414;p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15" name="Google Shape;5415;p73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416" name="Google Shape;5416;p734"/>
          <p:cNvGrpSpPr/>
          <p:nvPr/>
        </p:nvGrpSpPr>
        <p:grpSpPr>
          <a:xfrm>
            <a:off x="7191542" y="1"/>
            <a:ext cx="5000459" cy="1425992"/>
            <a:chOff x="7191542" y="1"/>
            <a:chExt cx="5000459" cy="1425992"/>
          </a:xfrm>
        </p:grpSpPr>
        <p:pic>
          <p:nvPicPr>
            <p:cNvPr id="5417" name="Google Shape;5417;p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18" name="Google Shape;5418;p734"/>
            <p:cNvGrpSpPr/>
            <p:nvPr/>
          </p:nvGrpSpPr>
          <p:grpSpPr>
            <a:xfrm>
              <a:off x="7191542" y="1"/>
              <a:ext cx="5000459" cy="1425992"/>
              <a:chOff x="7186272" y="0"/>
              <a:chExt cx="5005729" cy="1427495"/>
            </a:xfrm>
          </p:grpSpPr>
          <p:sp>
            <p:nvSpPr>
              <p:cNvPr id="5419" name="Google Shape;5419;p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20" name="Google Shape;5420;p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21" name="Google Shape;5421;p73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22" name="Google Shape;5422;p73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23" name="Google Shape;5423;p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24" name="Google Shape;5424;p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425"/>
        <p:cNvGrpSpPr/>
        <p:nvPr/>
      </p:nvGrpSpPr>
      <p:grpSpPr>
        <a:xfrm>
          <a:off x="0" y="0"/>
          <a:ext cx="0" cy="0"/>
          <a:chOff x="0" y="0"/>
          <a:chExt cx="0" cy="0"/>
        </a:xfrm>
      </p:grpSpPr>
      <p:grpSp>
        <p:nvGrpSpPr>
          <p:cNvPr id="5426" name="Google Shape;5426;p735"/>
          <p:cNvGrpSpPr/>
          <p:nvPr/>
        </p:nvGrpSpPr>
        <p:grpSpPr>
          <a:xfrm>
            <a:off x="7191542" y="1"/>
            <a:ext cx="5000459" cy="1425992"/>
            <a:chOff x="7191542" y="1"/>
            <a:chExt cx="5000459" cy="1425992"/>
          </a:xfrm>
        </p:grpSpPr>
        <p:pic>
          <p:nvPicPr>
            <p:cNvPr id="5427" name="Google Shape;5427;p7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28" name="Google Shape;5428;p735"/>
            <p:cNvGrpSpPr/>
            <p:nvPr/>
          </p:nvGrpSpPr>
          <p:grpSpPr>
            <a:xfrm>
              <a:off x="7191542" y="1"/>
              <a:ext cx="5000459" cy="1425992"/>
              <a:chOff x="7186272" y="0"/>
              <a:chExt cx="5005729" cy="1427495"/>
            </a:xfrm>
          </p:grpSpPr>
          <p:sp>
            <p:nvSpPr>
              <p:cNvPr id="5429" name="Google Shape;5429;p7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30" name="Google Shape;5430;p7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31" name="Google Shape;5431;p7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32" name="Google Shape;5432;p73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33" name="Google Shape;5433;p73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34" name="Google Shape;5434;p73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435" name="Google Shape;5435;p73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36" name="Google Shape;5436;p7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37" name="Google Shape;5437;p7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8" name="Google Shape;5438;p7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439"/>
        <p:cNvGrpSpPr/>
        <p:nvPr/>
      </p:nvGrpSpPr>
      <p:grpSpPr>
        <a:xfrm>
          <a:off x="0" y="0"/>
          <a:ext cx="0" cy="0"/>
          <a:chOff x="0" y="0"/>
          <a:chExt cx="0" cy="0"/>
        </a:xfrm>
      </p:grpSpPr>
      <p:grpSp>
        <p:nvGrpSpPr>
          <p:cNvPr id="5440" name="Google Shape;5440;p736"/>
          <p:cNvGrpSpPr/>
          <p:nvPr/>
        </p:nvGrpSpPr>
        <p:grpSpPr>
          <a:xfrm>
            <a:off x="7191542" y="1"/>
            <a:ext cx="5000459" cy="1425992"/>
            <a:chOff x="7191542" y="1"/>
            <a:chExt cx="5000459" cy="1425992"/>
          </a:xfrm>
        </p:grpSpPr>
        <p:pic>
          <p:nvPicPr>
            <p:cNvPr id="5441" name="Google Shape;5441;p7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42" name="Google Shape;5442;p736"/>
            <p:cNvGrpSpPr/>
            <p:nvPr/>
          </p:nvGrpSpPr>
          <p:grpSpPr>
            <a:xfrm>
              <a:off x="7191542" y="1"/>
              <a:ext cx="5000459" cy="1425992"/>
              <a:chOff x="7186272" y="0"/>
              <a:chExt cx="5005729" cy="1427495"/>
            </a:xfrm>
          </p:grpSpPr>
          <p:sp>
            <p:nvSpPr>
              <p:cNvPr id="5443" name="Google Shape;5443;p7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44" name="Google Shape;5444;p7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45" name="Google Shape;5445;p7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46" name="Google Shape;5446;p7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47" name="Google Shape;5447;p7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48" name="Google Shape;5448;p7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End">
  <p:cSld name="End 3 2">
    <p:spTree>
      <p:nvGrpSpPr>
        <p:cNvPr id="1" name="Shape 5449"/>
        <p:cNvGrpSpPr/>
        <p:nvPr/>
      </p:nvGrpSpPr>
      <p:grpSpPr>
        <a:xfrm>
          <a:off x="0" y="0"/>
          <a:ext cx="0" cy="0"/>
          <a:chOff x="0" y="0"/>
          <a:chExt cx="0" cy="0"/>
        </a:xfrm>
      </p:grpSpPr>
      <p:grpSp>
        <p:nvGrpSpPr>
          <p:cNvPr id="5450" name="Google Shape;5450;p737"/>
          <p:cNvGrpSpPr/>
          <p:nvPr/>
        </p:nvGrpSpPr>
        <p:grpSpPr>
          <a:xfrm>
            <a:off x="0" y="0"/>
            <a:ext cx="12192000" cy="2148830"/>
            <a:chOff x="0" y="0"/>
            <a:chExt cx="12192000" cy="2148830"/>
          </a:xfrm>
        </p:grpSpPr>
        <p:sp>
          <p:nvSpPr>
            <p:cNvPr id="5451" name="Google Shape;5451;p73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52" name="Google Shape;5452;p73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453" name="Google Shape;5453;p73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54" name="Google Shape;5454;p73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55" name="Google Shape;5455;p73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56" name="Google Shape;5456;p73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457" name="Google Shape;5457;p73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Blank">
  <p:cSld name="Blank 2 2">
    <p:spTree>
      <p:nvGrpSpPr>
        <p:cNvPr id="1" name="Shape 5458"/>
        <p:cNvGrpSpPr/>
        <p:nvPr/>
      </p:nvGrpSpPr>
      <p:grpSpPr>
        <a:xfrm>
          <a:off x="0" y="0"/>
          <a:ext cx="0" cy="0"/>
          <a:chOff x="0" y="0"/>
          <a:chExt cx="0" cy="0"/>
        </a:xfrm>
      </p:grpSpPr>
      <p:sp>
        <p:nvSpPr>
          <p:cNvPr id="5459" name="Google Shape;5459;p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60" name="Google Shape;5460;p7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1" name="Google Shape;5461;p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462" name="Google Shape;5462;p738"/>
          <p:cNvGrpSpPr/>
          <p:nvPr/>
        </p:nvGrpSpPr>
        <p:grpSpPr>
          <a:xfrm>
            <a:off x="7191542" y="1"/>
            <a:ext cx="5000459" cy="1425992"/>
            <a:chOff x="7191542" y="1"/>
            <a:chExt cx="5000459" cy="1425992"/>
          </a:xfrm>
        </p:grpSpPr>
        <p:pic>
          <p:nvPicPr>
            <p:cNvPr id="5463" name="Google Shape;5463;p7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4" name="Google Shape;5464;p738"/>
            <p:cNvGrpSpPr/>
            <p:nvPr/>
          </p:nvGrpSpPr>
          <p:grpSpPr>
            <a:xfrm>
              <a:off x="7191542" y="1"/>
              <a:ext cx="5000459" cy="1425992"/>
              <a:chOff x="7186272" y="0"/>
              <a:chExt cx="5005729" cy="1427495"/>
            </a:xfrm>
          </p:grpSpPr>
          <p:sp>
            <p:nvSpPr>
              <p:cNvPr id="5465" name="Google Shape;5465;p7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66" name="Google Shape;5466;p7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467"/>
        <p:cNvGrpSpPr/>
        <p:nvPr/>
      </p:nvGrpSpPr>
      <p:grpSpPr>
        <a:xfrm>
          <a:off x="0" y="0"/>
          <a:ext cx="0" cy="0"/>
          <a:chOff x="0" y="0"/>
          <a:chExt cx="0" cy="0"/>
        </a:xfrm>
      </p:grpSpPr>
      <p:sp>
        <p:nvSpPr>
          <p:cNvPr id="5468" name="Google Shape;5468;p739"/>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69" name="Google Shape;5469;p739"/>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470" name="Google Shape;5470;p739"/>
          <p:cNvGrpSpPr/>
          <p:nvPr/>
        </p:nvGrpSpPr>
        <p:grpSpPr>
          <a:xfrm flipH="1">
            <a:off x="-1" y="1"/>
            <a:ext cx="6418725" cy="1509822"/>
            <a:chOff x="7522541" y="1"/>
            <a:chExt cx="4669459" cy="1098357"/>
          </a:xfrm>
        </p:grpSpPr>
        <p:sp>
          <p:nvSpPr>
            <p:cNvPr id="5471" name="Google Shape;5471;p739"/>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72" name="Google Shape;5472;p739"/>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473" name="Google Shape;5473;p7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75"/>
        <p:cNvGrpSpPr/>
        <p:nvPr/>
      </p:nvGrpSpPr>
      <p:grpSpPr>
        <a:xfrm>
          <a:off x="0" y="0"/>
          <a:ext cx="0" cy="0"/>
          <a:chOff x="0" y="0"/>
          <a:chExt cx="0" cy="0"/>
        </a:xfrm>
      </p:grpSpPr>
      <p:grpSp>
        <p:nvGrpSpPr>
          <p:cNvPr id="576" name="Google Shape;576;p111"/>
          <p:cNvGrpSpPr/>
          <p:nvPr/>
        </p:nvGrpSpPr>
        <p:grpSpPr>
          <a:xfrm>
            <a:off x="7191542" y="1"/>
            <a:ext cx="5000459" cy="1425992"/>
            <a:chOff x="7191542" y="1"/>
            <a:chExt cx="5000459" cy="1425992"/>
          </a:xfrm>
        </p:grpSpPr>
        <p:pic>
          <p:nvPicPr>
            <p:cNvPr id="577" name="Google Shape;577;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 name="Google Shape;578;p111"/>
            <p:cNvGrpSpPr/>
            <p:nvPr/>
          </p:nvGrpSpPr>
          <p:grpSpPr>
            <a:xfrm>
              <a:off x="7191542" y="1"/>
              <a:ext cx="5000459" cy="1425992"/>
              <a:chOff x="7186272" y="0"/>
              <a:chExt cx="5005729" cy="1427495"/>
            </a:xfrm>
          </p:grpSpPr>
          <p:sp>
            <p:nvSpPr>
              <p:cNvPr id="579" name="Google Shape;579;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0" name="Google Shape;580;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1" name="Google Shape;581;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2" name="Google Shape;582;p1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3" name="Google Shape;583;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4" name="Google Shape;584;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 name="Google Shape;585;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Cover">
  <p:cSld name="Cover 5 2">
    <p:spTree>
      <p:nvGrpSpPr>
        <p:cNvPr id="1" name="Shape 5474"/>
        <p:cNvGrpSpPr/>
        <p:nvPr/>
      </p:nvGrpSpPr>
      <p:grpSpPr>
        <a:xfrm>
          <a:off x="0" y="0"/>
          <a:ext cx="0" cy="0"/>
          <a:chOff x="0" y="0"/>
          <a:chExt cx="0" cy="0"/>
        </a:xfrm>
      </p:grpSpPr>
      <p:sp>
        <p:nvSpPr>
          <p:cNvPr id="5475" name="Google Shape;5475;p7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76" name="Google Shape;5476;p7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77" name="Google Shape;5477;p7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78" name="Google Shape;5478;p740"/>
          <p:cNvSpPr>
            <a:spLocks noGrp="1"/>
          </p:cNvSpPr>
          <p:nvPr>
            <p:ph type="pic" idx="2"/>
          </p:nvPr>
        </p:nvSpPr>
        <p:spPr>
          <a:xfrm>
            <a:off x="7118684" y="233915"/>
            <a:ext cx="5073316" cy="5943600"/>
          </a:xfrm>
          <a:prstGeom prst="rect">
            <a:avLst/>
          </a:prstGeom>
          <a:noFill/>
          <a:ln>
            <a:noFill/>
          </a:ln>
        </p:spPr>
      </p:sp>
      <p:grpSp>
        <p:nvGrpSpPr>
          <p:cNvPr id="5479" name="Google Shape;5479;p740"/>
          <p:cNvGrpSpPr/>
          <p:nvPr/>
        </p:nvGrpSpPr>
        <p:grpSpPr>
          <a:xfrm>
            <a:off x="0" y="5020348"/>
            <a:ext cx="12192000" cy="1837653"/>
            <a:chOff x="0" y="5020348"/>
            <a:chExt cx="12192000" cy="1837653"/>
          </a:xfrm>
        </p:grpSpPr>
        <p:sp>
          <p:nvSpPr>
            <p:cNvPr id="5480" name="Google Shape;5480;p7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81" name="Google Shape;5481;p7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482" name="Google Shape;5482;p7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Divider">
  <p:cSld name="Divider 6 2">
    <p:bg>
      <p:bgPr>
        <a:solidFill>
          <a:schemeClr val="lt2"/>
        </a:solidFill>
        <a:effectLst/>
      </p:bgPr>
    </p:bg>
    <p:spTree>
      <p:nvGrpSpPr>
        <p:cNvPr id="1" name="Shape 5483"/>
        <p:cNvGrpSpPr/>
        <p:nvPr/>
      </p:nvGrpSpPr>
      <p:grpSpPr>
        <a:xfrm>
          <a:off x="0" y="0"/>
          <a:ext cx="0" cy="0"/>
          <a:chOff x="0" y="0"/>
          <a:chExt cx="0" cy="0"/>
        </a:xfrm>
      </p:grpSpPr>
      <p:grpSp>
        <p:nvGrpSpPr>
          <p:cNvPr id="5484" name="Google Shape;5484;p741"/>
          <p:cNvGrpSpPr/>
          <p:nvPr/>
        </p:nvGrpSpPr>
        <p:grpSpPr>
          <a:xfrm>
            <a:off x="0" y="5020347"/>
            <a:ext cx="12192000" cy="1837653"/>
            <a:chOff x="0" y="5020347"/>
            <a:chExt cx="12192000" cy="1837653"/>
          </a:xfrm>
        </p:grpSpPr>
        <p:sp>
          <p:nvSpPr>
            <p:cNvPr id="5485" name="Google Shape;5485;p7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86" name="Google Shape;5486;p7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87" name="Google Shape;5487;p7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488" name="Google Shape;5488;p7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489" name="Google Shape;5489;p7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90" name="Google Shape;5490;p7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Photo Slide">
  <p:cSld name="Photo Slide 5 2">
    <p:spTree>
      <p:nvGrpSpPr>
        <p:cNvPr id="1" name="Shape 5491"/>
        <p:cNvGrpSpPr/>
        <p:nvPr/>
      </p:nvGrpSpPr>
      <p:grpSpPr>
        <a:xfrm>
          <a:off x="0" y="0"/>
          <a:ext cx="0" cy="0"/>
          <a:chOff x="0" y="0"/>
          <a:chExt cx="0" cy="0"/>
        </a:xfrm>
      </p:grpSpPr>
      <p:sp>
        <p:nvSpPr>
          <p:cNvPr id="5492" name="Google Shape;5492;p7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493" name="Google Shape;5493;p7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494" name="Google Shape;5494;p742"/>
          <p:cNvGrpSpPr/>
          <p:nvPr/>
        </p:nvGrpSpPr>
        <p:grpSpPr>
          <a:xfrm>
            <a:off x="0" y="5379426"/>
            <a:ext cx="2807368" cy="753891"/>
            <a:chOff x="0" y="5379426"/>
            <a:chExt cx="2807368" cy="753891"/>
          </a:xfrm>
        </p:grpSpPr>
        <p:sp>
          <p:nvSpPr>
            <p:cNvPr id="5495" name="Google Shape;5495;p7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96" name="Google Shape;5496;p7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497" name="Google Shape;5497;p742"/>
          <p:cNvSpPr>
            <a:spLocks noGrp="1"/>
          </p:cNvSpPr>
          <p:nvPr>
            <p:ph type="pic" idx="2"/>
          </p:nvPr>
        </p:nvSpPr>
        <p:spPr>
          <a:xfrm>
            <a:off x="2807368" y="457202"/>
            <a:ext cx="8915400" cy="5943598"/>
          </a:xfrm>
          <a:prstGeom prst="rect">
            <a:avLst/>
          </a:prstGeom>
          <a:noFill/>
          <a:ln>
            <a:noFill/>
          </a:ln>
        </p:spPr>
      </p:sp>
      <p:pic>
        <p:nvPicPr>
          <p:cNvPr id="5498" name="Google Shape;5498;p7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Quotation">
  <p:cSld name="Quotation 5 2">
    <p:spTree>
      <p:nvGrpSpPr>
        <p:cNvPr id="1" name="Shape 5499"/>
        <p:cNvGrpSpPr/>
        <p:nvPr/>
      </p:nvGrpSpPr>
      <p:grpSpPr>
        <a:xfrm>
          <a:off x="0" y="0"/>
          <a:ext cx="0" cy="0"/>
          <a:chOff x="0" y="0"/>
          <a:chExt cx="0" cy="0"/>
        </a:xfrm>
      </p:grpSpPr>
      <p:sp>
        <p:nvSpPr>
          <p:cNvPr id="5500" name="Google Shape;5500;p7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01" name="Google Shape;5501;p7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02" name="Google Shape;5502;p7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03" name="Google Shape;5503;p7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04" name="Google Shape;5504;p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05" name="Google Shape;5505;p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506" name="Google Shape;5506;p743"/>
          <p:cNvGrpSpPr/>
          <p:nvPr/>
        </p:nvGrpSpPr>
        <p:grpSpPr>
          <a:xfrm>
            <a:off x="7191542" y="1"/>
            <a:ext cx="5000459" cy="1425992"/>
            <a:chOff x="7191542" y="1"/>
            <a:chExt cx="5000459" cy="1425992"/>
          </a:xfrm>
        </p:grpSpPr>
        <p:pic>
          <p:nvPicPr>
            <p:cNvPr id="5507" name="Google Shape;5507;p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8" name="Google Shape;5508;p743"/>
            <p:cNvGrpSpPr/>
            <p:nvPr/>
          </p:nvGrpSpPr>
          <p:grpSpPr>
            <a:xfrm>
              <a:off x="7191542" y="1"/>
              <a:ext cx="5000459" cy="1425992"/>
              <a:chOff x="7186272" y="0"/>
              <a:chExt cx="5005729" cy="1427495"/>
            </a:xfrm>
          </p:grpSpPr>
          <p:sp>
            <p:nvSpPr>
              <p:cNvPr id="5509" name="Google Shape;5509;p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0" name="Google Shape;5510;p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511" name="Google Shape;5511;p7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Quotation">
  <p:cSld name="Quotation 6 2">
    <p:spTree>
      <p:nvGrpSpPr>
        <p:cNvPr id="1" name="Shape 5512"/>
        <p:cNvGrpSpPr/>
        <p:nvPr/>
      </p:nvGrpSpPr>
      <p:grpSpPr>
        <a:xfrm>
          <a:off x="0" y="0"/>
          <a:ext cx="0" cy="0"/>
          <a:chOff x="0" y="0"/>
          <a:chExt cx="0" cy="0"/>
        </a:xfrm>
      </p:grpSpPr>
      <p:sp>
        <p:nvSpPr>
          <p:cNvPr id="5513" name="Google Shape;5513;p7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14" name="Google Shape;5514;p7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15" name="Google Shape;5515;p7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16" name="Google Shape;5516;p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17" name="Google Shape;5517;p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18" name="Google Shape;5518;p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519" name="Google Shape;5519;p744"/>
          <p:cNvGrpSpPr/>
          <p:nvPr/>
        </p:nvGrpSpPr>
        <p:grpSpPr>
          <a:xfrm>
            <a:off x="7191542" y="1"/>
            <a:ext cx="5000459" cy="1425992"/>
            <a:chOff x="7191542" y="1"/>
            <a:chExt cx="5000459" cy="1425992"/>
          </a:xfrm>
        </p:grpSpPr>
        <p:pic>
          <p:nvPicPr>
            <p:cNvPr id="5520" name="Google Shape;5520;p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21" name="Google Shape;5521;p744"/>
            <p:cNvGrpSpPr/>
            <p:nvPr/>
          </p:nvGrpSpPr>
          <p:grpSpPr>
            <a:xfrm>
              <a:off x="7191542" y="1"/>
              <a:ext cx="5000459" cy="1425992"/>
              <a:chOff x="7186272" y="0"/>
              <a:chExt cx="5005729" cy="1427495"/>
            </a:xfrm>
          </p:grpSpPr>
          <p:sp>
            <p:nvSpPr>
              <p:cNvPr id="5522" name="Google Shape;5522;p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3" name="Google Shape;5523;p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524" name="Google Shape;5524;p7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Two Content">
  <p:cSld name="Two Content 4 2">
    <p:spTree>
      <p:nvGrpSpPr>
        <p:cNvPr id="1" name="Shape 5525"/>
        <p:cNvGrpSpPr/>
        <p:nvPr/>
      </p:nvGrpSpPr>
      <p:grpSpPr>
        <a:xfrm>
          <a:off x="0" y="0"/>
          <a:ext cx="0" cy="0"/>
          <a:chOff x="0" y="0"/>
          <a:chExt cx="0" cy="0"/>
        </a:xfrm>
      </p:grpSpPr>
      <p:sp>
        <p:nvSpPr>
          <p:cNvPr id="5526" name="Google Shape;5526;p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7" name="Google Shape;5527;p7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528" name="Google Shape;5528;p745"/>
          <p:cNvGrpSpPr/>
          <p:nvPr/>
        </p:nvGrpSpPr>
        <p:grpSpPr>
          <a:xfrm>
            <a:off x="7191542" y="1"/>
            <a:ext cx="5000459" cy="1425992"/>
            <a:chOff x="7191542" y="1"/>
            <a:chExt cx="5000459" cy="1425992"/>
          </a:xfrm>
        </p:grpSpPr>
        <p:pic>
          <p:nvPicPr>
            <p:cNvPr id="5529" name="Google Shape;5529;p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30" name="Google Shape;5530;p745"/>
            <p:cNvGrpSpPr/>
            <p:nvPr/>
          </p:nvGrpSpPr>
          <p:grpSpPr>
            <a:xfrm>
              <a:off x="7191542" y="1"/>
              <a:ext cx="5000459" cy="1425992"/>
              <a:chOff x="7186272" y="0"/>
              <a:chExt cx="5005729" cy="1427495"/>
            </a:xfrm>
          </p:grpSpPr>
          <p:sp>
            <p:nvSpPr>
              <p:cNvPr id="5531" name="Google Shape;5531;p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32" name="Google Shape;5532;p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33" name="Google Shape;5533;p7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34" name="Google Shape;5534;p7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35" name="Google Shape;5535;p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36" name="Google Shape;5536;p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Comparison">
  <p:cSld name="Comparison 3 2">
    <p:spTree>
      <p:nvGrpSpPr>
        <p:cNvPr id="1" name="Shape 5537"/>
        <p:cNvGrpSpPr/>
        <p:nvPr/>
      </p:nvGrpSpPr>
      <p:grpSpPr>
        <a:xfrm>
          <a:off x="0" y="0"/>
          <a:ext cx="0" cy="0"/>
          <a:chOff x="0" y="0"/>
          <a:chExt cx="0" cy="0"/>
        </a:xfrm>
      </p:grpSpPr>
      <p:grpSp>
        <p:nvGrpSpPr>
          <p:cNvPr id="5538" name="Google Shape;5538;p746"/>
          <p:cNvGrpSpPr/>
          <p:nvPr/>
        </p:nvGrpSpPr>
        <p:grpSpPr>
          <a:xfrm>
            <a:off x="7191542" y="1"/>
            <a:ext cx="5000459" cy="1425992"/>
            <a:chOff x="7191542" y="1"/>
            <a:chExt cx="5000459" cy="1425992"/>
          </a:xfrm>
        </p:grpSpPr>
        <p:pic>
          <p:nvPicPr>
            <p:cNvPr id="5539" name="Google Shape;5539;p7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40" name="Google Shape;5540;p746"/>
            <p:cNvGrpSpPr/>
            <p:nvPr/>
          </p:nvGrpSpPr>
          <p:grpSpPr>
            <a:xfrm>
              <a:off x="7191542" y="1"/>
              <a:ext cx="5000459" cy="1425992"/>
              <a:chOff x="7186272" y="0"/>
              <a:chExt cx="5005729" cy="1427495"/>
            </a:xfrm>
          </p:grpSpPr>
          <p:sp>
            <p:nvSpPr>
              <p:cNvPr id="5541" name="Google Shape;5541;p7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42" name="Google Shape;5542;p7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43" name="Google Shape;5543;p7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4" name="Google Shape;5544;p7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45" name="Google Shape;5545;p7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6" name="Google Shape;5546;p7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47" name="Google Shape;5547;p7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8" name="Google Shape;5548;p7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49" name="Google Shape;5549;p7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50" name="Google Shape;5550;p7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Title Only">
  <p:cSld name="Title Only 3 2">
    <p:spTree>
      <p:nvGrpSpPr>
        <p:cNvPr id="1" name="Shape 5551"/>
        <p:cNvGrpSpPr/>
        <p:nvPr/>
      </p:nvGrpSpPr>
      <p:grpSpPr>
        <a:xfrm>
          <a:off x="0" y="0"/>
          <a:ext cx="0" cy="0"/>
          <a:chOff x="0" y="0"/>
          <a:chExt cx="0" cy="0"/>
        </a:xfrm>
      </p:grpSpPr>
      <p:grpSp>
        <p:nvGrpSpPr>
          <p:cNvPr id="5552" name="Google Shape;5552;p747"/>
          <p:cNvGrpSpPr/>
          <p:nvPr/>
        </p:nvGrpSpPr>
        <p:grpSpPr>
          <a:xfrm>
            <a:off x="7191542" y="1"/>
            <a:ext cx="5000459" cy="1425992"/>
            <a:chOff x="7191542" y="1"/>
            <a:chExt cx="5000459" cy="1425992"/>
          </a:xfrm>
        </p:grpSpPr>
        <p:pic>
          <p:nvPicPr>
            <p:cNvPr id="5553" name="Google Shape;5553;p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54" name="Google Shape;5554;p747"/>
            <p:cNvGrpSpPr/>
            <p:nvPr/>
          </p:nvGrpSpPr>
          <p:grpSpPr>
            <a:xfrm>
              <a:off x="7191542" y="1"/>
              <a:ext cx="5000459" cy="1425992"/>
              <a:chOff x="7186272" y="0"/>
              <a:chExt cx="5005729" cy="1427495"/>
            </a:xfrm>
          </p:grpSpPr>
          <p:sp>
            <p:nvSpPr>
              <p:cNvPr id="5555" name="Google Shape;5555;p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56" name="Google Shape;5556;p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57" name="Google Shape;5557;p7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8" name="Google Shape;5558;p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9" name="Google Shape;5559;p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0" name="Google Shape;5560;p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End">
  <p:cSld name="End 3 3">
    <p:spTree>
      <p:nvGrpSpPr>
        <p:cNvPr id="1" name="Shape 5561"/>
        <p:cNvGrpSpPr/>
        <p:nvPr/>
      </p:nvGrpSpPr>
      <p:grpSpPr>
        <a:xfrm>
          <a:off x="0" y="0"/>
          <a:ext cx="0" cy="0"/>
          <a:chOff x="0" y="0"/>
          <a:chExt cx="0" cy="0"/>
        </a:xfrm>
      </p:grpSpPr>
      <p:grpSp>
        <p:nvGrpSpPr>
          <p:cNvPr id="5562" name="Google Shape;5562;p1234"/>
          <p:cNvGrpSpPr/>
          <p:nvPr/>
        </p:nvGrpSpPr>
        <p:grpSpPr>
          <a:xfrm>
            <a:off x="0" y="0"/>
            <a:ext cx="12192000" cy="2148830"/>
            <a:chOff x="0" y="0"/>
            <a:chExt cx="12192000" cy="2148830"/>
          </a:xfrm>
        </p:grpSpPr>
        <p:sp>
          <p:nvSpPr>
            <p:cNvPr id="5563" name="Google Shape;5563;p1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64" name="Google Shape;5564;p1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565" name="Google Shape;5565;p1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66" name="Google Shape;5566;p1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67" name="Google Shape;5567;p1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568" name="Google Shape;5568;p123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569" name="Google Shape;5569;p1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Blank">
  <p:cSld name="Blank 2 3">
    <p:spTree>
      <p:nvGrpSpPr>
        <p:cNvPr id="1" name="Shape 5570"/>
        <p:cNvGrpSpPr/>
        <p:nvPr/>
      </p:nvGrpSpPr>
      <p:grpSpPr>
        <a:xfrm>
          <a:off x="0" y="0"/>
          <a:ext cx="0" cy="0"/>
          <a:chOff x="0" y="0"/>
          <a:chExt cx="0" cy="0"/>
        </a:xfrm>
      </p:grpSpPr>
      <p:sp>
        <p:nvSpPr>
          <p:cNvPr id="5571" name="Google Shape;5571;p7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72" name="Google Shape;5572;p7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73" name="Google Shape;5573;p7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574" name="Google Shape;5574;p749"/>
          <p:cNvGrpSpPr/>
          <p:nvPr/>
        </p:nvGrpSpPr>
        <p:grpSpPr>
          <a:xfrm>
            <a:off x="7191542" y="1"/>
            <a:ext cx="5000459" cy="1425992"/>
            <a:chOff x="7191542" y="1"/>
            <a:chExt cx="5000459" cy="1425992"/>
          </a:xfrm>
        </p:grpSpPr>
        <p:pic>
          <p:nvPicPr>
            <p:cNvPr id="5575" name="Google Shape;5575;p7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76" name="Google Shape;5576;p749"/>
            <p:cNvGrpSpPr/>
            <p:nvPr/>
          </p:nvGrpSpPr>
          <p:grpSpPr>
            <a:xfrm>
              <a:off x="7191542" y="1"/>
              <a:ext cx="5000459" cy="1425992"/>
              <a:chOff x="7186272" y="0"/>
              <a:chExt cx="5005729" cy="1427495"/>
            </a:xfrm>
          </p:grpSpPr>
          <p:sp>
            <p:nvSpPr>
              <p:cNvPr id="5577" name="Google Shape;5577;p7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78" name="Google Shape;5578;p7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86"/>
        <p:cNvGrpSpPr/>
        <p:nvPr/>
      </p:nvGrpSpPr>
      <p:grpSpPr>
        <a:xfrm>
          <a:off x="0" y="0"/>
          <a:ext cx="0" cy="0"/>
          <a:chOff x="0" y="0"/>
          <a:chExt cx="0" cy="0"/>
        </a:xfrm>
      </p:grpSpPr>
      <p:sp>
        <p:nvSpPr>
          <p:cNvPr id="587" name="Google Shape;587;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8" name="Google Shape;588;p1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89" name="Google Shape;589;p112"/>
          <p:cNvGrpSpPr/>
          <p:nvPr/>
        </p:nvGrpSpPr>
        <p:grpSpPr>
          <a:xfrm>
            <a:off x="7191542" y="1"/>
            <a:ext cx="5000459" cy="1425992"/>
            <a:chOff x="7191542" y="1"/>
            <a:chExt cx="5000459" cy="1425992"/>
          </a:xfrm>
        </p:grpSpPr>
        <p:pic>
          <p:nvPicPr>
            <p:cNvPr id="590" name="Google Shape;590;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1" name="Google Shape;591;p112"/>
            <p:cNvGrpSpPr/>
            <p:nvPr/>
          </p:nvGrpSpPr>
          <p:grpSpPr>
            <a:xfrm>
              <a:off x="7191542" y="1"/>
              <a:ext cx="5000459" cy="1425992"/>
              <a:chOff x="7186272" y="0"/>
              <a:chExt cx="5005729" cy="1427495"/>
            </a:xfrm>
          </p:grpSpPr>
          <p:sp>
            <p:nvSpPr>
              <p:cNvPr id="592" name="Google Shape;592;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4" name="Google Shape;594;p1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5" name="Google Shape;595;p1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6" name="Google Shape;596;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 name="Google Shape;597;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Cover">
  <p:cSld name="Cover 5 3">
    <p:spTree>
      <p:nvGrpSpPr>
        <p:cNvPr id="1" name="Shape 5579"/>
        <p:cNvGrpSpPr/>
        <p:nvPr/>
      </p:nvGrpSpPr>
      <p:grpSpPr>
        <a:xfrm>
          <a:off x="0" y="0"/>
          <a:ext cx="0" cy="0"/>
          <a:chOff x="0" y="0"/>
          <a:chExt cx="0" cy="0"/>
        </a:xfrm>
      </p:grpSpPr>
      <p:sp>
        <p:nvSpPr>
          <p:cNvPr id="5580" name="Google Shape;5580;p12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81" name="Google Shape;5581;p12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82" name="Google Shape;5582;p12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83" name="Google Shape;5583;p1235"/>
          <p:cNvSpPr>
            <a:spLocks noGrp="1"/>
          </p:cNvSpPr>
          <p:nvPr>
            <p:ph type="pic" idx="2"/>
          </p:nvPr>
        </p:nvSpPr>
        <p:spPr>
          <a:xfrm>
            <a:off x="7118684" y="233915"/>
            <a:ext cx="5073316" cy="5943600"/>
          </a:xfrm>
          <a:prstGeom prst="rect">
            <a:avLst/>
          </a:prstGeom>
          <a:noFill/>
          <a:ln>
            <a:noFill/>
          </a:ln>
        </p:spPr>
      </p:sp>
      <p:grpSp>
        <p:nvGrpSpPr>
          <p:cNvPr id="5584" name="Google Shape;5584;p1235"/>
          <p:cNvGrpSpPr/>
          <p:nvPr/>
        </p:nvGrpSpPr>
        <p:grpSpPr>
          <a:xfrm>
            <a:off x="0" y="5020348"/>
            <a:ext cx="12192000" cy="1837653"/>
            <a:chOff x="0" y="5020348"/>
            <a:chExt cx="12192000" cy="1837653"/>
          </a:xfrm>
        </p:grpSpPr>
        <p:sp>
          <p:nvSpPr>
            <p:cNvPr id="5585" name="Google Shape;5585;p12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86" name="Google Shape;5586;p12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87" name="Google Shape;5587;p123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Divider">
  <p:cSld name="Divider 6 3">
    <p:bg>
      <p:bgPr>
        <a:solidFill>
          <a:schemeClr val="lt2"/>
        </a:solidFill>
        <a:effectLst/>
      </p:bgPr>
    </p:bg>
    <p:spTree>
      <p:nvGrpSpPr>
        <p:cNvPr id="1" name="Shape 5588"/>
        <p:cNvGrpSpPr/>
        <p:nvPr/>
      </p:nvGrpSpPr>
      <p:grpSpPr>
        <a:xfrm>
          <a:off x="0" y="0"/>
          <a:ext cx="0" cy="0"/>
          <a:chOff x="0" y="0"/>
          <a:chExt cx="0" cy="0"/>
        </a:xfrm>
      </p:grpSpPr>
      <p:grpSp>
        <p:nvGrpSpPr>
          <p:cNvPr id="5589" name="Google Shape;5589;p1236"/>
          <p:cNvGrpSpPr/>
          <p:nvPr/>
        </p:nvGrpSpPr>
        <p:grpSpPr>
          <a:xfrm>
            <a:off x="0" y="5020347"/>
            <a:ext cx="12192000" cy="1837653"/>
            <a:chOff x="0" y="5020347"/>
            <a:chExt cx="12192000" cy="1837653"/>
          </a:xfrm>
        </p:grpSpPr>
        <p:sp>
          <p:nvSpPr>
            <p:cNvPr id="5590" name="Google Shape;5590;p123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1" name="Google Shape;5591;p12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2" name="Google Shape;5592;p123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93" name="Google Shape;5593;p12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594" name="Google Shape;5594;p123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5" name="Google Shape;5595;p123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Photo Slide">
  <p:cSld name="Photo Slide 5 3">
    <p:spTree>
      <p:nvGrpSpPr>
        <p:cNvPr id="1" name="Shape 5596"/>
        <p:cNvGrpSpPr/>
        <p:nvPr/>
      </p:nvGrpSpPr>
      <p:grpSpPr>
        <a:xfrm>
          <a:off x="0" y="0"/>
          <a:ext cx="0" cy="0"/>
          <a:chOff x="0" y="0"/>
          <a:chExt cx="0" cy="0"/>
        </a:xfrm>
      </p:grpSpPr>
      <p:sp>
        <p:nvSpPr>
          <p:cNvPr id="5597" name="Google Shape;5597;p123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598" name="Google Shape;5598;p123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599" name="Google Shape;5599;p1237"/>
          <p:cNvGrpSpPr/>
          <p:nvPr/>
        </p:nvGrpSpPr>
        <p:grpSpPr>
          <a:xfrm>
            <a:off x="0" y="5379426"/>
            <a:ext cx="2807368" cy="753891"/>
            <a:chOff x="0" y="5379426"/>
            <a:chExt cx="2807368" cy="753891"/>
          </a:xfrm>
        </p:grpSpPr>
        <p:sp>
          <p:nvSpPr>
            <p:cNvPr id="5600" name="Google Shape;5600;p123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01" name="Google Shape;5601;p123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602" name="Google Shape;5602;p1237"/>
          <p:cNvSpPr>
            <a:spLocks noGrp="1"/>
          </p:cNvSpPr>
          <p:nvPr>
            <p:ph type="pic" idx="2"/>
          </p:nvPr>
        </p:nvSpPr>
        <p:spPr>
          <a:xfrm>
            <a:off x="2807368" y="457202"/>
            <a:ext cx="8915400" cy="5943598"/>
          </a:xfrm>
          <a:prstGeom prst="rect">
            <a:avLst/>
          </a:prstGeom>
          <a:noFill/>
          <a:ln>
            <a:noFill/>
          </a:ln>
        </p:spPr>
      </p:sp>
      <p:pic>
        <p:nvPicPr>
          <p:cNvPr id="5603" name="Google Shape;5603;p123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Quotation">
  <p:cSld name="Quotation 5 3">
    <p:spTree>
      <p:nvGrpSpPr>
        <p:cNvPr id="1" name="Shape 5604"/>
        <p:cNvGrpSpPr/>
        <p:nvPr/>
      </p:nvGrpSpPr>
      <p:grpSpPr>
        <a:xfrm>
          <a:off x="0" y="0"/>
          <a:ext cx="0" cy="0"/>
          <a:chOff x="0" y="0"/>
          <a:chExt cx="0" cy="0"/>
        </a:xfrm>
      </p:grpSpPr>
      <p:sp>
        <p:nvSpPr>
          <p:cNvPr id="5605" name="Google Shape;5605;p1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06" name="Google Shape;5606;p1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7" name="Google Shape;5607;p1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8" name="Google Shape;5608;p1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09" name="Google Shape;5609;p1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10" name="Google Shape;5610;p1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611" name="Google Shape;5611;p1238"/>
          <p:cNvGrpSpPr/>
          <p:nvPr/>
        </p:nvGrpSpPr>
        <p:grpSpPr>
          <a:xfrm>
            <a:off x="7191542" y="1"/>
            <a:ext cx="5000459" cy="1425992"/>
            <a:chOff x="7191542" y="1"/>
            <a:chExt cx="5000459" cy="1425992"/>
          </a:xfrm>
        </p:grpSpPr>
        <p:pic>
          <p:nvPicPr>
            <p:cNvPr id="5612" name="Google Shape;5612;p1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13" name="Google Shape;5613;p1238"/>
            <p:cNvGrpSpPr/>
            <p:nvPr/>
          </p:nvGrpSpPr>
          <p:grpSpPr>
            <a:xfrm>
              <a:off x="7191542" y="1"/>
              <a:ext cx="5000459" cy="1425992"/>
              <a:chOff x="7186272" y="0"/>
              <a:chExt cx="5005729" cy="1427495"/>
            </a:xfrm>
          </p:grpSpPr>
          <p:sp>
            <p:nvSpPr>
              <p:cNvPr id="5614" name="Google Shape;5614;p1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15" name="Google Shape;5615;p1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616" name="Google Shape;5616;p12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Quotation">
  <p:cSld name="Quotation 6 3">
    <p:spTree>
      <p:nvGrpSpPr>
        <p:cNvPr id="1" name="Shape 5617"/>
        <p:cNvGrpSpPr/>
        <p:nvPr/>
      </p:nvGrpSpPr>
      <p:grpSpPr>
        <a:xfrm>
          <a:off x="0" y="0"/>
          <a:ext cx="0" cy="0"/>
          <a:chOff x="0" y="0"/>
          <a:chExt cx="0" cy="0"/>
        </a:xfrm>
      </p:grpSpPr>
      <p:sp>
        <p:nvSpPr>
          <p:cNvPr id="5618" name="Google Shape;5618;p12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19" name="Google Shape;5619;p12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20" name="Google Shape;5620;p12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21" name="Google Shape;5621;p1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22" name="Google Shape;5622;p12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23" name="Google Shape;5623;p1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624" name="Google Shape;5624;p1239"/>
          <p:cNvGrpSpPr/>
          <p:nvPr/>
        </p:nvGrpSpPr>
        <p:grpSpPr>
          <a:xfrm>
            <a:off x="7191542" y="1"/>
            <a:ext cx="5000459" cy="1425992"/>
            <a:chOff x="7191542" y="1"/>
            <a:chExt cx="5000459" cy="1425992"/>
          </a:xfrm>
        </p:grpSpPr>
        <p:pic>
          <p:nvPicPr>
            <p:cNvPr id="5625" name="Google Shape;5625;p12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26" name="Google Shape;5626;p1239"/>
            <p:cNvGrpSpPr/>
            <p:nvPr/>
          </p:nvGrpSpPr>
          <p:grpSpPr>
            <a:xfrm>
              <a:off x="7191542" y="1"/>
              <a:ext cx="5000459" cy="1425992"/>
              <a:chOff x="7186272" y="0"/>
              <a:chExt cx="5005729" cy="1427495"/>
            </a:xfrm>
          </p:grpSpPr>
          <p:sp>
            <p:nvSpPr>
              <p:cNvPr id="5627" name="Google Shape;5627;p12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28" name="Google Shape;5628;p12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629" name="Google Shape;5629;p12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Two Content">
  <p:cSld name="Two Content 4 3">
    <p:spTree>
      <p:nvGrpSpPr>
        <p:cNvPr id="1" name="Shape 5630"/>
        <p:cNvGrpSpPr/>
        <p:nvPr/>
      </p:nvGrpSpPr>
      <p:grpSpPr>
        <a:xfrm>
          <a:off x="0" y="0"/>
          <a:ext cx="0" cy="0"/>
          <a:chOff x="0" y="0"/>
          <a:chExt cx="0" cy="0"/>
        </a:xfrm>
      </p:grpSpPr>
      <p:sp>
        <p:nvSpPr>
          <p:cNvPr id="5631" name="Google Shape;5631;p7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32" name="Google Shape;5632;p7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633" name="Google Shape;5633;p755"/>
          <p:cNvGrpSpPr/>
          <p:nvPr/>
        </p:nvGrpSpPr>
        <p:grpSpPr>
          <a:xfrm>
            <a:off x="7191542" y="1"/>
            <a:ext cx="5000459" cy="1425992"/>
            <a:chOff x="7191542" y="1"/>
            <a:chExt cx="5000459" cy="1425992"/>
          </a:xfrm>
        </p:grpSpPr>
        <p:pic>
          <p:nvPicPr>
            <p:cNvPr id="5634" name="Google Shape;5634;p7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5" name="Google Shape;5635;p755"/>
            <p:cNvGrpSpPr/>
            <p:nvPr/>
          </p:nvGrpSpPr>
          <p:grpSpPr>
            <a:xfrm>
              <a:off x="7191542" y="1"/>
              <a:ext cx="5000459" cy="1425992"/>
              <a:chOff x="7186272" y="0"/>
              <a:chExt cx="5005729" cy="1427495"/>
            </a:xfrm>
          </p:grpSpPr>
          <p:sp>
            <p:nvSpPr>
              <p:cNvPr id="5636" name="Google Shape;5636;p7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37" name="Google Shape;5637;p7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38" name="Google Shape;5638;p7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39" name="Google Shape;5639;p7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40" name="Google Shape;5640;p7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41" name="Google Shape;5641;p7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Comparison">
  <p:cSld name="Comparison 3 3">
    <p:spTree>
      <p:nvGrpSpPr>
        <p:cNvPr id="1" name="Shape 5642"/>
        <p:cNvGrpSpPr/>
        <p:nvPr/>
      </p:nvGrpSpPr>
      <p:grpSpPr>
        <a:xfrm>
          <a:off x="0" y="0"/>
          <a:ext cx="0" cy="0"/>
          <a:chOff x="0" y="0"/>
          <a:chExt cx="0" cy="0"/>
        </a:xfrm>
      </p:grpSpPr>
      <p:grpSp>
        <p:nvGrpSpPr>
          <p:cNvPr id="5643" name="Google Shape;5643;p1240"/>
          <p:cNvGrpSpPr/>
          <p:nvPr/>
        </p:nvGrpSpPr>
        <p:grpSpPr>
          <a:xfrm>
            <a:off x="7191542" y="1"/>
            <a:ext cx="5000459" cy="1425992"/>
            <a:chOff x="7191542" y="1"/>
            <a:chExt cx="5000459" cy="1425992"/>
          </a:xfrm>
        </p:grpSpPr>
        <p:pic>
          <p:nvPicPr>
            <p:cNvPr id="5644" name="Google Shape;5644;p12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45" name="Google Shape;5645;p1240"/>
            <p:cNvGrpSpPr/>
            <p:nvPr/>
          </p:nvGrpSpPr>
          <p:grpSpPr>
            <a:xfrm>
              <a:off x="7191542" y="1"/>
              <a:ext cx="5000459" cy="1425992"/>
              <a:chOff x="7186272" y="0"/>
              <a:chExt cx="5005729" cy="1427495"/>
            </a:xfrm>
          </p:grpSpPr>
          <p:sp>
            <p:nvSpPr>
              <p:cNvPr id="5646" name="Google Shape;5646;p12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47" name="Google Shape;5647;p12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48" name="Google Shape;5648;p12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9" name="Google Shape;5649;p124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50" name="Google Shape;5650;p124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1" name="Google Shape;5651;p124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52" name="Google Shape;5652;p124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3" name="Google Shape;5653;p1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54" name="Google Shape;5654;p12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55" name="Google Shape;5655;p1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Title Only">
  <p:cSld name="Title Only 3 3">
    <p:spTree>
      <p:nvGrpSpPr>
        <p:cNvPr id="1" name="Shape 5656"/>
        <p:cNvGrpSpPr/>
        <p:nvPr/>
      </p:nvGrpSpPr>
      <p:grpSpPr>
        <a:xfrm>
          <a:off x="0" y="0"/>
          <a:ext cx="0" cy="0"/>
          <a:chOff x="0" y="0"/>
          <a:chExt cx="0" cy="0"/>
        </a:xfrm>
      </p:grpSpPr>
      <p:grpSp>
        <p:nvGrpSpPr>
          <p:cNvPr id="5657" name="Google Shape;5657;p757"/>
          <p:cNvGrpSpPr/>
          <p:nvPr/>
        </p:nvGrpSpPr>
        <p:grpSpPr>
          <a:xfrm>
            <a:off x="7191542" y="1"/>
            <a:ext cx="5000459" cy="1425992"/>
            <a:chOff x="7191542" y="1"/>
            <a:chExt cx="5000459" cy="1425992"/>
          </a:xfrm>
        </p:grpSpPr>
        <p:pic>
          <p:nvPicPr>
            <p:cNvPr id="5658" name="Google Shape;5658;p7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59" name="Google Shape;5659;p757"/>
            <p:cNvGrpSpPr/>
            <p:nvPr/>
          </p:nvGrpSpPr>
          <p:grpSpPr>
            <a:xfrm>
              <a:off x="7191542" y="1"/>
              <a:ext cx="5000459" cy="1425992"/>
              <a:chOff x="7186272" y="0"/>
              <a:chExt cx="5005729" cy="1427495"/>
            </a:xfrm>
          </p:grpSpPr>
          <p:sp>
            <p:nvSpPr>
              <p:cNvPr id="5660" name="Google Shape;5660;p7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61" name="Google Shape;5661;p7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62" name="Google Shape;5662;p7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63" name="Google Shape;5663;p7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4" name="Google Shape;5664;p7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65" name="Google Shape;5665;p7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End">
  <p:cSld name="End 3 4">
    <p:spTree>
      <p:nvGrpSpPr>
        <p:cNvPr id="1" name="Shape 5666"/>
        <p:cNvGrpSpPr/>
        <p:nvPr/>
      </p:nvGrpSpPr>
      <p:grpSpPr>
        <a:xfrm>
          <a:off x="0" y="0"/>
          <a:ext cx="0" cy="0"/>
          <a:chOff x="0" y="0"/>
          <a:chExt cx="0" cy="0"/>
        </a:xfrm>
      </p:grpSpPr>
      <p:grpSp>
        <p:nvGrpSpPr>
          <p:cNvPr id="5667" name="Google Shape;5667;p758"/>
          <p:cNvGrpSpPr/>
          <p:nvPr/>
        </p:nvGrpSpPr>
        <p:grpSpPr>
          <a:xfrm>
            <a:off x="0" y="0"/>
            <a:ext cx="12192000" cy="2148830"/>
            <a:chOff x="0" y="0"/>
            <a:chExt cx="12192000" cy="2148830"/>
          </a:xfrm>
        </p:grpSpPr>
        <p:sp>
          <p:nvSpPr>
            <p:cNvPr id="5668" name="Google Shape;5668;p7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69" name="Google Shape;5669;p7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670" name="Google Shape;5670;p7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71" name="Google Shape;5671;p7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2" name="Google Shape;5672;p7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673" name="Google Shape;5673;p7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674" name="Google Shape;5674;p7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Blank">
  <p:cSld name="Blank 2 4">
    <p:spTree>
      <p:nvGrpSpPr>
        <p:cNvPr id="1" name="Shape 5675"/>
        <p:cNvGrpSpPr/>
        <p:nvPr/>
      </p:nvGrpSpPr>
      <p:grpSpPr>
        <a:xfrm>
          <a:off x="0" y="0"/>
          <a:ext cx="0" cy="0"/>
          <a:chOff x="0" y="0"/>
          <a:chExt cx="0" cy="0"/>
        </a:xfrm>
      </p:grpSpPr>
      <p:sp>
        <p:nvSpPr>
          <p:cNvPr id="5676" name="Google Shape;5676;p7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77" name="Google Shape;5677;p7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8" name="Google Shape;5678;p7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679" name="Google Shape;5679;p759"/>
          <p:cNvGrpSpPr/>
          <p:nvPr/>
        </p:nvGrpSpPr>
        <p:grpSpPr>
          <a:xfrm>
            <a:off x="7191542" y="1"/>
            <a:ext cx="5000459" cy="1425992"/>
            <a:chOff x="7191542" y="1"/>
            <a:chExt cx="5000459" cy="1425992"/>
          </a:xfrm>
        </p:grpSpPr>
        <p:pic>
          <p:nvPicPr>
            <p:cNvPr id="5680" name="Google Shape;5680;p7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81" name="Google Shape;5681;p759"/>
            <p:cNvGrpSpPr/>
            <p:nvPr/>
          </p:nvGrpSpPr>
          <p:grpSpPr>
            <a:xfrm>
              <a:off x="7191542" y="1"/>
              <a:ext cx="5000459" cy="1425992"/>
              <a:chOff x="7186272" y="0"/>
              <a:chExt cx="5005729" cy="1427495"/>
            </a:xfrm>
          </p:grpSpPr>
          <p:sp>
            <p:nvSpPr>
              <p:cNvPr id="5682" name="Google Shape;5682;p7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83" name="Google Shape;5683;p7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98"/>
        <p:cNvGrpSpPr/>
        <p:nvPr/>
      </p:nvGrpSpPr>
      <p:grpSpPr>
        <a:xfrm>
          <a:off x="0" y="0"/>
          <a:ext cx="0" cy="0"/>
          <a:chOff x="0" y="0"/>
          <a:chExt cx="0" cy="0"/>
        </a:xfrm>
      </p:grpSpPr>
      <p:grpSp>
        <p:nvGrpSpPr>
          <p:cNvPr id="599" name="Google Shape;599;p1198"/>
          <p:cNvGrpSpPr/>
          <p:nvPr/>
        </p:nvGrpSpPr>
        <p:grpSpPr>
          <a:xfrm>
            <a:off x="7191542" y="1"/>
            <a:ext cx="5000459" cy="1425992"/>
            <a:chOff x="7191542" y="1"/>
            <a:chExt cx="5000459" cy="1425992"/>
          </a:xfrm>
        </p:grpSpPr>
        <p:pic>
          <p:nvPicPr>
            <p:cNvPr id="600" name="Google Shape;600;p1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 name="Google Shape;601;p1198"/>
            <p:cNvGrpSpPr/>
            <p:nvPr/>
          </p:nvGrpSpPr>
          <p:grpSpPr>
            <a:xfrm>
              <a:off x="7191542" y="1"/>
              <a:ext cx="5000459" cy="1425992"/>
              <a:chOff x="7186272" y="0"/>
              <a:chExt cx="5005729" cy="1427495"/>
            </a:xfrm>
          </p:grpSpPr>
          <p:sp>
            <p:nvSpPr>
              <p:cNvPr id="602" name="Google Shape;602;p1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3" name="Google Shape;603;p1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4" name="Google Shape;604;p1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5" name="Google Shape;605;p119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6" name="Google Shape;606;p119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 name="Google Shape;607;p11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8" name="Google Shape;608;p11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9" name="Google Shape;609;p1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0" name="Google Shape;610;p1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1" name="Google Shape;611;p1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84"/>
        <p:cNvGrpSpPr/>
        <p:nvPr/>
      </p:nvGrpSpPr>
      <p:grpSpPr>
        <a:xfrm>
          <a:off x="0" y="0"/>
          <a:ext cx="0" cy="0"/>
          <a:chOff x="0" y="0"/>
          <a:chExt cx="0" cy="0"/>
        </a:xfrm>
      </p:grpSpPr>
      <p:grpSp>
        <p:nvGrpSpPr>
          <p:cNvPr id="5685" name="Google Shape;5685;p760"/>
          <p:cNvGrpSpPr/>
          <p:nvPr/>
        </p:nvGrpSpPr>
        <p:grpSpPr>
          <a:xfrm>
            <a:off x="0" y="5020347"/>
            <a:ext cx="12192000" cy="1837653"/>
            <a:chOff x="0" y="5020347"/>
            <a:chExt cx="12192000" cy="1837653"/>
          </a:xfrm>
        </p:grpSpPr>
        <p:sp>
          <p:nvSpPr>
            <p:cNvPr id="5686" name="Google Shape;5686;p7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87" name="Google Shape;5687;p7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88" name="Google Shape;5688;p7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89" name="Google Shape;5689;p7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90" name="Google Shape;5690;p7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91" name="Google Shape;5691;p7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692"/>
        <p:cNvGrpSpPr/>
        <p:nvPr/>
      </p:nvGrpSpPr>
      <p:grpSpPr>
        <a:xfrm>
          <a:off x="0" y="0"/>
          <a:ext cx="0" cy="0"/>
          <a:chOff x="0" y="0"/>
          <a:chExt cx="0" cy="0"/>
        </a:xfrm>
      </p:grpSpPr>
      <p:sp>
        <p:nvSpPr>
          <p:cNvPr id="5693" name="Google Shape;5693;p7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694" name="Google Shape;5694;p7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695" name="Google Shape;5695;p761"/>
          <p:cNvGrpSpPr/>
          <p:nvPr/>
        </p:nvGrpSpPr>
        <p:grpSpPr>
          <a:xfrm>
            <a:off x="0" y="5379426"/>
            <a:ext cx="2807368" cy="753891"/>
            <a:chOff x="0" y="5379426"/>
            <a:chExt cx="2807368" cy="753891"/>
          </a:xfrm>
        </p:grpSpPr>
        <p:sp>
          <p:nvSpPr>
            <p:cNvPr id="5696" name="Google Shape;5696;p7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97" name="Google Shape;5697;p7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698" name="Google Shape;5698;p761"/>
          <p:cNvSpPr>
            <a:spLocks noGrp="1"/>
          </p:cNvSpPr>
          <p:nvPr>
            <p:ph type="pic" idx="2"/>
          </p:nvPr>
        </p:nvSpPr>
        <p:spPr>
          <a:xfrm>
            <a:off x="2807368" y="457202"/>
            <a:ext cx="8915400" cy="5943598"/>
          </a:xfrm>
          <a:prstGeom prst="rect">
            <a:avLst/>
          </a:prstGeom>
          <a:noFill/>
          <a:ln>
            <a:noFill/>
          </a:ln>
        </p:spPr>
      </p:sp>
      <p:pic>
        <p:nvPicPr>
          <p:cNvPr id="5699" name="Google Shape;5699;p7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700"/>
        <p:cNvGrpSpPr/>
        <p:nvPr/>
      </p:nvGrpSpPr>
      <p:grpSpPr>
        <a:xfrm>
          <a:off x="0" y="0"/>
          <a:ext cx="0" cy="0"/>
          <a:chOff x="0" y="0"/>
          <a:chExt cx="0" cy="0"/>
        </a:xfrm>
      </p:grpSpPr>
      <p:sp>
        <p:nvSpPr>
          <p:cNvPr id="5701" name="Google Shape;5701;p7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02" name="Google Shape;5702;p7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3" name="Google Shape;5703;p7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704" name="Google Shape;5704;p762"/>
          <p:cNvSpPr>
            <a:spLocks noGrp="1"/>
          </p:cNvSpPr>
          <p:nvPr>
            <p:ph type="pic" idx="2"/>
          </p:nvPr>
        </p:nvSpPr>
        <p:spPr>
          <a:xfrm>
            <a:off x="7118684" y="233915"/>
            <a:ext cx="5073316" cy="5943600"/>
          </a:xfrm>
          <a:prstGeom prst="rect">
            <a:avLst/>
          </a:prstGeom>
          <a:noFill/>
          <a:ln>
            <a:noFill/>
          </a:ln>
        </p:spPr>
      </p:sp>
      <p:grpSp>
        <p:nvGrpSpPr>
          <p:cNvPr id="5705" name="Google Shape;5705;p762"/>
          <p:cNvGrpSpPr/>
          <p:nvPr/>
        </p:nvGrpSpPr>
        <p:grpSpPr>
          <a:xfrm>
            <a:off x="0" y="5020348"/>
            <a:ext cx="12192000" cy="1837653"/>
            <a:chOff x="0" y="5020348"/>
            <a:chExt cx="12192000" cy="1837653"/>
          </a:xfrm>
        </p:grpSpPr>
        <p:sp>
          <p:nvSpPr>
            <p:cNvPr id="5706" name="Google Shape;5706;p7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07" name="Google Shape;5707;p7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08" name="Google Shape;5708;p7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709"/>
        <p:cNvGrpSpPr/>
        <p:nvPr/>
      </p:nvGrpSpPr>
      <p:grpSpPr>
        <a:xfrm>
          <a:off x="0" y="0"/>
          <a:ext cx="0" cy="0"/>
          <a:chOff x="0" y="0"/>
          <a:chExt cx="0" cy="0"/>
        </a:xfrm>
      </p:grpSpPr>
      <p:grpSp>
        <p:nvGrpSpPr>
          <p:cNvPr id="5710" name="Google Shape;5710;p763"/>
          <p:cNvGrpSpPr/>
          <p:nvPr/>
        </p:nvGrpSpPr>
        <p:grpSpPr>
          <a:xfrm>
            <a:off x="7191542" y="1"/>
            <a:ext cx="5000459" cy="1425992"/>
            <a:chOff x="7191542" y="1"/>
            <a:chExt cx="5000459" cy="1425992"/>
          </a:xfrm>
        </p:grpSpPr>
        <p:pic>
          <p:nvPicPr>
            <p:cNvPr id="5711" name="Google Shape;5711;p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12" name="Google Shape;5712;p763"/>
            <p:cNvGrpSpPr/>
            <p:nvPr/>
          </p:nvGrpSpPr>
          <p:grpSpPr>
            <a:xfrm>
              <a:off x="7191542" y="1"/>
              <a:ext cx="5000459" cy="1425992"/>
              <a:chOff x="7186272" y="0"/>
              <a:chExt cx="5005729" cy="1427495"/>
            </a:xfrm>
          </p:grpSpPr>
          <p:sp>
            <p:nvSpPr>
              <p:cNvPr id="5713" name="Google Shape;5713;p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14" name="Google Shape;5714;p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15" name="Google Shape;5715;p7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16" name="Google Shape;5716;p76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17" name="Google Shape;5717;p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18" name="Google Shape;5718;p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19" name="Google Shape;5719;p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720"/>
        <p:cNvGrpSpPr/>
        <p:nvPr/>
      </p:nvGrpSpPr>
      <p:grpSpPr>
        <a:xfrm>
          <a:off x="0" y="0"/>
          <a:ext cx="0" cy="0"/>
          <a:chOff x="0" y="0"/>
          <a:chExt cx="0" cy="0"/>
        </a:xfrm>
      </p:grpSpPr>
      <p:sp>
        <p:nvSpPr>
          <p:cNvPr id="5721" name="Google Shape;5721;p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22" name="Google Shape;5722;p7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723" name="Google Shape;5723;p764"/>
          <p:cNvGrpSpPr/>
          <p:nvPr/>
        </p:nvGrpSpPr>
        <p:grpSpPr>
          <a:xfrm>
            <a:off x="7191542" y="1"/>
            <a:ext cx="5000459" cy="1425992"/>
            <a:chOff x="7191542" y="1"/>
            <a:chExt cx="5000459" cy="1425992"/>
          </a:xfrm>
        </p:grpSpPr>
        <p:pic>
          <p:nvPicPr>
            <p:cNvPr id="5724" name="Google Shape;5724;p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25" name="Google Shape;5725;p764"/>
            <p:cNvGrpSpPr/>
            <p:nvPr/>
          </p:nvGrpSpPr>
          <p:grpSpPr>
            <a:xfrm>
              <a:off x="7191542" y="1"/>
              <a:ext cx="5000459" cy="1425992"/>
              <a:chOff x="7186272" y="0"/>
              <a:chExt cx="5005729" cy="1427495"/>
            </a:xfrm>
          </p:grpSpPr>
          <p:sp>
            <p:nvSpPr>
              <p:cNvPr id="5726" name="Google Shape;5726;p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7" name="Google Shape;5727;p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28" name="Google Shape;5728;p7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29" name="Google Shape;5729;p7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30" name="Google Shape;5730;p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31" name="Google Shape;5731;p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732"/>
        <p:cNvGrpSpPr/>
        <p:nvPr/>
      </p:nvGrpSpPr>
      <p:grpSpPr>
        <a:xfrm>
          <a:off x="0" y="0"/>
          <a:ext cx="0" cy="0"/>
          <a:chOff x="0" y="0"/>
          <a:chExt cx="0" cy="0"/>
        </a:xfrm>
      </p:grpSpPr>
      <p:grpSp>
        <p:nvGrpSpPr>
          <p:cNvPr id="5733" name="Google Shape;5733;p765"/>
          <p:cNvGrpSpPr/>
          <p:nvPr/>
        </p:nvGrpSpPr>
        <p:grpSpPr>
          <a:xfrm>
            <a:off x="7191542" y="1"/>
            <a:ext cx="5000459" cy="1425992"/>
            <a:chOff x="7191542" y="1"/>
            <a:chExt cx="5000459" cy="1425992"/>
          </a:xfrm>
        </p:grpSpPr>
        <p:pic>
          <p:nvPicPr>
            <p:cNvPr id="5734" name="Google Shape;5734;p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35" name="Google Shape;5735;p765"/>
            <p:cNvGrpSpPr/>
            <p:nvPr/>
          </p:nvGrpSpPr>
          <p:grpSpPr>
            <a:xfrm>
              <a:off x="7191542" y="1"/>
              <a:ext cx="5000459" cy="1425992"/>
              <a:chOff x="7186272" y="0"/>
              <a:chExt cx="5005729" cy="1427495"/>
            </a:xfrm>
          </p:grpSpPr>
          <p:sp>
            <p:nvSpPr>
              <p:cNvPr id="5736" name="Google Shape;5736;p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37" name="Google Shape;5737;p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38" name="Google Shape;5738;p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39" name="Google Shape;5739;p7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40" name="Google Shape;5740;p7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41" name="Google Shape;5741;p7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42" name="Google Shape;5742;p7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43" name="Google Shape;5743;p7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44" name="Google Shape;5744;p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45" name="Google Shape;5745;p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746"/>
        <p:cNvGrpSpPr/>
        <p:nvPr/>
      </p:nvGrpSpPr>
      <p:grpSpPr>
        <a:xfrm>
          <a:off x="0" y="0"/>
          <a:ext cx="0" cy="0"/>
          <a:chOff x="0" y="0"/>
          <a:chExt cx="0" cy="0"/>
        </a:xfrm>
      </p:grpSpPr>
      <p:sp>
        <p:nvSpPr>
          <p:cNvPr id="5747" name="Google Shape;5747;p7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48" name="Google Shape;5748;p7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49" name="Google Shape;5749;p7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50" name="Google Shape;5750;p7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51" name="Google Shape;5751;p7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52" name="Google Shape;5752;p7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753" name="Google Shape;5753;p766"/>
          <p:cNvGrpSpPr/>
          <p:nvPr/>
        </p:nvGrpSpPr>
        <p:grpSpPr>
          <a:xfrm>
            <a:off x="7191542" y="1"/>
            <a:ext cx="5000459" cy="1425992"/>
            <a:chOff x="7191542" y="1"/>
            <a:chExt cx="5000459" cy="1425992"/>
          </a:xfrm>
        </p:grpSpPr>
        <p:pic>
          <p:nvPicPr>
            <p:cNvPr id="5754" name="Google Shape;5754;p7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55" name="Google Shape;5755;p766"/>
            <p:cNvGrpSpPr/>
            <p:nvPr/>
          </p:nvGrpSpPr>
          <p:grpSpPr>
            <a:xfrm>
              <a:off x="7191542" y="1"/>
              <a:ext cx="5000459" cy="1425992"/>
              <a:chOff x="7186272" y="0"/>
              <a:chExt cx="5005729" cy="1427495"/>
            </a:xfrm>
          </p:grpSpPr>
          <p:sp>
            <p:nvSpPr>
              <p:cNvPr id="5756" name="Google Shape;5756;p7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57" name="Google Shape;5757;p7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58" name="Google Shape;5758;p7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Quotation">
  <p:cSld name="Quotation 7 2">
    <p:spTree>
      <p:nvGrpSpPr>
        <p:cNvPr id="1" name="Shape 5759"/>
        <p:cNvGrpSpPr/>
        <p:nvPr/>
      </p:nvGrpSpPr>
      <p:grpSpPr>
        <a:xfrm>
          <a:off x="0" y="0"/>
          <a:ext cx="0" cy="0"/>
          <a:chOff x="0" y="0"/>
          <a:chExt cx="0" cy="0"/>
        </a:xfrm>
      </p:grpSpPr>
      <p:sp>
        <p:nvSpPr>
          <p:cNvPr id="5760" name="Google Shape;5760;p7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61" name="Google Shape;5761;p7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62" name="Google Shape;5762;p7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63" name="Google Shape;5763;p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64" name="Google Shape;5764;p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65" name="Google Shape;5765;p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766" name="Google Shape;5766;p767"/>
          <p:cNvGrpSpPr/>
          <p:nvPr/>
        </p:nvGrpSpPr>
        <p:grpSpPr>
          <a:xfrm>
            <a:off x="7191542" y="1"/>
            <a:ext cx="5000459" cy="1425992"/>
            <a:chOff x="7191542" y="1"/>
            <a:chExt cx="5000459" cy="1425992"/>
          </a:xfrm>
        </p:grpSpPr>
        <p:pic>
          <p:nvPicPr>
            <p:cNvPr id="5767" name="Google Shape;5767;p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68" name="Google Shape;5768;p767"/>
            <p:cNvGrpSpPr/>
            <p:nvPr/>
          </p:nvGrpSpPr>
          <p:grpSpPr>
            <a:xfrm>
              <a:off x="7191542" y="1"/>
              <a:ext cx="5000459" cy="1425992"/>
              <a:chOff x="7186272" y="0"/>
              <a:chExt cx="5005729" cy="1427495"/>
            </a:xfrm>
          </p:grpSpPr>
          <p:sp>
            <p:nvSpPr>
              <p:cNvPr id="5769" name="Google Shape;5769;p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70" name="Google Shape;5770;p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71" name="Google Shape;5771;p7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772"/>
        <p:cNvGrpSpPr/>
        <p:nvPr/>
      </p:nvGrpSpPr>
      <p:grpSpPr>
        <a:xfrm>
          <a:off x="0" y="0"/>
          <a:ext cx="0" cy="0"/>
          <a:chOff x="0" y="0"/>
          <a:chExt cx="0" cy="0"/>
        </a:xfrm>
      </p:grpSpPr>
      <p:grpSp>
        <p:nvGrpSpPr>
          <p:cNvPr id="5773" name="Google Shape;5773;p768"/>
          <p:cNvGrpSpPr/>
          <p:nvPr/>
        </p:nvGrpSpPr>
        <p:grpSpPr>
          <a:xfrm>
            <a:off x="0" y="0"/>
            <a:ext cx="12192000" cy="2148830"/>
            <a:chOff x="0" y="0"/>
            <a:chExt cx="12192000" cy="2148830"/>
          </a:xfrm>
        </p:grpSpPr>
        <p:sp>
          <p:nvSpPr>
            <p:cNvPr id="5774" name="Google Shape;5774;p76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75" name="Google Shape;5775;p76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76" name="Google Shape;5776;p76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7" name="Google Shape;5777;p76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78" name="Google Shape;5778;p76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779" name="Google Shape;5779;p76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780" name="Google Shape;5780;p76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5781"/>
        <p:cNvGrpSpPr/>
        <p:nvPr/>
      </p:nvGrpSpPr>
      <p:grpSpPr>
        <a:xfrm>
          <a:off x="0" y="0"/>
          <a:ext cx="0" cy="0"/>
          <a:chOff x="0" y="0"/>
          <a:chExt cx="0" cy="0"/>
        </a:xfrm>
      </p:grpSpPr>
      <p:grpSp>
        <p:nvGrpSpPr>
          <p:cNvPr id="5782" name="Google Shape;5782;p769"/>
          <p:cNvGrpSpPr/>
          <p:nvPr/>
        </p:nvGrpSpPr>
        <p:grpSpPr>
          <a:xfrm>
            <a:off x="7191542" y="1"/>
            <a:ext cx="5000459" cy="1425992"/>
            <a:chOff x="7191542" y="1"/>
            <a:chExt cx="5000459" cy="1425992"/>
          </a:xfrm>
        </p:grpSpPr>
        <p:pic>
          <p:nvPicPr>
            <p:cNvPr id="5783" name="Google Shape;5783;p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84" name="Google Shape;5784;p769"/>
            <p:cNvGrpSpPr/>
            <p:nvPr/>
          </p:nvGrpSpPr>
          <p:grpSpPr>
            <a:xfrm>
              <a:off x="7191542" y="1"/>
              <a:ext cx="5000459" cy="1425992"/>
              <a:chOff x="7186272" y="0"/>
              <a:chExt cx="5005729" cy="1427495"/>
            </a:xfrm>
          </p:grpSpPr>
          <p:sp>
            <p:nvSpPr>
              <p:cNvPr id="5785" name="Google Shape;5785;p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86" name="Google Shape;5786;p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87" name="Google Shape;5787;p7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88" name="Google Shape;5788;p7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89" name="Google Shape;5789;p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90" name="Google Shape;5790;p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12"/>
        <p:cNvGrpSpPr/>
        <p:nvPr/>
      </p:nvGrpSpPr>
      <p:grpSpPr>
        <a:xfrm>
          <a:off x="0" y="0"/>
          <a:ext cx="0" cy="0"/>
          <a:chOff x="0" y="0"/>
          <a:chExt cx="0" cy="0"/>
        </a:xfrm>
      </p:grpSpPr>
      <p:grpSp>
        <p:nvGrpSpPr>
          <p:cNvPr id="613" name="Google Shape;613;p1199"/>
          <p:cNvGrpSpPr/>
          <p:nvPr/>
        </p:nvGrpSpPr>
        <p:grpSpPr>
          <a:xfrm>
            <a:off x="7191542" y="1"/>
            <a:ext cx="5000459" cy="1425992"/>
            <a:chOff x="7191542" y="1"/>
            <a:chExt cx="5000459" cy="1425992"/>
          </a:xfrm>
        </p:grpSpPr>
        <p:pic>
          <p:nvPicPr>
            <p:cNvPr id="614" name="Google Shape;614;p11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5" name="Google Shape;615;p1199"/>
            <p:cNvGrpSpPr/>
            <p:nvPr/>
          </p:nvGrpSpPr>
          <p:grpSpPr>
            <a:xfrm>
              <a:off x="7191542" y="1"/>
              <a:ext cx="5000459" cy="1425992"/>
              <a:chOff x="7186272" y="0"/>
              <a:chExt cx="5005729" cy="1427495"/>
            </a:xfrm>
          </p:grpSpPr>
          <p:sp>
            <p:nvSpPr>
              <p:cNvPr id="616" name="Google Shape;616;p11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7" name="Google Shape;617;p11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8" name="Google Shape;618;p11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9" name="Google Shape;619;p11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0" name="Google Shape;620;p11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 name="Google Shape;621;p11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5791"/>
        <p:cNvGrpSpPr/>
        <p:nvPr/>
      </p:nvGrpSpPr>
      <p:grpSpPr>
        <a:xfrm>
          <a:off x="0" y="0"/>
          <a:ext cx="0" cy="0"/>
          <a:chOff x="0" y="0"/>
          <a:chExt cx="0" cy="0"/>
        </a:xfrm>
      </p:grpSpPr>
      <p:grpSp>
        <p:nvGrpSpPr>
          <p:cNvPr id="5792" name="Google Shape;5792;p1241"/>
          <p:cNvGrpSpPr/>
          <p:nvPr/>
        </p:nvGrpSpPr>
        <p:grpSpPr>
          <a:xfrm>
            <a:off x="0" y="0"/>
            <a:ext cx="12192000" cy="2148830"/>
            <a:chOff x="0" y="0"/>
            <a:chExt cx="12192000" cy="2148830"/>
          </a:xfrm>
        </p:grpSpPr>
        <p:sp>
          <p:nvSpPr>
            <p:cNvPr id="5793" name="Google Shape;5793;p12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94" name="Google Shape;5794;p12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95" name="Google Shape;5795;p124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96" name="Google Shape;5796;p124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7" name="Google Shape;5797;p12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798" name="Google Shape;5798;p124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799" name="Google Shape;5799;p124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Blank">
  <p:cSld name="Blank 3 2">
    <p:spTree>
      <p:nvGrpSpPr>
        <p:cNvPr id="1" name="Shape 5800"/>
        <p:cNvGrpSpPr/>
        <p:nvPr/>
      </p:nvGrpSpPr>
      <p:grpSpPr>
        <a:xfrm>
          <a:off x="0" y="0"/>
          <a:ext cx="0" cy="0"/>
          <a:chOff x="0" y="0"/>
          <a:chExt cx="0" cy="0"/>
        </a:xfrm>
      </p:grpSpPr>
      <p:sp>
        <p:nvSpPr>
          <p:cNvPr id="5801" name="Google Shape;5801;p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2" name="Google Shape;5802;p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03" name="Google Shape;5803;p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04" name="Google Shape;5804;p771"/>
          <p:cNvGrpSpPr/>
          <p:nvPr/>
        </p:nvGrpSpPr>
        <p:grpSpPr>
          <a:xfrm>
            <a:off x="7191542" y="1"/>
            <a:ext cx="5000459" cy="1425992"/>
            <a:chOff x="7191542" y="1"/>
            <a:chExt cx="5000459" cy="1425992"/>
          </a:xfrm>
        </p:grpSpPr>
        <p:pic>
          <p:nvPicPr>
            <p:cNvPr id="5805" name="Google Shape;5805;p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06" name="Google Shape;5806;p771"/>
            <p:cNvGrpSpPr/>
            <p:nvPr/>
          </p:nvGrpSpPr>
          <p:grpSpPr>
            <a:xfrm>
              <a:off x="7191542" y="1"/>
              <a:ext cx="5000459" cy="1425992"/>
              <a:chOff x="7186272" y="0"/>
              <a:chExt cx="5005729" cy="1427495"/>
            </a:xfrm>
          </p:grpSpPr>
          <p:sp>
            <p:nvSpPr>
              <p:cNvPr id="5807" name="Google Shape;5807;p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08" name="Google Shape;5808;p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809"/>
        <p:cNvGrpSpPr/>
        <p:nvPr/>
      </p:nvGrpSpPr>
      <p:grpSpPr>
        <a:xfrm>
          <a:off x="0" y="0"/>
          <a:ext cx="0" cy="0"/>
          <a:chOff x="0" y="0"/>
          <a:chExt cx="0" cy="0"/>
        </a:xfrm>
      </p:grpSpPr>
      <p:sp>
        <p:nvSpPr>
          <p:cNvPr id="5810" name="Google Shape;5810;p7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11" name="Google Shape;5811;p7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2" name="Google Shape;5812;p7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3" name="Google Shape;5813;p7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14" name="Google Shape;5814;p7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5" name="Google Shape;5815;p7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16" name="Google Shape;5816;p772"/>
          <p:cNvGrpSpPr/>
          <p:nvPr/>
        </p:nvGrpSpPr>
        <p:grpSpPr>
          <a:xfrm>
            <a:off x="7191542" y="1"/>
            <a:ext cx="5000459" cy="1425992"/>
            <a:chOff x="7191542" y="1"/>
            <a:chExt cx="5000459" cy="1425992"/>
          </a:xfrm>
        </p:grpSpPr>
        <p:pic>
          <p:nvPicPr>
            <p:cNvPr id="5817" name="Google Shape;5817;p7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18" name="Google Shape;5818;p772"/>
            <p:cNvGrpSpPr/>
            <p:nvPr/>
          </p:nvGrpSpPr>
          <p:grpSpPr>
            <a:xfrm>
              <a:off x="7191542" y="1"/>
              <a:ext cx="5000459" cy="1425992"/>
              <a:chOff x="7186272" y="0"/>
              <a:chExt cx="5005729" cy="1427495"/>
            </a:xfrm>
          </p:grpSpPr>
          <p:sp>
            <p:nvSpPr>
              <p:cNvPr id="5819" name="Google Shape;5819;p7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20" name="Google Shape;5820;p7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21" name="Google Shape;5821;p7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Quotation">
  <p:cSld name="Quotation 8 2">
    <p:spTree>
      <p:nvGrpSpPr>
        <p:cNvPr id="1" name="Shape 5822"/>
        <p:cNvGrpSpPr/>
        <p:nvPr/>
      </p:nvGrpSpPr>
      <p:grpSpPr>
        <a:xfrm>
          <a:off x="0" y="0"/>
          <a:ext cx="0" cy="0"/>
          <a:chOff x="0" y="0"/>
          <a:chExt cx="0" cy="0"/>
        </a:xfrm>
      </p:grpSpPr>
      <p:sp>
        <p:nvSpPr>
          <p:cNvPr id="5823" name="Google Shape;5823;p7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24" name="Google Shape;5824;p7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25" name="Google Shape;5825;p7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26" name="Google Shape;5826;p7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7" name="Google Shape;5827;p7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28" name="Google Shape;5828;p7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29" name="Google Shape;5829;p773"/>
          <p:cNvGrpSpPr/>
          <p:nvPr/>
        </p:nvGrpSpPr>
        <p:grpSpPr>
          <a:xfrm>
            <a:off x="7191542" y="1"/>
            <a:ext cx="5000459" cy="1425992"/>
            <a:chOff x="7191542" y="1"/>
            <a:chExt cx="5000459" cy="1425992"/>
          </a:xfrm>
        </p:grpSpPr>
        <p:pic>
          <p:nvPicPr>
            <p:cNvPr id="5830" name="Google Shape;5830;p7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31" name="Google Shape;5831;p773"/>
            <p:cNvGrpSpPr/>
            <p:nvPr/>
          </p:nvGrpSpPr>
          <p:grpSpPr>
            <a:xfrm>
              <a:off x="7191542" y="1"/>
              <a:ext cx="5000459" cy="1425992"/>
              <a:chOff x="7186272" y="0"/>
              <a:chExt cx="5005729" cy="1427495"/>
            </a:xfrm>
          </p:grpSpPr>
          <p:sp>
            <p:nvSpPr>
              <p:cNvPr id="5832" name="Google Shape;5832;p7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33" name="Google Shape;5833;p7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34" name="Google Shape;5834;p7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5835"/>
        <p:cNvGrpSpPr/>
        <p:nvPr/>
      </p:nvGrpSpPr>
      <p:grpSpPr>
        <a:xfrm>
          <a:off x="0" y="0"/>
          <a:ext cx="0" cy="0"/>
          <a:chOff x="0" y="0"/>
          <a:chExt cx="0" cy="0"/>
        </a:xfrm>
      </p:grpSpPr>
      <p:sp>
        <p:nvSpPr>
          <p:cNvPr id="5836" name="Google Shape;5836;p7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37" name="Google Shape;5837;p7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38" name="Google Shape;5838;p7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39" name="Google Shape;5839;p774"/>
          <p:cNvSpPr>
            <a:spLocks noGrp="1"/>
          </p:cNvSpPr>
          <p:nvPr>
            <p:ph type="pic" idx="2"/>
          </p:nvPr>
        </p:nvSpPr>
        <p:spPr>
          <a:xfrm>
            <a:off x="7118684" y="233915"/>
            <a:ext cx="5073316" cy="5943600"/>
          </a:xfrm>
          <a:prstGeom prst="rect">
            <a:avLst/>
          </a:prstGeom>
          <a:noFill/>
          <a:ln>
            <a:noFill/>
          </a:ln>
        </p:spPr>
      </p:sp>
      <p:grpSp>
        <p:nvGrpSpPr>
          <p:cNvPr id="5840" name="Google Shape;5840;p774"/>
          <p:cNvGrpSpPr/>
          <p:nvPr/>
        </p:nvGrpSpPr>
        <p:grpSpPr>
          <a:xfrm>
            <a:off x="0" y="5020348"/>
            <a:ext cx="12192000" cy="1837653"/>
            <a:chOff x="0" y="5020348"/>
            <a:chExt cx="12192000" cy="1837653"/>
          </a:xfrm>
        </p:grpSpPr>
        <p:sp>
          <p:nvSpPr>
            <p:cNvPr id="5841" name="Google Shape;5841;p7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2" name="Google Shape;5842;p7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843" name="Google Shape;5843;p7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5844"/>
        <p:cNvGrpSpPr/>
        <p:nvPr/>
      </p:nvGrpSpPr>
      <p:grpSpPr>
        <a:xfrm>
          <a:off x="0" y="0"/>
          <a:ext cx="0" cy="0"/>
          <a:chOff x="0" y="0"/>
          <a:chExt cx="0" cy="0"/>
        </a:xfrm>
      </p:grpSpPr>
      <p:grpSp>
        <p:nvGrpSpPr>
          <p:cNvPr id="5845" name="Google Shape;5845;p775"/>
          <p:cNvGrpSpPr/>
          <p:nvPr/>
        </p:nvGrpSpPr>
        <p:grpSpPr>
          <a:xfrm>
            <a:off x="0" y="5020347"/>
            <a:ext cx="12192000" cy="1837653"/>
            <a:chOff x="0" y="5020347"/>
            <a:chExt cx="12192000" cy="1837653"/>
          </a:xfrm>
        </p:grpSpPr>
        <p:sp>
          <p:nvSpPr>
            <p:cNvPr id="5846" name="Google Shape;5846;p7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7" name="Google Shape;5847;p7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8" name="Google Shape;5848;p7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849" name="Google Shape;5849;p7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850" name="Google Shape;5850;p7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1" name="Google Shape;5851;p7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5852"/>
        <p:cNvGrpSpPr/>
        <p:nvPr/>
      </p:nvGrpSpPr>
      <p:grpSpPr>
        <a:xfrm>
          <a:off x="0" y="0"/>
          <a:ext cx="0" cy="0"/>
          <a:chOff x="0" y="0"/>
          <a:chExt cx="0" cy="0"/>
        </a:xfrm>
      </p:grpSpPr>
      <p:sp>
        <p:nvSpPr>
          <p:cNvPr id="5853" name="Google Shape;5853;p7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854" name="Google Shape;5854;p7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855" name="Google Shape;5855;p776"/>
          <p:cNvGrpSpPr/>
          <p:nvPr/>
        </p:nvGrpSpPr>
        <p:grpSpPr>
          <a:xfrm>
            <a:off x="0" y="5379426"/>
            <a:ext cx="2807368" cy="753891"/>
            <a:chOff x="0" y="5379426"/>
            <a:chExt cx="2807368" cy="753891"/>
          </a:xfrm>
        </p:grpSpPr>
        <p:sp>
          <p:nvSpPr>
            <p:cNvPr id="5856" name="Google Shape;5856;p7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57" name="Google Shape;5857;p7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858" name="Google Shape;5858;p776"/>
          <p:cNvSpPr>
            <a:spLocks noGrp="1"/>
          </p:cNvSpPr>
          <p:nvPr>
            <p:ph type="pic" idx="2"/>
          </p:nvPr>
        </p:nvSpPr>
        <p:spPr>
          <a:xfrm>
            <a:off x="2807368" y="457202"/>
            <a:ext cx="8915400" cy="5943598"/>
          </a:xfrm>
          <a:prstGeom prst="rect">
            <a:avLst/>
          </a:prstGeom>
          <a:noFill/>
          <a:ln>
            <a:noFill/>
          </a:ln>
        </p:spPr>
      </p:sp>
      <p:pic>
        <p:nvPicPr>
          <p:cNvPr id="5859" name="Google Shape;5859;p77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5860"/>
        <p:cNvGrpSpPr/>
        <p:nvPr/>
      </p:nvGrpSpPr>
      <p:grpSpPr>
        <a:xfrm>
          <a:off x="0" y="0"/>
          <a:ext cx="0" cy="0"/>
          <a:chOff x="0" y="0"/>
          <a:chExt cx="0" cy="0"/>
        </a:xfrm>
      </p:grpSpPr>
      <p:sp>
        <p:nvSpPr>
          <p:cNvPr id="5861" name="Google Shape;5861;p7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62" name="Google Shape;5862;p7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63" name="Google Shape;5863;p7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4" name="Google Shape;5864;p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65" name="Google Shape;5865;p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66" name="Google Shape;5866;p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67" name="Google Shape;5867;p777"/>
          <p:cNvGrpSpPr/>
          <p:nvPr/>
        </p:nvGrpSpPr>
        <p:grpSpPr>
          <a:xfrm>
            <a:off x="7191542" y="1"/>
            <a:ext cx="5000459" cy="1425992"/>
            <a:chOff x="7191542" y="1"/>
            <a:chExt cx="5000459" cy="1425992"/>
          </a:xfrm>
        </p:grpSpPr>
        <p:pic>
          <p:nvPicPr>
            <p:cNvPr id="5868" name="Google Shape;5868;p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69" name="Google Shape;5869;p777"/>
            <p:cNvGrpSpPr/>
            <p:nvPr/>
          </p:nvGrpSpPr>
          <p:grpSpPr>
            <a:xfrm>
              <a:off x="7191542" y="1"/>
              <a:ext cx="5000459" cy="1425992"/>
              <a:chOff x="7186272" y="0"/>
              <a:chExt cx="5005729" cy="1427495"/>
            </a:xfrm>
          </p:grpSpPr>
          <p:sp>
            <p:nvSpPr>
              <p:cNvPr id="5870" name="Google Shape;5870;p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71" name="Google Shape;5871;p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72" name="Google Shape;5872;p7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873"/>
        <p:cNvGrpSpPr/>
        <p:nvPr/>
      </p:nvGrpSpPr>
      <p:grpSpPr>
        <a:xfrm>
          <a:off x="0" y="0"/>
          <a:ext cx="0" cy="0"/>
          <a:chOff x="0" y="0"/>
          <a:chExt cx="0" cy="0"/>
        </a:xfrm>
      </p:grpSpPr>
      <p:sp>
        <p:nvSpPr>
          <p:cNvPr id="5874" name="Google Shape;5874;p7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75" name="Google Shape;5875;p7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76" name="Google Shape;5876;p7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77" name="Google Shape;5877;p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8" name="Google Shape;5878;p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79" name="Google Shape;5879;p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80" name="Google Shape;5880;p778"/>
          <p:cNvGrpSpPr/>
          <p:nvPr/>
        </p:nvGrpSpPr>
        <p:grpSpPr>
          <a:xfrm>
            <a:off x="7191542" y="1"/>
            <a:ext cx="5000459" cy="1425992"/>
            <a:chOff x="7191542" y="1"/>
            <a:chExt cx="5000459" cy="1425992"/>
          </a:xfrm>
        </p:grpSpPr>
        <p:pic>
          <p:nvPicPr>
            <p:cNvPr id="5881" name="Google Shape;5881;p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82" name="Google Shape;5882;p778"/>
            <p:cNvGrpSpPr/>
            <p:nvPr/>
          </p:nvGrpSpPr>
          <p:grpSpPr>
            <a:xfrm>
              <a:off x="7191542" y="1"/>
              <a:ext cx="5000459" cy="1425992"/>
              <a:chOff x="7186272" y="0"/>
              <a:chExt cx="5005729" cy="1427495"/>
            </a:xfrm>
          </p:grpSpPr>
          <p:sp>
            <p:nvSpPr>
              <p:cNvPr id="5883" name="Google Shape;5883;p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84" name="Google Shape;5884;p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85" name="Google Shape;5885;p7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Quotation">
  <p:cSld name="Quotation 9 2">
    <p:spTree>
      <p:nvGrpSpPr>
        <p:cNvPr id="1" name="Shape 5886"/>
        <p:cNvGrpSpPr/>
        <p:nvPr/>
      </p:nvGrpSpPr>
      <p:grpSpPr>
        <a:xfrm>
          <a:off x="0" y="0"/>
          <a:ext cx="0" cy="0"/>
          <a:chOff x="0" y="0"/>
          <a:chExt cx="0" cy="0"/>
        </a:xfrm>
      </p:grpSpPr>
      <p:sp>
        <p:nvSpPr>
          <p:cNvPr id="5887" name="Google Shape;5887;p12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88" name="Google Shape;5888;p12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89" name="Google Shape;5889;p12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90" name="Google Shape;5890;p12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91" name="Google Shape;5891;p12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92" name="Google Shape;5892;p12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893" name="Google Shape;5893;p1242"/>
          <p:cNvGrpSpPr/>
          <p:nvPr/>
        </p:nvGrpSpPr>
        <p:grpSpPr>
          <a:xfrm>
            <a:off x="7191542" y="1"/>
            <a:ext cx="5000459" cy="1425992"/>
            <a:chOff x="7191542" y="1"/>
            <a:chExt cx="5000459" cy="1425992"/>
          </a:xfrm>
        </p:grpSpPr>
        <p:pic>
          <p:nvPicPr>
            <p:cNvPr id="5894" name="Google Shape;5894;p12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95" name="Google Shape;5895;p1242"/>
            <p:cNvGrpSpPr/>
            <p:nvPr/>
          </p:nvGrpSpPr>
          <p:grpSpPr>
            <a:xfrm>
              <a:off x="7191542" y="1"/>
              <a:ext cx="5000459" cy="1425992"/>
              <a:chOff x="7186272" y="0"/>
              <a:chExt cx="5005729" cy="1427495"/>
            </a:xfrm>
          </p:grpSpPr>
          <p:sp>
            <p:nvSpPr>
              <p:cNvPr id="5896" name="Google Shape;5896;p12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97" name="Google Shape;5897;p12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898" name="Google Shape;5898;p12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22"/>
        <p:cNvGrpSpPr/>
        <p:nvPr/>
      </p:nvGrpSpPr>
      <p:grpSpPr>
        <a:xfrm>
          <a:off x="0" y="0"/>
          <a:ext cx="0" cy="0"/>
          <a:chOff x="0" y="0"/>
          <a:chExt cx="0" cy="0"/>
        </a:xfrm>
      </p:grpSpPr>
      <p:sp>
        <p:nvSpPr>
          <p:cNvPr id="623" name="Google Shape;623;p12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4" name="Google Shape;624;p12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5" name="Google Shape;625;p12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6" name="Google Shape;626;p1200"/>
          <p:cNvSpPr>
            <a:spLocks noGrp="1"/>
          </p:cNvSpPr>
          <p:nvPr>
            <p:ph type="pic" idx="2"/>
          </p:nvPr>
        </p:nvSpPr>
        <p:spPr>
          <a:xfrm>
            <a:off x="7118684" y="233915"/>
            <a:ext cx="5073316" cy="5943600"/>
          </a:xfrm>
          <a:prstGeom prst="rect">
            <a:avLst/>
          </a:prstGeom>
          <a:noFill/>
          <a:ln>
            <a:noFill/>
          </a:ln>
        </p:spPr>
      </p:sp>
      <p:grpSp>
        <p:nvGrpSpPr>
          <p:cNvPr id="627" name="Google Shape;627;p1200"/>
          <p:cNvGrpSpPr/>
          <p:nvPr/>
        </p:nvGrpSpPr>
        <p:grpSpPr>
          <a:xfrm>
            <a:off x="0" y="5020348"/>
            <a:ext cx="12192000" cy="1837653"/>
            <a:chOff x="0" y="5020348"/>
            <a:chExt cx="12192000" cy="1837653"/>
          </a:xfrm>
        </p:grpSpPr>
        <p:sp>
          <p:nvSpPr>
            <p:cNvPr id="628" name="Google Shape;628;p1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9" name="Google Shape;629;p12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30" name="Google Shape;630;p1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Quotation">
  <p:cSld name="Quotation 10 2">
    <p:spTree>
      <p:nvGrpSpPr>
        <p:cNvPr id="1" name="Shape 5899"/>
        <p:cNvGrpSpPr/>
        <p:nvPr/>
      </p:nvGrpSpPr>
      <p:grpSpPr>
        <a:xfrm>
          <a:off x="0" y="0"/>
          <a:ext cx="0" cy="0"/>
          <a:chOff x="0" y="0"/>
          <a:chExt cx="0" cy="0"/>
        </a:xfrm>
      </p:grpSpPr>
      <p:sp>
        <p:nvSpPr>
          <p:cNvPr id="5900" name="Google Shape;5900;p7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01" name="Google Shape;5901;p7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02" name="Google Shape;5902;p7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03" name="Google Shape;5903;p7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04" name="Google Shape;5904;p7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05" name="Google Shape;5905;p7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906" name="Google Shape;5906;p780"/>
          <p:cNvGrpSpPr/>
          <p:nvPr/>
        </p:nvGrpSpPr>
        <p:grpSpPr>
          <a:xfrm>
            <a:off x="7191542" y="1"/>
            <a:ext cx="5000459" cy="1425992"/>
            <a:chOff x="7191542" y="1"/>
            <a:chExt cx="5000459" cy="1425992"/>
          </a:xfrm>
        </p:grpSpPr>
        <p:pic>
          <p:nvPicPr>
            <p:cNvPr id="5907" name="Google Shape;5907;p7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08" name="Google Shape;5908;p780"/>
            <p:cNvGrpSpPr/>
            <p:nvPr/>
          </p:nvGrpSpPr>
          <p:grpSpPr>
            <a:xfrm>
              <a:off x="7191542" y="1"/>
              <a:ext cx="5000459" cy="1425992"/>
              <a:chOff x="7186272" y="0"/>
              <a:chExt cx="5005729" cy="1427495"/>
            </a:xfrm>
          </p:grpSpPr>
          <p:sp>
            <p:nvSpPr>
              <p:cNvPr id="5909" name="Google Shape;5909;p7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10" name="Google Shape;5910;p7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11" name="Google Shape;5911;p7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5912"/>
        <p:cNvGrpSpPr/>
        <p:nvPr/>
      </p:nvGrpSpPr>
      <p:grpSpPr>
        <a:xfrm>
          <a:off x="0" y="0"/>
          <a:ext cx="0" cy="0"/>
          <a:chOff x="0" y="0"/>
          <a:chExt cx="0" cy="0"/>
        </a:xfrm>
      </p:grpSpPr>
      <p:grpSp>
        <p:nvGrpSpPr>
          <p:cNvPr id="5913" name="Google Shape;5913;p1243"/>
          <p:cNvGrpSpPr/>
          <p:nvPr/>
        </p:nvGrpSpPr>
        <p:grpSpPr>
          <a:xfrm>
            <a:off x="7191542" y="1"/>
            <a:ext cx="5000459" cy="1425992"/>
            <a:chOff x="7191542" y="1"/>
            <a:chExt cx="5000459" cy="1425992"/>
          </a:xfrm>
        </p:grpSpPr>
        <p:pic>
          <p:nvPicPr>
            <p:cNvPr id="5914" name="Google Shape;5914;p12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15" name="Google Shape;5915;p1243"/>
            <p:cNvGrpSpPr/>
            <p:nvPr/>
          </p:nvGrpSpPr>
          <p:grpSpPr>
            <a:xfrm>
              <a:off x="7191542" y="1"/>
              <a:ext cx="5000459" cy="1425992"/>
              <a:chOff x="7186272" y="0"/>
              <a:chExt cx="5005729" cy="1427495"/>
            </a:xfrm>
          </p:grpSpPr>
          <p:sp>
            <p:nvSpPr>
              <p:cNvPr id="5916" name="Google Shape;5916;p12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17" name="Google Shape;5917;p12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18" name="Google Shape;5918;p12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9" name="Google Shape;5919;p12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20" name="Google Shape;5920;p12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21" name="Google Shape;5921;p12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22" name="Google Shape;5922;p12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5923"/>
        <p:cNvGrpSpPr/>
        <p:nvPr/>
      </p:nvGrpSpPr>
      <p:grpSpPr>
        <a:xfrm>
          <a:off x="0" y="0"/>
          <a:ext cx="0" cy="0"/>
          <a:chOff x="0" y="0"/>
          <a:chExt cx="0" cy="0"/>
        </a:xfrm>
      </p:grpSpPr>
      <p:sp>
        <p:nvSpPr>
          <p:cNvPr id="5924" name="Google Shape;5924;p7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25" name="Google Shape;5925;p7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26" name="Google Shape;5926;p782"/>
          <p:cNvGrpSpPr/>
          <p:nvPr/>
        </p:nvGrpSpPr>
        <p:grpSpPr>
          <a:xfrm>
            <a:off x="7191542" y="1"/>
            <a:ext cx="5000459" cy="1425992"/>
            <a:chOff x="7191542" y="1"/>
            <a:chExt cx="5000459" cy="1425992"/>
          </a:xfrm>
        </p:grpSpPr>
        <p:pic>
          <p:nvPicPr>
            <p:cNvPr id="5927" name="Google Shape;5927;p7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28" name="Google Shape;5928;p782"/>
            <p:cNvGrpSpPr/>
            <p:nvPr/>
          </p:nvGrpSpPr>
          <p:grpSpPr>
            <a:xfrm>
              <a:off x="7191542" y="1"/>
              <a:ext cx="5000459" cy="1425992"/>
              <a:chOff x="7186272" y="0"/>
              <a:chExt cx="5005729" cy="1427495"/>
            </a:xfrm>
          </p:grpSpPr>
          <p:sp>
            <p:nvSpPr>
              <p:cNvPr id="5929" name="Google Shape;5929;p7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0" name="Google Shape;5930;p7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31" name="Google Shape;5931;p7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32" name="Google Shape;5932;p7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33" name="Google Shape;5933;p7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4" name="Google Shape;5934;p7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5935"/>
        <p:cNvGrpSpPr/>
        <p:nvPr/>
      </p:nvGrpSpPr>
      <p:grpSpPr>
        <a:xfrm>
          <a:off x="0" y="0"/>
          <a:ext cx="0" cy="0"/>
          <a:chOff x="0" y="0"/>
          <a:chExt cx="0" cy="0"/>
        </a:xfrm>
      </p:grpSpPr>
      <p:grpSp>
        <p:nvGrpSpPr>
          <p:cNvPr id="5936" name="Google Shape;5936;p1244"/>
          <p:cNvGrpSpPr/>
          <p:nvPr/>
        </p:nvGrpSpPr>
        <p:grpSpPr>
          <a:xfrm>
            <a:off x="7191542" y="1"/>
            <a:ext cx="5000459" cy="1425992"/>
            <a:chOff x="7191542" y="1"/>
            <a:chExt cx="5000459" cy="1425992"/>
          </a:xfrm>
        </p:grpSpPr>
        <p:pic>
          <p:nvPicPr>
            <p:cNvPr id="5937" name="Google Shape;5937;p12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38" name="Google Shape;5938;p1244"/>
            <p:cNvGrpSpPr/>
            <p:nvPr/>
          </p:nvGrpSpPr>
          <p:grpSpPr>
            <a:xfrm>
              <a:off x="7191542" y="1"/>
              <a:ext cx="5000459" cy="1425992"/>
              <a:chOff x="7186272" y="0"/>
              <a:chExt cx="5005729" cy="1427495"/>
            </a:xfrm>
          </p:grpSpPr>
          <p:sp>
            <p:nvSpPr>
              <p:cNvPr id="5939" name="Google Shape;5939;p12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40" name="Google Shape;5940;p12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41" name="Google Shape;5941;p12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42" name="Google Shape;5942;p12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943" name="Google Shape;5943;p12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44" name="Google Shape;5944;p12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945" name="Google Shape;5945;p12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46" name="Google Shape;5946;p1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47" name="Google Shape;5947;p12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48" name="Google Shape;5948;p1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5949"/>
        <p:cNvGrpSpPr/>
        <p:nvPr/>
      </p:nvGrpSpPr>
      <p:grpSpPr>
        <a:xfrm>
          <a:off x="0" y="0"/>
          <a:ext cx="0" cy="0"/>
          <a:chOff x="0" y="0"/>
          <a:chExt cx="0" cy="0"/>
        </a:xfrm>
      </p:grpSpPr>
      <p:grpSp>
        <p:nvGrpSpPr>
          <p:cNvPr id="5950" name="Google Shape;5950;p784"/>
          <p:cNvGrpSpPr/>
          <p:nvPr/>
        </p:nvGrpSpPr>
        <p:grpSpPr>
          <a:xfrm>
            <a:off x="7191542" y="1"/>
            <a:ext cx="5000459" cy="1425992"/>
            <a:chOff x="7191542" y="1"/>
            <a:chExt cx="5000459" cy="1425992"/>
          </a:xfrm>
        </p:grpSpPr>
        <p:pic>
          <p:nvPicPr>
            <p:cNvPr id="5951" name="Google Shape;5951;p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52" name="Google Shape;5952;p784"/>
            <p:cNvGrpSpPr/>
            <p:nvPr/>
          </p:nvGrpSpPr>
          <p:grpSpPr>
            <a:xfrm>
              <a:off x="7191542" y="1"/>
              <a:ext cx="5000459" cy="1425992"/>
              <a:chOff x="7186272" y="0"/>
              <a:chExt cx="5005729" cy="1427495"/>
            </a:xfrm>
          </p:grpSpPr>
          <p:sp>
            <p:nvSpPr>
              <p:cNvPr id="5953" name="Google Shape;5953;p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54" name="Google Shape;5954;p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55" name="Google Shape;5955;p7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56" name="Google Shape;5956;p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57" name="Google Shape;5957;p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58" name="Google Shape;5958;p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5959"/>
        <p:cNvGrpSpPr/>
        <p:nvPr/>
      </p:nvGrpSpPr>
      <p:grpSpPr>
        <a:xfrm>
          <a:off x="0" y="0"/>
          <a:ext cx="0" cy="0"/>
          <a:chOff x="0" y="0"/>
          <a:chExt cx="0" cy="0"/>
        </a:xfrm>
      </p:grpSpPr>
      <p:grpSp>
        <p:nvGrpSpPr>
          <p:cNvPr id="5960" name="Google Shape;5960;p1245"/>
          <p:cNvGrpSpPr/>
          <p:nvPr/>
        </p:nvGrpSpPr>
        <p:grpSpPr>
          <a:xfrm>
            <a:off x="0" y="0"/>
            <a:ext cx="12192000" cy="2148830"/>
            <a:chOff x="0" y="0"/>
            <a:chExt cx="12192000" cy="2148830"/>
          </a:xfrm>
        </p:grpSpPr>
        <p:sp>
          <p:nvSpPr>
            <p:cNvPr id="5961" name="Google Shape;5961;p124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62" name="Google Shape;5962;p124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963" name="Google Shape;5963;p124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64" name="Google Shape;5964;p124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65" name="Google Shape;5965;p124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966" name="Google Shape;5966;p124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967" name="Google Shape;5967;p124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968"/>
        <p:cNvGrpSpPr/>
        <p:nvPr/>
      </p:nvGrpSpPr>
      <p:grpSpPr>
        <a:xfrm>
          <a:off x="0" y="0"/>
          <a:ext cx="0" cy="0"/>
          <a:chOff x="0" y="0"/>
          <a:chExt cx="0" cy="0"/>
        </a:xfrm>
      </p:grpSpPr>
      <p:sp>
        <p:nvSpPr>
          <p:cNvPr id="5969" name="Google Shape;5969;p12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70" name="Google Shape;5970;p12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71" name="Google Shape;5971;p12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5972" name="Google Shape;5972;p1246"/>
          <p:cNvGrpSpPr/>
          <p:nvPr/>
        </p:nvGrpSpPr>
        <p:grpSpPr>
          <a:xfrm>
            <a:off x="7191542" y="1"/>
            <a:ext cx="5000459" cy="1425992"/>
            <a:chOff x="7191542" y="1"/>
            <a:chExt cx="5000459" cy="1425992"/>
          </a:xfrm>
        </p:grpSpPr>
        <p:pic>
          <p:nvPicPr>
            <p:cNvPr id="5973" name="Google Shape;5973;p12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974" name="Google Shape;5974;p1246"/>
            <p:cNvGrpSpPr/>
            <p:nvPr/>
          </p:nvGrpSpPr>
          <p:grpSpPr>
            <a:xfrm>
              <a:off x="7191542" y="1"/>
              <a:ext cx="5000459" cy="1425992"/>
              <a:chOff x="7186272" y="0"/>
              <a:chExt cx="5005729" cy="1427495"/>
            </a:xfrm>
          </p:grpSpPr>
          <p:sp>
            <p:nvSpPr>
              <p:cNvPr id="5975" name="Google Shape;5975;p12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76" name="Google Shape;5976;p12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5977"/>
        <p:cNvGrpSpPr/>
        <p:nvPr/>
      </p:nvGrpSpPr>
      <p:grpSpPr>
        <a:xfrm>
          <a:off x="0" y="0"/>
          <a:ext cx="0" cy="0"/>
          <a:chOff x="0" y="0"/>
          <a:chExt cx="0" cy="0"/>
        </a:xfrm>
      </p:grpSpPr>
      <p:sp>
        <p:nvSpPr>
          <p:cNvPr id="5978" name="Google Shape;5978;p78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79" name="Google Shape;5979;p78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80" name="Google Shape;5980;p78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81" name="Google Shape;5981;p787"/>
          <p:cNvSpPr>
            <a:spLocks noGrp="1"/>
          </p:cNvSpPr>
          <p:nvPr>
            <p:ph type="pic" idx="2"/>
          </p:nvPr>
        </p:nvSpPr>
        <p:spPr>
          <a:xfrm>
            <a:off x="7118684" y="233915"/>
            <a:ext cx="5073316" cy="5943600"/>
          </a:xfrm>
          <a:prstGeom prst="rect">
            <a:avLst/>
          </a:prstGeom>
          <a:noFill/>
          <a:ln>
            <a:noFill/>
          </a:ln>
        </p:spPr>
      </p:sp>
      <p:grpSp>
        <p:nvGrpSpPr>
          <p:cNvPr id="5982" name="Google Shape;5982;p787"/>
          <p:cNvGrpSpPr/>
          <p:nvPr/>
        </p:nvGrpSpPr>
        <p:grpSpPr>
          <a:xfrm>
            <a:off x="0" y="5020348"/>
            <a:ext cx="12192000" cy="1837653"/>
            <a:chOff x="0" y="5020348"/>
            <a:chExt cx="12192000" cy="1837653"/>
          </a:xfrm>
        </p:grpSpPr>
        <p:sp>
          <p:nvSpPr>
            <p:cNvPr id="5983" name="Google Shape;5983;p7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84" name="Google Shape;5984;p78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85" name="Google Shape;5985;p7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5986"/>
        <p:cNvGrpSpPr/>
        <p:nvPr/>
      </p:nvGrpSpPr>
      <p:grpSpPr>
        <a:xfrm>
          <a:off x="0" y="0"/>
          <a:ext cx="0" cy="0"/>
          <a:chOff x="0" y="0"/>
          <a:chExt cx="0" cy="0"/>
        </a:xfrm>
      </p:grpSpPr>
      <p:grpSp>
        <p:nvGrpSpPr>
          <p:cNvPr id="5987" name="Google Shape;5987;p788"/>
          <p:cNvGrpSpPr/>
          <p:nvPr/>
        </p:nvGrpSpPr>
        <p:grpSpPr>
          <a:xfrm>
            <a:off x="0" y="5020347"/>
            <a:ext cx="12192000" cy="1837653"/>
            <a:chOff x="0" y="5020347"/>
            <a:chExt cx="12192000" cy="1837653"/>
          </a:xfrm>
        </p:grpSpPr>
        <p:sp>
          <p:nvSpPr>
            <p:cNvPr id="5988" name="Google Shape;5988;p78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89" name="Google Shape;5989;p7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90" name="Google Shape;5990;p78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91" name="Google Shape;5991;p7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992" name="Google Shape;5992;p78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93" name="Google Shape;5993;p78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994"/>
        <p:cNvGrpSpPr/>
        <p:nvPr/>
      </p:nvGrpSpPr>
      <p:grpSpPr>
        <a:xfrm>
          <a:off x="0" y="0"/>
          <a:ext cx="0" cy="0"/>
          <a:chOff x="0" y="0"/>
          <a:chExt cx="0" cy="0"/>
        </a:xfrm>
      </p:grpSpPr>
      <p:sp>
        <p:nvSpPr>
          <p:cNvPr id="5995" name="Google Shape;5995;p7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96" name="Google Shape;5996;p7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97" name="Google Shape;5997;p7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98" name="Google Shape;5998;p7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99" name="Google Shape;5999;p7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00" name="Google Shape;6000;p7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001" name="Google Shape;6001;p789"/>
          <p:cNvGrpSpPr/>
          <p:nvPr/>
        </p:nvGrpSpPr>
        <p:grpSpPr>
          <a:xfrm>
            <a:off x="7191542" y="1"/>
            <a:ext cx="5000459" cy="1425992"/>
            <a:chOff x="7191542" y="1"/>
            <a:chExt cx="5000459" cy="1425992"/>
          </a:xfrm>
        </p:grpSpPr>
        <p:pic>
          <p:nvPicPr>
            <p:cNvPr id="6002" name="Google Shape;6002;p7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03" name="Google Shape;6003;p789"/>
            <p:cNvGrpSpPr/>
            <p:nvPr/>
          </p:nvGrpSpPr>
          <p:grpSpPr>
            <a:xfrm>
              <a:off x="7191542" y="1"/>
              <a:ext cx="5000459" cy="1425992"/>
              <a:chOff x="7186272" y="0"/>
              <a:chExt cx="5005729" cy="1427495"/>
            </a:xfrm>
          </p:grpSpPr>
          <p:sp>
            <p:nvSpPr>
              <p:cNvPr id="6004" name="Google Shape;6004;p7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05" name="Google Shape;6005;p7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006" name="Google Shape;6006;p7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631"/>
        <p:cNvGrpSpPr/>
        <p:nvPr/>
      </p:nvGrpSpPr>
      <p:grpSpPr>
        <a:xfrm>
          <a:off x="0" y="0"/>
          <a:ext cx="0" cy="0"/>
          <a:chOff x="0" y="0"/>
          <a:chExt cx="0" cy="0"/>
        </a:xfrm>
      </p:grpSpPr>
      <p:grpSp>
        <p:nvGrpSpPr>
          <p:cNvPr id="632" name="Google Shape;632;p1201"/>
          <p:cNvGrpSpPr/>
          <p:nvPr/>
        </p:nvGrpSpPr>
        <p:grpSpPr>
          <a:xfrm>
            <a:off x="0" y="5020347"/>
            <a:ext cx="12192000" cy="1837653"/>
            <a:chOff x="0" y="5020347"/>
            <a:chExt cx="12192000" cy="1837653"/>
          </a:xfrm>
        </p:grpSpPr>
        <p:sp>
          <p:nvSpPr>
            <p:cNvPr id="633" name="Google Shape;633;p12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12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5" name="Google Shape;635;p12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36" name="Google Shape;636;p12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37" name="Google Shape;637;p120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 name="Google Shape;638;p120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Quotation">
  <p:cSld name="Quotation 11 2">
    <p:spTree>
      <p:nvGrpSpPr>
        <p:cNvPr id="1" name="Shape 6007"/>
        <p:cNvGrpSpPr/>
        <p:nvPr/>
      </p:nvGrpSpPr>
      <p:grpSpPr>
        <a:xfrm>
          <a:off x="0" y="0"/>
          <a:ext cx="0" cy="0"/>
          <a:chOff x="0" y="0"/>
          <a:chExt cx="0" cy="0"/>
        </a:xfrm>
      </p:grpSpPr>
      <p:sp>
        <p:nvSpPr>
          <p:cNvPr id="6008" name="Google Shape;6008;p7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09" name="Google Shape;6009;p7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10" name="Google Shape;6010;p7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11" name="Google Shape;6011;p7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2" name="Google Shape;6012;p7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13" name="Google Shape;6013;p7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014" name="Google Shape;6014;p790"/>
          <p:cNvGrpSpPr/>
          <p:nvPr/>
        </p:nvGrpSpPr>
        <p:grpSpPr>
          <a:xfrm>
            <a:off x="7191542" y="1"/>
            <a:ext cx="5000459" cy="1425992"/>
            <a:chOff x="7191542" y="1"/>
            <a:chExt cx="5000459" cy="1425992"/>
          </a:xfrm>
        </p:grpSpPr>
        <p:pic>
          <p:nvPicPr>
            <p:cNvPr id="6015" name="Google Shape;6015;p7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16" name="Google Shape;6016;p790"/>
            <p:cNvGrpSpPr/>
            <p:nvPr/>
          </p:nvGrpSpPr>
          <p:grpSpPr>
            <a:xfrm>
              <a:off x="7191542" y="1"/>
              <a:ext cx="5000459" cy="1425992"/>
              <a:chOff x="7186272" y="0"/>
              <a:chExt cx="5005729" cy="1427495"/>
            </a:xfrm>
          </p:grpSpPr>
          <p:sp>
            <p:nvSpPr>
              <p:cNvPr id="6017" name="Google Shape;6017;p7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18" name="Google Shape;6018;p7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019" name="Google Shape;6019;p7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6020"/>
        <p:cNvGrpSpPr/>
        <p:nvPr/>
      </p:nvGrpSpPr>
      <p:grpSpPr>
        <a:xfrm>
          <a:off x="0" y="0"/>
          <a:ext cx="0" cy="0"/>
          <a:chOff x="0" y="0"/>
          <a:chExt cx="0" cy="0"/>
        </a:xfrm>
      </p:grpSpPr>
      <p:grpSp>
        <p:nvGrpSpPr>
          <p:cNvPr id="6021" name="Google Shape;6021;p791"/>
          <p:cNvGrpSpPr/>
          <p:nvPr/>
        </p:nvGrpSpPr>
        <p:grpSpPr>
          <a:xfrm>
            <a:off x="7191542" y="1"/>
            <a:ext cx="5000459" cy="1425992"/>
            <a:chOff x="7191542" y="1"/>
            <a:chExt cx="5000459" cy="1425992"/>
          </a:xfrm>
        </p:grpSpPr>
        <p:pic>
          <p:nvPicPr>
            <p:cNvPr id="6022" name="Google Shape;6022;p7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23" name="Google Shape;6023;p791"/>
            <p:cNvGrpSpPr/>
            <p:nvPr/>
          </p:nvGrpSpPr>
          <p:grpSpPr>
            <a:xfrm>
              <a:off x="7191542" y="1"/>
              <a:ext cx="5000459" cy="1425992"/>
              <a:chOff x="7186272" y="0"/>
              <a:chExt cx="5005729" cy="1427495"/>
            </a:xfrm>
          </p:grpSpPr>
          <p:sp>
            <p:nvSpPr>
              <p:cNvPr id="6024" name="Google Shape;6024;p7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5" name="Google Shape;6025;p7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26" name="Google Shape;6026;p7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27" name="Google Shape;6027;p7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28" name="Google Shape;6028;p7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29" name="Google Shape;6029;p7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30" name="Google Shape;6030;p7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6031"/>
        <p:cNvGrpSpPr/>
        <p:nvPr/>
      </p:nvGrpSpPr>
      <p:grpSpPr>
        <a:xfrm>
          <a:off x="0" y="0"/>
          <a:ext cx="0" cy="0"/>
          <a:chOff x="0" y="0"/>
          <a:chExt cx="0" cy="0"/>
        </a:xfrm>
      </p:grpSpPr>
      <p:sp>
        <p:nvSpPr>
          <p:cNvPr id="6032" name="Google Shape;6032;p7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33" name="Google Shape;6033;p7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34" name="Google Shape;6034;p792"/>
          <p:cNvGrpSpPr/>
          <p:nvPr/>
        </p:nvGrpSpPr>
        <p:grpSpPr>
          <a:xfrm>
            <a:off x="7191542" y="1"/>
            <a:ext cx="5000459" cy="1425992"/>
            <a:chOff x="7191542" y="1"/>
            <a:chExt cx="5000459" cy="1425992"/>
          </a:xfrm>
        </p:grpSpPr>
        <p:pic>
          <p:nvPicPr>
            <p:cNvPr id="6035" name="Google Shape;6035;p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36" name="Google Shape;6036;p792"/>
            <p:cNvGrpSpPr/>
            <p:nvPr/>
          </p:nvGrpSpPr>
          <p:grpSpPr>
            <a:xfrm>
              <a:off x="7191542" y="1"/>
              <a:ext cx="5000459" cy="1425992"/>
              <a:chOff x="7186272" y="0"/>
              <a:chExt cx="5005729" cy="1427495"/>
            </a:xfrm>
          </p:grpSpPr>
          <p:sp>
            <p:nvSpPr>
              <p:cNvPr id="6037" name="Google Shape;6037;p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38" name="Google Shape;6038;p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9" name="Google Shape;6039;p7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0" name="Google Shape;6040;p7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41" name="Google Shape;6041;p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42" name="Google Shape;6042;p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6043"/>
        <p:cNvGrpSpPr/>
        <p:nvPr/>
      </p:nvGrpSpPr>
      <p:grpSpPr>
        <a:xfrm>
          <a:off x="0" y="0"/>
          <a:ext cx="0" cy="0"/>
          <a:chOff x="0" y="0"/>
          <a:chExt cx="0" cy="0"/>
        </a:xfrm>
      </p:grpSpPr>
      <p:grpSp>
        <p:nvGrpSpPr>
          <p:cNvPr id="6044" name="Google Shape;6044;p1247"/>
          <p:cNvGrpSpPr/>
          <p:nvPr/>
        </p:nvGrpSpPr>
        <p:grpSpPr>
          <a:xfrm>
            <a:off x="7191542" y="1"/>
            <a:ext cx="5000459" cy="1425992"/>
            <a:chOff x="7191542" y="1"/>
            <a:chExt cx="5000459" cy="1425992"/>
          </a:xfrm>
        </p:grpSpPr>
        <p:pic>
          <p:nvPicPr>
            <p:cNvPr id="6045" name="Google Shape;6045;p12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46" name="Google Shape;6046;p1247"/>
            <p:cNvGrpSpPr/>
            <p:nvPr/>
          </p:nvGrpSpPr>
          <p:grpSpPr>
            <a:xfrm>
              <a:off x="7191542" y="1"/>
              <a:ext cx="5000459" cy="1425992"/>
              <a:chOff x="7186272" y="0"/>
              <a:chExt cx="5005729" cy="1427495"/>
            </a:xfrm>
          </p:grpSpPr>
          <p:sp>
            <p:nvSpPr>
              <p:cNvPr id="6047" name="Google Shape;6047;p12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48" name="Google Shape;6048;p12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49" name="Google Shape;6049;p12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50" name="Google Shape;6050;p12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51" name="Google Shape;6051;p12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52" name="Google Shape;6052;p12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053" name="Google Shape;6053;p12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54" name="Google Shape;6054;p12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5" name="Google Shape;6055;p12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56" name="Google Shape;6056;p12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6057"/>
        <p:cNvGrpSpPr/>
        <p:nvPr/>
      </p:nvGrpSpPr>
      <p:grpSpPr>
        <a:xfrm>
          <a:off x="0" y="0"/>
          <a:ext cx="0" cy="0"/>
          <a:chOff x="0" y="0"/>
          <a:chExt cx="0" cy="0"/>
        </a:xfrm>
      </p:grpSpPr>
      <p:sp>
        <p:nvSpPr>
          <p:cNvPr id="6058" name="Google Shape;6058;p79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59" name="Google Shape;6059;p79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60" name="Google Shape;6060;p794"/>
          <p:cNvGrpSpPr/>
          <p:nvPr/>
        </p:nvGrpSpPr>
        <p:grpSpPr>
          <a:xfrm>
            <a:off x="0" y="5379426"/>
            <a:ext cx="2807368" cy="753891"/>
            <a:chOff x="0" y="5379426"/>
            <a:chExt cx="2807368" cy="753891"/>
          </a:xfrm>
        </p:grpSpPr>
        <p:sp>
          <p:nvSpPr>
            <p:cNvPr id="6061" name="Google Shape;6061;p79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62" name="Google Shape;6062;p79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063" name="Google Shape;6063;p794"/>
          <p:cNvSpPr>
            <a:spLocks noGrp="1"/>
          </p:cNvSpPr>
          <p:nvPr>
            <p:ph type="pic" idx="2"/>
          </p:nvPr>
        </p:nvSpPr>
        <p:spPr>
          <a:xfrm>
            <a:off x="2807368" y="457202"/>
            <a:ext cx="8915400" cy="5943598"/>
          </a:xfrm>
          <a:prstGeom prst="rect">
            <a:avLst/>
          </a:prstGeom>
          <a:noFill/>
          <a:ln>
            <a:noFill/>
          </a:ln>
        </p:spPr>
      </p:sp>
      <p:pic>
        <p:nvPicPr>
          <p:cNvPr id="6064" name="Google Shape;6064;p79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6065"/>
        <p:cNvGrpSpPr/>
        <p:nvPr/>
      </p:nvGrpSpPr>
      <p:grpSpPr>
        <a:xfrm>
          <a:off x="0" y="0"/>
          <a:ext cx="0" cy="0"/>
          <a:chOff x="0" y="0"/>
          <a:chExt cx="0" cy="0"/>
        </a:xfrm>
      </p:grpSpPr>
      <p:grpSp>
        <p:nvGrpSpPr>
          <p:cNvPr id="6066" name="Google Shape;6066;p795"/>
          <p:cNvGrpSpPr/>
          <p:nvPr/>
        </p:nvGrpSpPr>
        <p:grpSpPr>
          <a:xfrm>
            <a:off x="0" y="0"/>
            <a:ext cx="12192000" cy="2148830"/>
            <a:chOff x="0" y="0"/>
            <a:chExt cx="12192000" cy="2148830"/>
          </a:xfrm>
        </p:grpSpPr>
        <p:sp>
          <p:nvSpPr>
            <p:cNvPr id="6067" name="Google Shape;6067;p7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68" name="Google Shape;6068;p7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069" name="Google Shape;6069;p7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70" name="Google Shape;6070;p7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71" name="Google Shape;6071;p7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072" name="Google Shape;6072;p7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073" name="Google Shape;6073;p7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074"/>
        <p:cNvGrpSpPr/>
        <p:nvPr/>
      </p:nvGrpSpPr>
      <p:grpSpPr>
        <a:xfrm>
          <a:off x="0" y="0"/>
          <a:ext cx="0" cy="0"/>
          <a:chOff x="0" y="0"/>
          <a:chExt cx="0" cy="0"/>
        </a:xfrm>
      </p:grpSpPr>
      <p:sp>
        <p:nvSpPr>
          <p:cNvPr id="6075" name="Google Shape;6075;p7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76" name="Google Shape;6076;p7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77" name="Google Shape;6077;p7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078" name="Google Shape;6078;p796"/>
          <p:cNvGrpSpPr/>
          <p:nvPr/>
        </p:nvGrpSpPr>
        <p:grpSpPr>
          <a:xfrm>
            <a:off x="7191542" y="1"/>
            <a:ext cx="5000459" cy="1425992"/>
            <a:chOff x="7191542" y="1"/>
            <a:chExt cx="5000459" cy="1425992"/>
          </a:xfrm>
        </p:grpSpPr>
        <p:pic>
          <p:nvPicPr>
            <p:cNvPr id="6079" name="Google Shape;6079;p7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0" name="Google Shape;6080;p796"/>
            <p:cNvGrpSpPr/>
            <p:nvPr/>
          </p:nvGrpSpPr>
          <p:grpSpPr>
            <a:xfrm>
              <a:off x="7191542" y="1"/>
              <a:ext cx="5000459" cy="1425992"/>
              <a:chOff x="7186272" y="0"/>
              <a:chExt cx="5005729" cy="1427495"/>
            </a:xfrm>
          </p:grpSpPr>
          <p:sp>
            <p:nvSpPr>
              <p:cNvPr id="6081" name="Google Shape;6081;p7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82" name="Google Shape;6082;p7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6083"/>
        <p:cNvGrpSpPr/>
        <p:nvPr/>
      </p:nvGrpSpPr>
      <p:grpSpPr>
        <a:xfrm>
          <a:off x="0" y="0"/>
          <a:ext cx="0" cy="0"/>
          <a:chOff x="0" y="0"/>
          <a:chExt cx="0" cy="0"/>
        </a:xfrm>
      </p:grpSpPr>
      <p:grpSp>
        <p:nvGrpSpPr>
          <p:cNvPr id="6084" name="Google Shape;6084;p797"/>
          <p:cNvGrpSpPr/>
          <p:nvPr/>
        </p:nvGrpSpPr>
        <p:grpSpPr>
          <a:xfrm>
            <a:off x="7191542" y="1"/>
            <a:ext cx="5000459" cy="1425992"/>
            <a:chOff x="7191542" y="1"/>
            <a:chExt cx="5000459" cy="1425992"/>
          </a:xfrm>
        </p:grpSpPr>
        <p:pic>
          <p:nvPicPr>
            <p:cNvPr id="6085" name="Google Shape;6085;p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86" name="Google Shape;6086;p797"/>
            <p:cNvGrpSpPr/>
            <p:nvPr/>
          </p:nvGrpSpPr>
          <p:grpSpPr>
            <a:xfrm>
              <a:off x="7191542" y="1"/>
              <a:ext cx="5000459" cy="1425992"/>
              <a:chOff x="7186272" y="0"/>
              <a:chExt cx="5005729" cy="1427495"/>
            </a:xfrm>
          </p:grpSpPr>
          <p:sp>
            <p:nvSpPr>
              <p:cNvPr id="6087" name="Google Shape;6087;p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88" name="Google Shape;6088;p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89" name="Google Shape;6089;p7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90" name="Google Shape;6090;p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91" name="Google Shape;6091;p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92" name="Google Shape;6092;p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Divider">
  <p:cSld name="Divider 7 2">
    <p:bg>
      <p:bgPr>
        <a:solidFill>
          <a:schemeClr val="lt2"/>
        </a:solidFill>
        <a:effectLst/>
      </p:bgPr>
    </p:bg>
    <p:spTree>
      <p:nvGrpSpPr>
        <p:cNvPr id="1" name="Shape 6093"/>
        <p:cNvGrpSpPr/>
        <p:nvPr/>
      </p:nvGrpSpPr>
      <p:grpSpPr>
        <a:xfrm>
          <a:off x="0" y="0"/>
          <a:ext cx="0" cy="0"/>
          <a:chOff x="0" y="0"/>
          <a:chExt cx="0" cy="0"/>
        </a:xfrm>
      </p:grpSpPr>
      <p:grpSp>
        <p:nvGrpSpPr>
          <p:cNvPr id="6094" name="Google Shape;6094;p798"/>
          <p:cNvGrpSpPr/>
          <p:nvPr/>
        </p:nvGrpSpPr>
        <p:grpSpPr>
          <a:xfrm>
            <a:off x="0" y="5020347"/>
            <a:ext cx="12192000" cy="1837653"/>
            <a:chOff x="0" y="5020347"/>
            <a:chExt cx="12192000" cy="1837653"/>
          </a:xfrm>
        </p:grpSpPr>
        <p:sp>
          <p:nvSpPr>
            <p:cNvPr id="6095" name="Google Shape;6095;p7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96" name="Google Shape;6096;p7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97" name="Google Shape;6097;p7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098" name="Google Shape;6098;p7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99" name="Google Shape;6099;p7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0" name="Google Shape;6100;p7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Photo Slide">
  <p:cSld name="Photo Slide 6 2">
    <p:spTree>
      <p:nvGrpSpPr>
        <p:cNvPr id="1" name="Shape 6101"/>
        <p:cNvGrpSpPr/>
        <p:nvPr/>
      </p:nvGrpSpPr>
      <p:grpSpPr>
        <a:xfrm>
          <a:off x="0" y="0"/>
          <a:ext cx="0" cy="0"/>
          <a:chOff x="0" y="0"/>
          <a:chExt cx="0" cy="0"/>
        </a:xfrm>
      </p:grpSpPr>
      <p:sp>
        <p:nvSpPr>
          <p:cNvPr id="6102" name="Google Shape;6102;p79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03" name="Google Shape;6103;p79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04" name="Google Shape;6104;p799"/>
          <p:cNvGrpSpPr/>
          <p:nvPr/>
        </p:nvGrpSpPr>
        <p:grpSpPr>
          <a:xfrm>
            <a:off x="0" y="5379426"/>
            <a:ext cx="2807368" cy="753891"/>
            <a:chOff x="0" y="5379426"/>
            <a:chExt cx="2807368" cy="753891"/>
          </a:xfrm>
        </p:grpSpPr>
        <p:sp>
          <p:nvSpPr>
            <p:cNvPr id="6105" name="Google Shape;6105;p79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06" name="Google Shape;6106;p79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107" name="Google Shape;6107;p799"/>
          <p:cNvSpPr>
            <a:spLocks noGrp="1"/>
          </p:cNvSpPr>
          <p:nvPr>
            <p:ph type="pic" idx="2"/>
          </p:nvPr>
        </p:nvSpPr>
        <p:spPr>
          <a:xfrm>
            <a:off x="2807368" y="457202"/>
            <a:ext cx="8915400" cy="5943598"/>
          </a:xfrm>
          <a:prstGeom prst="rect">
            <a:avLst/>
          </a:prstGeom>
          <a:noFill/>
          <a:ln>
            <a:noFill/>
          </a:ln>
        </p:spPr>
      </p:sp>
      <p:pic>
        <p:nvPicPr>
          <p:cNvPr id="6108" name="Google Shape;6108;p79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70"/>
        <p:cNvGrpSpPr/>
        <p:nvPr/>
      </p:nvGrpSpPr>
      <p:grpSpPr>
        <a:xfrm>
          <a:off x="0" y="0"/>
          <a:ext cx="0" cy="0"/>
          <a:chOff x="0" y="0"/>
          <a:chExt cx="0" cy="0"/>
        </a:xfrm>
      </p:grpSpPr>
      <p:grpSp>
        <p:nvGrpSpPr>
          <p:cNvPr id="71" name="Google Shape;71;p56"/>
          <p:cNvGrpSpPr/>
          <p:nvPr/>
        </p:nvGrpSpPr>
        <p:grpSpPr>
          <a:xfrm>
            <a:off x="0" y="5020347"/>
            <a:ext cx="12192000" cy="1837653"/>
            <a:chOff x="0" y="5020347"/>
            <a:chExt cx="12192000" cy="1837653"/>
          </a:xfrm>
        </p:grpSpPr>
        <p:sp>
          <p:nvSpPr>
            <p:cNvPr id="72" name="Google Shape;72;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 name="Google Shape;73;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 name="Google Shape;74;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5" name="Google Shape;75;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6" name="Google Shape;76;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39"/>
        <p:cNvGrpSpPr/>
        <p:nvPr/>
      </p:nvGrpSpPr>
      <p:grpSpPr>
        <a:xfrm>
          <a:off x="0" y="0"/>
          <a:ext cx="0" cy="0"/>
          <a:chOff x="0" y="0"/>
          <a:chExt cx="0" cy="0"/>
        </a:xfrm>
      </p:grpSpPr>
      <p:sp>
        <p:nvSpPr>
          <p:cNvPr id="640" name="Google Shape;640;p120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41" name="Google Shape;641;p120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42" name="Google Shape;642;p1202"/>
          <p:cNvGrpSpPr/>
          <p:nvPr/>
        </p:nvGrpSpPr>
        <p:grpSpPr>
          <a:xfrm>
            <a:off x="0" y="5379426"/>
            <a:ext cx="2807368" cy="753891"/>
            <a:chOff x="0" y="5379426"/>
            <a:chExt cx="2807368" cy="753891"/>
          </a:xfrm>
        </p:grpSpPr>
        <p:sp>
          <p:nvSpPr>
            <p:cNvPr id="643" name="Google Shape;643;p12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4" name="Google Shape;644;p12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45" name="Google Shape;645;p1202"/>
          <p:cNvSpPr>
            <a:spLocks noGrp="1"/>
          </p:cNvSpPr>
          <p:nvPr>
            <p:ph type="pic" idx="2"/>
          </p:nvPr>
        </p:nvSpPr>
        <p:spPr>
          <a:xfrm>
            <a:off x="2807368" y="457202"/>
            <a:ext cx="8915400" cy="5943598"/>
          </a:xfrm>
          <a:prstGeom prst="rect">
            <a:avLst/>
          </a:prstGeom>
          <a:noFill/>
          <a:ln>
            <a:noFill/>
          </a:ln>
        </p:spPr>
      </p:sp>
      <p:pic>
        <p:nvPicPr>
          <p:cNvPr id="646" name="Google Shape;646;p120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Cover">
  <p:cSld name="Cover 6 2">
    <p:spTree>
      <p:nvGrpSpPr>
        <p:cNvPr id="1" name="Shape 6109"/>
        <p:cNvGrpSpPr/>
        <p:nvPr/>
      </p:nvGrpSpPr>
      <p:grpSpPr>
        <a:xfrm>
          <a:off x="0" y="0"/>
          <a:ext cx="0" cy="0"/>
          <a:chOff x="0" y="0"/>
          <a:chExt cx="0" cy="0"/>
        </a:xfrm>
      </p:grpSpPr>
      <p:sp>
        <p:nvSpPr>
          <p:cNvPr id="6110" name="Google Shape;6110;p8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11" name="Google Shape;6111;p8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12" name="Google Shape;6112;p8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113" name="Google Shape;6113;p800"/>
          <p:cNvSpPr>
            <a:spLocks noGrp="1"/>
          </p:cNvSpPr>
          <p:nvPr>
            <p:ph type="pic" idx="2"/>
          </p:nvPr>
        </p:nvSpPr>
        <p:spPr>
          <a:xfrm>
            <a:off x="7118684" y="233915"/>
            <a:ext cx="5073316" cy="5943600"/>
          </a:xfrm>
          <a:prstGeom prst="rect">
            <a:avLst/>
          </a:prstGeom>
          <a:noFill/>
          <a:ln>
            <a:noFill/>
          </a:ln>
        </p:spPr>
      </p:sp>
      <p:grpSp>
        <p:nvGrpSpPr>
          <p:cNvPr id="6114" name="Google Shape;6114;p800"/>
          <p:cNvGrpSpPr/>
          <p:nvPr/>
        </p:nvGrpSpPr>
        <p:grpSpPr>
          <a:xfrm>
            <a:off x="0" y="5020348"/>
            <a:ext cx="12192000" cy="1837653"/>
            <a:chOff x="0" y="5020348"/>
            <a:chExt cx="12192000" cy="1837653"/>
          </a:xfrm>
        </p:grpSpPr>
        <p:sp>
          <p:nvSpPr>
            <p:cNvPr id="6115" name="Google Shape;6115;p8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16" name="Google Shape;6116;p8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117" name="Google Shape;6117;p8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Title and Content">
  <p:cSld name="Title and Content 9 2">
    <p:spTree>
      <p:nvGrpSpPr>
        <p:cNvPr id="1" name="Shape 6118"/>
        <p:cNvGrpSpPr/>
        <p:nvPr/>
      </p:nvGrpSpPr>
      <p:grpSpPr>
        <a:xfrm>
          <a:off x="0" y="0"/>
          <a:ext cx="0" cy="0"/>
          <a:chOff x="0" y="0"/>
          <a:chExt cx="0" cy="0"/>
        </a:xfrm>
      </p:grpSpPr>
      <p:grpSp>
        <p:nvGrpSpPr>
          <p:cNvPr id="6119" name="Google Shape;6119;p801"/>
          <p:cNvGrpSpPr/>
          <p:nvPr/>
        </p:nvGrpSpPr>
        <p:grpSpPr>
          <a:xfrm>
            <a:off x="7191542" y="1"/>
            <a:ext cx="5000459" cy="1425992"/>
            <a:chOff x="7191542" y="1"/>
            <a:chExt cx="5000459" cy="1425992"/>
          </a:xfrm>
        </p:grpSpPr>
        <p:pic>
          <p:nvPicPr>
            <p:cNvPr id="6120" name="Google Shape;6120;p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21" name="Google Shape;6121;p801"/>
            <p:cNvGrpSpPr/>
            <p:nvPr/>
          </p:nvGrpSpPr>
          <p:grpSpPr>
            <a:xfrm>
              <a:off x="7191542" y="1"/>
              <a:ext cx="5000459" cy="1425992"/>
              <a:chOff x="7186272" y="0"/>
              <a:chExt cx="5005729" cy="1427495"/>
            </a:xfrm>
          </p:grpSpPr>
          <p:sp>
            <p:nvSpPr>
              <p:cNvPr id="6122" name="Google Shape;6122;p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3" name="Google Shape;6123;p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24" name="Google Shape;6124;p8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25" name="Google Shape;6125;p80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6" name="Google Shape;6126;p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27" name="Google Shape;6127;p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28" name="Google Shape;6128;p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Two Content">
  <p:cSld name="Two Content 5 2">
    <p:spTree>
      <p:nvGrpSpPr>
        <p:cNvPr id="1" name="Shape 6129"/>
        <p:cNvGrpSpPr/>
        <p:nvPr/>
      </p:nvGrpSpPr>
      <p:grpSpPr>
        <a:xfrm>
          <a:off x="0" y="0"/>
          <a:ext cx="0" cy="0"/>
          <a:chOff x="0" y="0"/>
          <a:chExt cx="0" cy="0"/>
        </a:xfrm>
      </p:grpSpPr>
      <p:sp>
        <p:nvSpPr>
          <p:cNvPr id="6130" name="Google Shape;6130;p8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31" name="Google Shape;6131;p8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132" name="Google Shape;6132;p802"/>
          <p:cNvGrpSpPr/>
          <p:nvPr/>
        </p:nvGrpSpPr>
        <p:grpSpPr>
          <a:xfrm>
            <a:off x="7191542" y="1"/>
            <a:ext cx="5000459" cy="1425992"/>
            <a:chOff x="7191542" y="1"/>
            <a:chExt cx="5000459" cy="1425992"/>
          </a:xfrm>
        </p:grpSpPr>
        <p:pic>
          <p:nvPicPr>
            <p:cNvPr id="6133" name="Google Shape;6133;p8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34" name="Google Shape;6134;p802"/>
            <p:cNvGrpSpPr/>
            <p:nvPr/>
          </p:nvGrpSpPr>
          <p:grpSpPr>
            <a:xfrm>
              <a:off x="7191542" y="1"/>
              <a:ext cx="5000459" cy="1425992"/>
              <a:chOff x="7186272" y="0"/>
              <a:chExt cx="5005729" cy="1427495"/>
            </a:xfrm>
          </p:grpSpPr>
          <p:sp>
            <p:nvSpPr>
              <p:cNvPr id="6135" name="Google Shape;6135;p8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36" name="Google Shape;6136;p8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7" name="Google Shape;6137;p8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38" name="Google Shape;6138;p8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39" name="Google Shape;6139;p8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0" name="Google Shape;6140;p8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Comparison">
  <p:cSld name="Comparison 4 2">
    <p:spTree>
      <p:nvGrpSpPr>
        <p:cNvPr id="1" name="Shape 6141"/>
        <p:cNvGrpSpPr/>
        <p:nvPr/>
      </p:nvGrpSpPr>
      <p:grpSpPr>
        <a:xfrm>
          <a:off x="0" y="0"/>
          <a:ext cx="0" cy="0"/>
          <a:chOff x="0" y="0"/>
          <a:chExt cx="0" cy="0"/>
        </a:xfrm>
      </p:grpSpPr>
      <p:grpSp>
        <p:nvGrpSpPr>
          <p:cNvPr id="6142" name="Google Shape;6142;p803"/>
          <p:cNvGrpSpPr/>
          <p:nvPr/>
        </p:nvGrpSpPr>
        <p:grpSpPr>
          <a:xfrm>
            <a:off x="7191542" y="1"/>
            <a:ext cx="5000459" cy="1425992"/>
            <a:chOff x="7191542" y="1"/>
            <a:chExt cx="5000459" cy="1425992"/>
          </a:xfrm>
        </p:grpSpPr>
        <p:pic>
          <p:nvPicPr>
            <p:cNvPr id="6143" name="Google Shape;6143;p8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44" name="Google Shape;6144;p803"/>
            <p:cNvGrpSpPr/>
            <p:nvPr/>
          </p:nvGrpSpPr>
          <p:grpSpPr>
            <a:xfrm>
              <a:off x="7191542" y="1"/>
              <a:ext cx="5000459" cy="1425992"/>
              <a:chOff x="7186272" y="0"/>
              <a:chExt cx="5005729" cy="1427495"/>
            </a:xfrm>
          </p:grpSpPr>
          <p:sp>
            <p:nvSpPr>
              <p:cNvPr id="6145" name="Google Shape;6145;p8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46" name="Google Shape;6146;p8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47" name="Google Shape;6147;p8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8" name="Google Shape;6148;p8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49" name="Google Shape;6149;p8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0" name="Google Shape;6150;p8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1" name="Google Shape;6151;p8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2" name="Google Shape;6152;p8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53" name="Google Shape;6153;p8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54" name="Google Shape;6154;p8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Quotation">
  <p:cSld name="Quotation 7 3">
    <p:spTree>
      <p:nvGrpSpPr>
        <p:cNvPr id="1" name="Shape 6155"/>
        <p:cNvGrpSpPr/>
        <p:nvPr/>
      </p:nvGrpSpPr>
      <p:grpSpPr>
        <a:xfrm>
          <a:off x="0" y="0"/>
          <a:ext cx="0" cy="0"/>
          <a:chOff x="0" y="0"/>
          <a:chExt cx="0" cy="0"/>
        </a:xfrm>
      </p:grpSpPr>
      <p:sp>
        <p:nvSpPr>
          <p:cNvPr id="6156" name="Google Shape;6156;p8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57" name="Google Shape;6157;p8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58" name="Google Shape;6158;p8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59" name="Google Shape;6159;p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60" name="Google Shape;6160;p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61" name="Google Shape;6161;p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162" name="Google Shape;6162;p804"/>
          <p:cNvGrpSpPr/>
          <p:nvPr/>
        </p:nvGrpSpPr>
        <p:grpSpPr>
          <a:xfrm>
            <a:off x="7191542" y="1"/>
            <a:ext cx="5000459" cy="1425992"/>
            <a:chOff x="7191542" y="1"/>
            <a:chExt cx="5000459" cy="1425992"/>
          </a:xfrm>
        </p:grpSpPr>
        <p:pic>
          <p:nvPicPr>
            <p:cNvPr id="6163" name="Google Shape;6163;p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64" name="Google Shape;6164;p804"/>
            <p:cNvGrpSpPr/>
            <p:nvPr/>
          </p:nvGrpSpPr>
          <p:grpSpPr>
            <a:xfrm>
              <a:off x="7191542" y="1"/>
              <a:ext cx="5000459" cy="1425992"/>
              <a:chOff x="7186272" y="0"/>
              <a:chExt cx="5005729" cy="1427495"/>
            </a:xfrm>
          </p:grpSpPr>
          <p:sp>
            <p:nvSpPr>
              <p:cNvPr id="6165" name="Google Shape;6165;p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66" name="Google Shape;6166;p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167" name="Google Shape;6167;p8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Quotation">
  <p:cSld name="Quotation 7 4">
    <p:spTree>
      <p:nvGrpSpPr>
        <p:cNvPr id="1" name="Shape 6168"/>
        <p:cNvGrpSpPr/>
        <p:nvPr/>
      </p:nvGrpSpPr>
      <p:grpSpPr>
        <a:xfrm>
          <a:off x="0" y="0"/>
          <a:ext cx="0" cy="0"/>
          <a:chOff x="0" y="0"/>
          <a:chExt cx="0" cy="0"/>
        </a:xfrm>
      </p:grpSpPr>
      <p:sp>
        <p:nvSpPr>
          <p:cNvPr id="6169" name="Google Shape;6169;p80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70" name="Google Shape;6170;p80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71" name="Google Shape;6171;p8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2" name="Google Shape;6172;p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73" name="Google Shape;6173;p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74" name="Google Shape;6174;p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175" name="Google Shape;6175;p805"/>
          <p:cNvGrpSpPr/>
          <p:nvPr/>
        </p:nvGrpSpPr>
        <p:grpSpPr>
          <a:xfrm>
            <a:off x="7191542" y="1"/>
            <a:ext cx="5000459" cy="1425992"/>
            <a:chOff x="7191542" y="1"/>
            <a:chExt cx="5000459" cy="1425992"/>
          </a:xfrm>
        </p:grpSpPr>
        <p:pic>
          <p:nvPicPr>
            <p:cNvPr id="6176" name="Google Shape;6176;p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77" name="Google Shape;6177;p805"/>
            <p:cNvGrpSpPr/>
            <p:nvPr/>
          </p:nvGrpSpPr>
          <p:grpSpPr>
            <a:xfrm>
              <a:off x="7191542" y="1"/>
              <a:ext cx="5000459" cy="1425992"/>
              <a:chOff x="7186272" y="0"/>
              <a:chExt cx="5005729" cy="1427495"/>
            </a:xfrm>
          </p:grpSpPr>
          <p:sp>
            <p:nvSpPr>
              <p:cNvPr id="6178" name="Google Shape;6178;p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79" name="Google Shape;6179;p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180" name="Google Shape;6180;p80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Quotation">
  <p:cSld name="Quotation 7 5">
    <p:spTree>
      <p:nvGrpSpPr>
        <p:cNvPr id="1" name="Shape 6181"/>
        <p:cNvGrpSpPr/>
        <p:nvPr/>
      </p:nvGrpSpPr>
      <p:grpSpPr>
        <a:xfrm>
          <a:off x="0" y="0"/>
          <a:ext cx="0" cy="0"/>
          <a:chOff x="0" y="0"/>
          <a:chExt cx="0" cy="0"/>
        </a:xfrm>
      </p:grpSpPr>
      <p:sp>
        <p:nvSpPr>
          <p:cNvPr id="6182" name="Google Shape;6182;p8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83" name="Google Shape;6183;p8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84" name="Google Shape;6184;p8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5" name="Google Shape;6185;p8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6" name="Google Shape;6186;p8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87" name="Google Shape;6187;p8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188" name="Google Shape;6188;p806"/>
          <p:cNvGrpSpPr/>
          <p:nvPr/>
        </p:nvGrpSpPr>
        <p:grpSpPr>
          <a:xfrm>
            <a:off x="7191542" y="1"/>
            <a:ext cx="5000459" cy="1425992"/>
            <a:chOff x="7191542" y="1"/>
            <a:chExt cx="5000459" cy="1425992"/>
          </a:xfrm>
        </p:grpSpPr>
        <p:pic>
          <p:nvPicPr>
            <p:cNvPr id="6189" name="Google Shape;6189;p8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90" name="Google Shape;6190;p806"/>
            <p:cNvGrpSpPr/>
            <p:nvPr/>
          </p:nvGrpSpPr>
          <p:grpSpPr>
            <a:xfrm>
              <a:off x="7191542" y="1"/>
              <a:ext cx="5000459" cy="1425992"/>
              <a:chOff x="7186272" y="0"/>
              <a:chExt cx="5005729" cy="1427495"/>
            </a:xfrm>
          </p:grpSpPr>
          <p:sp>
            <p:nvSpPr>
              <p:cNvPr id="6191" name="Google Shape;6191;p8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92" name="Google Shape;6192;p8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193" name="Google Shape;6193;p8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End">
  <p:cSld name="End 4 2">
    <p:spTree>
      <p:nvGrpSpPr>
        <p:cNvPr id="1" name="Shape 6194"/>
        <p:cNvGrpSpPr/>
        <p:nvPr/>
      </p:nvGrpSpPr>
      <p:grpSpPr>
        <a:xfrm>
          <a:off x="0" y="0"/>
          <a:ext cx="0" cy="0"/>
          <a:chOff x="0" y="0"/>
          <a:chExt cx="0" cy="0"/>
        </a:xfrm>
      </p:grpSpPr>
      <p:grpSp>
        <p:nvGrpSpPr>
          <p:cNvPr id="6195" name="Google Shape;6195;p807"/>
          <p:cNvGrpSpPr/>
          <p:nvPr/>
        </p:nvGrpSpPr>
        <p:grpSpPr>
          <a:xfrm>
            <a:off x="0" y="0"/>
            <a:ext cx="12192000" cy="2148830"/>
            <a:chOff x="0" y="0"/>
            <a:chExt cx="12192000" cy="2148830"/>
          </a:xfrm>
        </p:grpSpPr>
        <p:sp>
          <p:nvSpPr>
            <p:cNvPr id="6196" name="Google Shape;6196;p8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97" name="Google Shape;6197;p8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198" name="Google Shape;6198;p8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99" name="Google Shape;6199;p8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00" name="Google Shape;6200;p8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01" name="Google Shape;6201;p8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02" name="Google Shape;6202;p8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Only">
  <p:cSld name="Title Only 4 2">
    <p:spTree>
      <p:nvGrpSpPr>
        <p:cNvPr id="1" name="Shape 6203"/>
        <p:cNvGrpSpPr/>
        <p:nvPr/>
      </p:nvGrpSpPr>
      <p:grpSpPr>
        <a:xfrm>
          <a:off x="0" y="0"/>
          <a:ext cx="0" cy="0"/>
          <a:chOff x="0" y="0"/>
          <a:chExt cx="0" cy="0"/>
        </a:xfrm>
      </p:grpSpPr>
      <p:grpSp>
        <p:nvGrpSpPr>
          <p:cNvPr id="6204" name="Google Shape;6204;p1248"/>
          <p:cNvGrpSpPr/>
          <p:nvPr/>
        </p:nvGrpSpPr>
        <p:grpSpPr>
          <a:xfrm>
            <a:off x="7191542" y="1"/>
            <a:ext cx="5000459" cy="1425992"/>
            <a:chOff x="7191542" y="1"/>
            <a:chExt cx="5000459" cy="1425992"/>
          </a:xfrm>
        </p:grpSpPr>
        <p:pic>
          <p:nvPicPr>
            <p:cNvPr id="6205" name="Google Shape;6205;p12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06" name="Google Shape;6206;p1248"/>
            <p:cNvGrpSpPr/>
            <p:nvPr/>
          </p:nvGrpSpPr>
          <p:grpSpPr>
            <a:xfrm>
              <a:off x="7191542" y="1"/>
              <a:ext cx="5000459" cy="1425992"/>
              <a:chOff x="7186272" y="0"/>
              <a:chExt cx="5005729" cy="1427495"/>
            </a:xfrm>
          </p:grpSpPr>
          <p:sp>
            <p:nvSpPr>
              <p:cNvPr id="6207" name="Google Shape;6207;p12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08" name="Google Shape;6208;p12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209" name="Google Shape;6209;p12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10" name="Google Shape;6210;p12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11" name="Google Shape;6211;p12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12" name="Google Shape;6212;p12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End">
  <p:cSld name="End 5 2">
    <p:spTree>
      <p:nvGrpSpPr>
        <p:cNvPr id="1" name="Shape 6213"/>
        <p:cNvGrpSpPr/>
        <p:nvPr/>
      </p:nvGrpSpPr>
      <p:grpSpPr>
        <a:xfrm>
          <a:off x="0" y="0"/>
          <a:ext cx="0" cy="0"/>
          <a:chOff x="0" y="0"/>
          <a:chExt cx="0" cy="0"/>
        </a:xfrm>
      </p:grpSpPr>
      <p:grpSp>
        <p:nvGrpSpPr>
          <p:cNvPr id="6214" name="Google Shape;6214;p809"/>
          <p:cNvGrpSpPr/>
          <p:nvPr/>
        </p:nvGrpSpPr>
        <p:grpSpPr>
          <a:xfrm>
            <a:off x="0" y="0"/>
            <a:ext cx="12192000" cy="2148830"/>
            <a:chOff x="0" y="0"/>
            <a:chExt cx="12192000" cy="2148830"/>
          </a:xfrm>
        </p:grpSpPr>
        <p:sp>
          <p:nvSpPr>
            <p:cNvPr id="6215" name="Google Shape;6215;p80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16" name="Google Shape;6216;p80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217" name="Google Shape;6217;p80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18" name="Google Shape;6218;p80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19" name="Google Shape;6219;p80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220" name="Google Shape;6220;p80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221" name="Google Shape;6221;p80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47"/>
        <p:cNvGrpSpPr/>
        <p:nvPr/>
      </p:nvGrpSpPr>
      <p:grpSpPr>
        <a:xfrm>
          <a:off x="0" y="0"/>
          <a:ext cx="0" cy="0"/>
          <a:chOff x="0" y="0"/>
          <a:chExt cx="0" cy="0"/>
        </a:xfrm>
      </p:grpSpPr>
      <p:sp>
        <p:nvSpPr>
          <p:cNvPr id="648" name="Google Shape;648;p12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9" name="Google Shape;649;p12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0" name="Google Shape;650;p12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 name="Google Shape;651;p1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2" name="Google Shape;652;p1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 name="Google Shape;653;p1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54" name="Google Shape;654;p1203"/>
          <p:cNvGrpSpPr/>
          <p:nvPr/>
        </p:nvGrpSpPr>
        <p:grpSpPr>
          <a:xfrm>
            <a:off x="7191542" y="1"/>
            <a:ext cx="5000459" cy="1425992"/>
            <a:chOff x="7191542" y="1"/>
            <a:chExt cx="5000459" cy="1425992"/>
          </a:xfrm>
        </p:grpSpPr>
        <p:pic>
          <p:nvPicPr>
            <p:cNvPr id="655" name="Google Shape;655;p1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 name="Google Shape;656;p1203"/>
            <p:cNvGrpSpPr/>
            <p:nvPr/>
          </p:nvGrpSpPr>
          <p:grpSpPr>
            <a:xfrm>
              <a:off x="7191542" y="1"/>
              <a:ext cx="5000459" cy="1425992"/>
              <a:chOff x="7186272" y="0"/>
              <a:chExt cx="5005729" cy="1427495"/>
            </a:xfrm>
          </p:grpSpPr>
          <p:sp>
            <p:nvSpPr>
              <p:cNvPr id="657" name="Google Shape;657;p1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8" name="Google Shape;658;p1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59" name="Google Shape;659;p12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Blank">
  <p:cSld name="Blank 3 3">
    <p:spTree>
      <p:nvGrpSpPr>
        <p:cNvPr id="1" name="Shape 6222"/>
        <p:cNvGrpSpPr/>
        <p:nvPr/>
      </p:nvGrpSpPr>
      <p:grpSpPr>
        <a:xfrm>
          <a:off x="0" y="0"/>
          <a:ext cx="0" cy="0"/>
          <a:chOff x="0" y="0"/>
          <a:chExt cx="0" cy="0"/>
        </a:xfrm>
      </p:grpSpPr>
      <p:sp>
        <p:nvSpPr>
          <p:cNvPr id="6223" name="Google Shape;6223;p12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24" name="Google Shape;6224;p12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25" name="Google Shape;6225;p12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226" name="Google Shape;6226;p1249"/>
          <p:cNvGrpSpPr/>
          <p:nvPr/>
        </p:nvGrpSpPr>
        <p:grpSpPr>
          <a:xfrm>
            <a:off x="7191542" y="1"/>
            <a:ext cx="5000459" cy="1425992"/>
            <a:chOff x="7191542" y="1"/>
            <a:chExt cx="5000459" cy="1425992"/>
          </a:xfrm>
        </p:grpSpPr>
        <p:pic>
          <p:nvPicPr>
            <p:cNvPr id="6227" name="Google Shape;6227;p12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8" name="Google Shape;6228;p1249"/>
            <p:cNvGrpSpPr/>
            <p:nvPr/>
          </p:nvGrpSpPr>
          <p:grpSpPr>
            <a:xfrm>
              <a:off x="7191542" y="1"/>
              <a:ext cx="5000459" cy="1425992"/>
              <a:chOff x="7186272" y="0"/>
              <a:chExt cx="5005729" cy="1427495"/>
            </a:xfrm>
          </p:grpSpPr>
          <p:sp>
            <p:nvSpPr>
              <p:cNvPr id="6229" name="Google Shape;6229;p12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30" name="Google Shape;6230;p12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Quotation">
  <p:cSld name="Quotation 8 3">
    <p:spTree>
      <p:nvGrpSpPr>
        <p:cNvPr id="1" name="Shape 6231"/>
        <p:cNvGrpSpPr/>
        <p:nvPr/>
      </p:nvGrpSpPr>
      <p:grpSpPr>
        <a:xfrm>
          <a:off x="0" y="0"/>
          <a:ext cx="0" cy="0"/>
          <a:chOff x="0" y="0"/>
          <a:chExt cx="0" cy="0"/>
        </a:xfrm>
      </p:grpSpPr>
      <p:sp>
        <p:nvSpPr>
          <p:cNvPr id="6232" name="Google Shape;6232;p8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33" name="Google Shape;6233;p8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34" name="Google Shape;6234;p8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35" name="Google Shape;6235;p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36" name="Google Shape;6236;p8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37" name="Google Shape;6237;p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238" name="Google Shape;6238;p811"/>
          <p:cNvGrpSpPr/>
          <p:nvPr/>
        </p:nvGrpSpPr>
        <p:grpSpPr>
          <a:xfrm>
            <a:off x="7191542" y="1"/>
            <a:ext cx="5000459" cy="1425992"/>
            <a:chOff x="7191542" y="1"/>
            <a:chExt cx="5000459" cy="1425992"/>
          </a:xfrm>
        </p:grpSpPr>
        <p:pic>
          <p:nvPicPr>
            <p:cNvPr id="6239" name="Google Shape;6239;p8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40" name="Google Shape;6240;p811"/>
            <p:cNvGrpSpPr/>
            <p:nvPr/>
          </p:nvGrpSpPr>
          <p:grpSpPr>
            <a:xfrm>
              <a:off x="7191542" y="1"/>
              <a:ext cx="5000459" cy="1425992"/>
              <a:chOff x="7186272" y="0"/>
              <a:chExt cx="5005729" cy="1427495"/>
            </a:xfrm>
          </p:grpSpPr>
          <p:sp>
            <p:nvSpPr>
              <p:cNvPr id="6241" name="Google Shape;6241;p8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42" name="Google Shape;6242;p8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243" name="Google Shape;6243;p8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Quotation">
  <p:cSld name="Quotation 8 4">
    <p:spTree>
      <p:nvGrpSpPr>
        <p:cNvPr id="1" name="Shape 6244"/>
        <p:cNvGrpSpPr/>
        <p:nvPr/>
      </p:nvGrpSpPr>
      <p:grpSpPr>
        <a:xfrm>
          <a:off x="0" y="0"/>
          <a:ext cx="0" cy="0"/>
          <a:chOff x="0" y="0"/>
          <a:chExt cx="0" cy="0"/>
        </a:xfrm>
      </p:grpSpPr>
      <p:sp>
        <p:nvSpPr>
          <p:cNvPr id="6245" name="Google Shape;6245;p8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46" name="Google Shape;6246;p8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47" name="Google Shape;6247;p8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8" name="Google Shape;6248;p8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9" name="Google Shape;6249;p8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0" name="Google Shape;6250;p8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251" name="Google Shape;6251;p812"/>
          <p:cNvGrpSpPr/>
          <p:nvPr/>
        </p:nvGrpSpPr>
        <p:grpSpPr>
          <a:xfrm>
            <a:off x="7191542" y="1"/>
            <a:ext cx="5000459" cy="1425992"/>
            <a:chOff x="7191542" y="1"/>
            <a:chExt cx="5000459" cy="1425992"/>
          </a:xfrm>
        </p:grpSpPr>
        <p:pic>
          <p:nvPicPr>
            <p:cNvPr id="6252" name="Google Shape;6252;p8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53" name="Google Shape;6253;p812"/>
            <p:cNvGrpSpPr/>
            <p:nvPr/>
          </p:nvGrpSpPr>
          <p:grpSpPr>
            <a:xfrm>
              <a:off x="7191542" y="1"/>
              <a:ext cx="5000459" cy="1425992"/>
              <a:chOff x="7186272" y="0"/>
              <a:chExt cx="5005729" cy="1427495"/>
            </a:xfrm>
          </p:grpSpPr>
          <p:sp>
            <p:nvSpPr>
              <p:cNvPr id="6254" name="Google Shape;6254;p8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55" name="Google Shape;6255;p8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256" name="Google Shape;6256;p8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Quotation">
  <p:cSld name="Quotation 8 5">
    <p:spTree>
      <p:nvGrpSpPr>
        <p:cNvPr id="1" name="Shape 6257"/>
        <p:cNvGrpSpPr/>
        <p:nvPr/>
      </p:nvGrpSpPr>
      <p:grpSpPr>
        <a:xfrm>
          <a:off x="0" y="0"/>
          <a:ext cx="0" cy="0"/>
          <a:chOff x="0" y="0"/>
          <a:chExt cx="0" cy="0"/>
        </a:xfrm>
      </p:grpSpPr>
      <p:sp>
        <p:nvSpPr>
          <p:cNvPr id="6258" name="Google Shape;6258;p8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59" name="Google Shape;6259;p8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60" name="Google Shape;6260;p8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1" name="Google Shape;6261;p8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62" name="Google Shape;6262;p8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63" name="Google Shape;6263;p8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264" name="Google Shape;6264;p813"/>
          <p:cNvGrpSpPr/>
          <p:nvPr/>
        </p:nvGrpSpPr>
        <p:grpSpPr>
          <a:xfrm>
            <a:off x="7191542" y="1"/>
            <a:ext cx="5000459" cy="1425992"/>
            <a:chOff x="7191542" y="1"/>
            <a:chExt cx="5000459" cy="1425992"/>
          </a:xfrm>
        </p:grpSpPr>
        <p:pic>
          <p:nvPicPr>
            <p:cNvPr id="6265" name="Google Shape;6265;p8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66" name="Google Shape;6266;p813"/>
            <p:cNvGrpSpPr/>
            <p:nvPr/>
          </p:nvGrpSpPr>
          <p:grpSpPr>
            <a:xfrm>
              <a:off x="7191542" y="1"/>
              <a:ext cx="5000459" cy="1425992"/>
              <a:chOff x="7186272" y="0"/>
              <a:chExt cx="5005729" cy="1427495"/>
            </a:xfrm>
          </p:grpSpPr>
          <p:sp>
            <p:nvSpPr>
              <p:cNvPr id="6267" name="Google Shape;6267;p8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268" name="Google Shape;6268;p8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269" name="Google Shape;6269;p8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Cover">
  <p:cSld name="Cover 7 2">
    <p:spTree>
      <p:nvGrpSpPr>
        <p:cNvPr id="1" name="Shape 6270"/>
        <p:cNvGrpSpPr/>
        <p:nvPr/>
      </p:nvGrpSpPr>
      <p:grpSpPr>
        <a:xfrm>
          <a:off x="0" y="0"/>
          <a:ext cx="0" cy="0"/>
          <a:chOff x="0" y="0"/>
          <a:chExt cx="0" cy="0"/>
        </a:xfrm>
      </p:grpSpPr>
      <p:sp>
        <p:nvSpPr>
          <p:cNvPr id="6271" name="Google Shape;6271;p8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72" name="Google Shape;6272;p8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73" name="Google Shape;6273;p8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274" name="Google Shape;6274;p814"/>
          <p:cNvSpPr>
            <a:spLocks noGrp="1"/>
          </p:cNvSpPr>
          <p:nvPr>
            <p:ph type="pic" idx="2"/>
          </p:nvPr>
        </p:nvSpPr>
        <p:spPr>
          <a:xfrm>
            <a:off x="7118684" y="233915"/>
            <a:ext cx="5073316" cy="5943600"/>
          </a:xfrm>
          <a:prstGeom prst="rect">
            <a:avLst/>
          </a:prstGeom>
          <a:noFill/>
          <a:ln>
            <a:noFill/>
          </a:ln>
        </p:spPr>
      </p:sp>
      <p:grpSp>
        <p:nvGrpSpPr>
          <p:cNvPr id="6275" name="Google Shape;6275;p814"/>
          <p:cNvGrpSpPr/>
          <p:nvPr/>
        </p:nvGrpSpPr>
        <p:grpSpPr>
          <a:xfrm>
            <a:off x="0" y="5020348"/>
            <a:ext cx="12192000" cy="1837653"/>
            <a:chOff x="0" y="5020348"/>
            <a:chExt cx="12192000" cy="1837653"/>
          </a:xfrm>
        </p:grpSpPr>
        <p:sp>
          <p:nvSpPr>
            <p:cNvPr id="6276" name="Google Shape;6276;p8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77" name="Google Shape;6277;p8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278" name="Google Shape;6278;p8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Divider">
  <p:cSld name="Divider 8 2">
    <p:bg>
      <p:bgPr>
        <a:solidFill>
          <a:schemeClr val="lt2"/>
        </a:solidFill>
        <a:effectLst/>
      </p:bgPr>
    </p:bg>
    <p:spTree>
      <p:nvGrpSpPr>
        <p:cNvPr id="1" name="Shape 6279"/>
        <p:cNvGrpSpPr/>
        <p:nvPr/>
      </p:nvGrpSpPr>
      <p:grpSpPr>
        <a:xfrm>
          <a:off x="0" y="0"/>
          <a:ext cx="0" cy="0"/>
          <a:chOff x="0" y="0"/>
          <a:chExt cx="0" cy="0"/>
        </a:xfrm>
      </p:grpSpPr>
      <p:grpSp>
        <p:nvGrpSpPr>
          <p:cNvPr id="6280" name="Google Shape;6280;p1250"/>
          <p:cNvGrpSpPr/>
          <p:nvPr/>
        </p:nvGrpSpPr>
        <p:grpSpPr>
          <a:xfrm>
            <a:off x="0" y="5020347"/>
            <a:ext cx="12192000" cy="1837653"/>
            <a:chOff x="0" y="5020347"/>
            <a:chExt cx="12192000" cy="1837653"/>
          </a:xfrm>
        </p:grpSpPr>
        <p:sp>
          <p:nvSpPr>
            <p:cNvPr id="6281" name="Google Shape;6281;p12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82" name="Google Shape;6282;p12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83" name="Google Shape;6283;p12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284" name="Google Shape;6284;p12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285" name="Google Shape;6285;p12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86" name="Google Shape;6286;p12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Photo Slide">
  <p:cSld name="Photo Slide 7 2">
    <p:spTree>
      <p:nvGrpSpPr>
        <p:cNvPr id="1" name="Shape 6287"/>
        <p:cNvGrpSpPr/>
        <p:nvPr/>
      </p:nvGrpSpPr>
      <p:grpSpPr>
        <a:xfrm>
          <a:off x="0" y="0"/>
          <a:ext cx="0" cy="0"/>
          <a:chOff x="0" y="0"/>
          <a:chExt cx="0" cy="0"/>
        </a:xfrm>
      </p:grpSpPr>
      <p:sp>
        <p:nvSpPr>
          <p:cNvPr id="6288" name="Google Shape;6288;p125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89" name="Google Shape;6289;p12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90" name="Google Shape;6290;p1251"/>
          <p:cNvGrpSpPr/>
          <p:nvPr/>
        </p:nvGrpSpPr>
        <p:grpSpPr>
          <a:xfrm>
            <a:off x="0" y="5379426"/>
            <a:ext cx="2807368" cy="753891"/>
            <a:chOff x="0" y="5379426"/>
            <a:chExt cx="2807368" cy="753891"/>
          </a:xfrm>
        </p:grpSpPr>
        <p:sp>
          <p:nvSpPr>
            <p:cNvPr id="6291" name="Google Shape;6291;p12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92" name="Google Shape;6292;p12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93" name="Google Shape;6293;p1251"/>
          <p:cNvSpPr>
            <a:spLocks noGrp="1"/>
          </p:cNvSpPr>
          <p:nvPr>
            <p:ph type="pic" idx="2"/>
          </p:nvPr>
        </p:nvSpPr>
        <p:spPr>
          <a:xfrm>
            <a:off x="2807368" y="457202"/>
            <a:ext cx="8915400" cy="5943598"/>
          </a:xfrm>
          <a:prstGeom prst="rect">
            <a:avLst/>
          </a:prstGeom>
          <a:noFill/>
          <a:ln>
            <a:noFill/>
          </a:ln>
        </p:spPr>
      </p:sp>
      <p:pic>
        <p:nvPicPr>
          <p:cNvPr id="6294" name="Google Shape;6294;p125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Quotation">
  <p:cSld name="Quotation 9 3">
    <p:spTree>
      <p:nvGrpSpPr>
        <p:cNvPr id="1" name="Shape 6295"/>
        <p:cNvGrpSpPr/>
        <p:nvPr/>
      </p:nvGrpSpPr>
      <p:grpSpPr>
        <a:xfrm>
          <a:off x="0" y="0"/>
          <a:ext cx="0" cy="0"/>
          <a:chOff x="0" y="0"/>
          <a:chExt cx="0" cy="0"/>
        </a:xfrm>
      </p:grpSpPr>
      <p:sp>
        <p:nvSpPr>
          <p:cNvPr id="6296" name="Google Shape;6296;p8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97" name="Google Shape;6297;p8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98" name="Google Shape;6298;p8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99" name="Google Shape;6299;p8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00" name="Google Shape;6300;p8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01" name="Google Shape;6301;p8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02" name="Google Shape;6302;p817"/>
          <p:cNvGrpSpPr/>
          <p:nvPr/>
        </p:nvGrpSpPr>
        <p:grpSpPr>
          <a:xfrm>
            <a:off x="7191542" y="1"/>
            <a:ext cx="5000459" cy="1425992"/>
            <a:chOff x="7191542" y="1"/>
            <a:chExt cx="5000459" cy="1425992"/>
          </a:xfrm>
        </p:grpSpPr>
        <p:pic>
          <p:nvPicPr>
            <p:cNvPr id="6303" name="Google Shape;6303;p8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04" name="Google Shape;6304;p817"/>
            <p:cNvGrpSpPr/>
            <p:nvPr/>
          </p:nvGrpSpPr>
          <p:grpSpPr>
            <a:xfrm>
              <a:off x="7191542" y="1"/>
              <a:ext cx="5000459" cy="1425992"/>
              <a:chOff x="7186272" y="0"/>
              <a:chExt cx="5005729" cy="1427495"/>
            </a:xfrm>
          </p:grpSpPr>
          <p:sp>
            <p:nvSpPr>
              <p:cNvPr id="6305" name="Google Shape;6305;p8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06" name="Google Shape;6306;p8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07" name="Google Shape;6307;p8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Quotation">
  <p:cSld name="Quotation 10 3">
    <p:spTree>
      <p:nvGrpSpPr>
        <p:cNvPr id="1" name="Shape 6308"/>
        <p:cNvGrpSpPr/>
        <p:nvPr/>
      </p:nvGrpSpPr>
      <p:grpSpPr>
        <a:xfrm>
          <a:off x="0" y="0"/>
          <a:ext cx="0" cy="0"/>
          <a:chOff x="0" y="0"/>
          <a:chExt cx="0" cy="0"/>
        </a:xfrm>
      </p:grpSpPr>
      <p:sp>
        <p:nvSpPr>
          <p:cNvPr id="6309" name="Google Shape;6309;p8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10" name="Google Shape;6310;p8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11" name="Google Shape;6311;p8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12" name="Google Shape;6312;p8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13" name="Google Shape;6313;p8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14" name="Google Shape;6314;p8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15" name="Google Shape;6315;p818"/>
          <p:cNvGrpSpPr/>
          <p:nvPr/>
        </p:nvGrpSpPr>
        <p:grpSpPr>
          <a:xfrm>
            <a:off x="7191542" y="1"/>
            <a:ext cx="5000459" cy="1425992"/>
            <a:chOff x="7191542" y="1"/>
            <a:chExt cx="5000459" cy="1425992"/>
          </a:xfrm>
        </p:grpSpPr>
        <p:pic>
          <p:nvPicPr>
            <p:cNvPr id="6316" name="Google Shape;6316;p8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17" name="Google Shape;6317;p818"/>
            <p:cNvGrpSpPr/>
            <p:nvPr/>
          </p:nvGrpSpPr>
          <p:grpSpPr>
            <a:xfrm>
              <a:off x="7191542" y="1"/>
              <a:ext cx="5000459" cy="1425992"/>
              <a:chOff x="7186272" y="0"/>
              <a:chExt cx="5005729" cy="1427495"/>
            </a:xfrm>
          </p:grpSpPr>
          <p:sp>
            <p:nvSpPr>
              <p:cNvPr id="6318" name="Google Shape;6318;p8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19" name="Google Shape;6319;p8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20" name="Google Shape;6320;p8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Quotation">
  <p:cSld name="Quotation 9 4">
    <p:spTree>
      <p:nvGrpSpPr>
        <p:cNvPr id="1" name="Shape 6321"/>
        <p:cNvGrpSpPr/>
        <p:nvPr/>
      </p:nvGrpSpPr>
      <p:grpSpPr>
        <a:xfrm>
          <a:off x="0" y="0"/>
          <a:ext cx="0" cy="0"/>
          <a:chOff x="0" y="0"/>
          <a:chExt cx="0" cy="0"/>
        </a:xfrm>
      </p:grpSpPr>
      <p:sp>
        <p:nvSpPr>
          <p:cNvPr id="6322" name="Google Shape;6322;p8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23" name="Google Shape;6323;p8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24" name="Google Shape;6324;p8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25" name="Google Shape;6325;p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26" name="Google Shape;6326;p8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27" name="Google Shape;6327;p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28" name="Google Shape;6328;p819"/>
          <p:cNvGrpSpPr/>
          <p:nvPr/>
        </p:nvGrpSpPr>
        <p:grpSpPr>
          <a:xfrm>
            <a:off x="7191542" y="1"/>
            <a:ext cx="5000459" cy="1425992"/>
            <a:chOff x="7191542" y="1"/>
            <a:chExt cx="5000459" cy="1425992"/>
          </a:xfrm>
        </p:grpSpPr>
        <p:pic>
          <p:nvPicPr>
            <p:cNvPr id="6329" name="Google Shape;6329;p8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30" name="Google Shape;6330;p819"/>
            <p:cNvGrpSpPr/>
            <p:nvPr/>
          </p:nvGrpSpPr>
          <p:grpSpPr>
            <a:xfrm>
              <a:off x="7191542" y="1"/>
              <a:ext cx="5000459" cy="1425992"/>
              <a:chOff x="7186272" y="0"/>
              <a:chExt cx="5005729" cy="1427495"/>
            </a:xfrm>
          </p:grpSpPr>
          <p:sp>
            <p:nvSpPr>
              <p:cNvPr id="6331" name="Google Shape;6331;p8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32" name="Google Shape;6332;p8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33" name="Google Shape;6333;p8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60"/>
        <p:cNvGrpSpPr/>
        <p:nvPr/>
      </p:nvGrpSpPr>
      <p:grpSpPr>
        <a:xfrm>
          <a:off x="0" y="0"/>
          <a:ext cx="0" cy="0"/>
          <a:chOff x="0" y="0"/>
          <a:chExt cx="0" cy="0"/>
        </a:xfrm>
      </p:grpSpPr>
      <p:sp>
        <p:nvSpPr>
          <p:cNvPr id="661" name="Google Shape;661;p12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2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3" name="Google Shape;663;p12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4" name="Google Shape;664;p12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5" name="Google Shape;665;p1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6" name="Google Shape;666;p1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67" name="Google Shape;667;p1204"/>
          <p:cNvGrpSpPr/>
          <p:nvPr/>
        </p:nvGrpSpPr>
        <p:grpSpPr>
          <a:xfrm>
            <a:off x="7191542" y="1"/>
            <a:ext cx="5000459" cy="1425992"/>
            <a:chOff x="7191542" y="1"/>
            <a:chExt cx="5000459" cy="1425992"/>
          </a:xfrm>
        </p:grpSpPr>
        <p:pic>
          <p:nvPicPr>
            <p:cNvPr id="668" name="Google Shape;668;p1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9" name="Google Shape;669;p1204"/>
            <p:cNvGrpSpPr/>
            <p:nvPr/>
          </p:nvGrpSpPr>
          <p:grpSpPr>
            <a:xfrm>
              <a:off x="7191542" y="1"/>
              <a:ext cx="5000459" cy="1425992"/>
              <a:chOff x="7186272" y="0"/>
              <a:chExt cx="5005729" cy="1427495"/>
            </a:xfrm>
          </p:grpSpPr>
          <p:sp>
            <p:nvSpPr>
              <p:cNvPr id="670" name="Google Shape;670;p1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1" name="Google Shape;671;p1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2" name="Google Shape;672;p12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matchingName="Quotation">
  <p:cSld name="Quotation 10 4">
    <p:spTree>
      <p:nvGrpSpPr>
        <p:cNvPr id="1" name="Shape 6334"/>
        <p:cNvGrpSpPr/>
        <p:nvPr/>
      </p:nvGrpSpPr>
      <p:grpSpPr>
        <a:xfrm>
          <a:off x="0" y="0"/>
          <a:ext cx="0" cy="0"/>
          <a:chOff x="0" y="0"/>
          <a:chExt cx="0" cy="0"/>
        </a:xfrm>
      </p:grpSpPr>
      <p:sp>
        <p:nvSpPr>
          <p:cNvPr id="6335" name="Google Shape;6335;p8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36" name="Google Shape;6336;p8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37" name="Google Shape;6337;p8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8" name="Google Shape;6338;p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39" name="Google Shape;6339;p8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40" name="Google Shape;6340;p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41" name="Google Shape;6341;p820"/>
          <p:cNvGrpSpPr/>
          <p:nvPr/>
        </p:nvGrpSpPr>
        <p:grpSpPr>
          <a:xfrm>
            <a:off x="7191542" y="1"/>
            <a:ext cx="5000459" cy="1425992"/>
            <a:chOff x="7191542" y="1"/>
            <a:chExt cx="5000459" cy="1425992"/>
          </a:xfrm>
        </p:grpSpPr>
        <p:pic>
          <p:nvPicPr>
            <p:cNvPr id="6342" name="Google Shape;6342;p8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43" name="Google Shape;6343;p820"/>
            <p:cNvGrpSpPr/>
            <p:nvPr/>
          </p:nvGrpSpPr>
          <p:grpSpPr>
            <a:xfrm>
              <a:off x="7191542" y="1"/>
              <a:ext cx="5000459" cy="1425992"/>
              <a:chOff x="7186272" y="0"/>
              <a:chExt cx="5005729" cy="1427495"/>
            </a:xfrm>
          </p:grpSpPr>
          <p:sp>
            <p:nvSpPr>
              <p:cNvPr id="6344" name="Google Shape;6344;p8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45" name="Google Shape;6345;p8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46" name="Google Shape;6346;p8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matchingName="Quotation">
  <p:cSld name="Quotation 9 5">
    <p:spTree>
      <p:nvGrpSpPr>
        <p:cNvPr id="1" name="Shape 6347"/>
        <p:cNvGrpSpPr/>
        <p:nvPr/>
      </p:nvGrpSpPr>
      <p:grpSpPr>
        <a:xfrm>
          <a:off x="0" y="0"/>
          <a:ext cx="0" cy="0"/>
          <a:chOff x="0" y="0"/>
          <a:chExt cx="0" cy="0"/>
        </a:xfrm>
      </p:grpSpPr>
      <p:sp>
        <p:nvSpPr>
          <p:cNvPr id="6348" name="Google Shape;6348;p8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9" name="Google Shape;6349;p8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0" name="Google Shape;6350;p8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1" name="Google Shape;6351;p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52" name="Google Shape;6352;p8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3" name="Google Shape;6353;p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54" name="Google Shape;6354;p821"/>
          <p:cNvGrpSpPr/>
          <p:nvPr/>
        </p:nvGrpSpPr>
        <p:grpSpPr>
          <a:xfrm>
            <a:off x="7191542" y="1"/>
            <a:ext cx="5000459" cy="1425992"/>
            <a:chOff x="7191542" y="1"/>
            <a:chExt cx="5000459" cy="1425992"/>
          </a:xfrm>
        </p:grpSpPr>
        <p:pic>
          <p:nvPicPr>
            <p:cNvPr id="6355" name="Google Shape;6355;p8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56" name="Google Shape;6356;p821"/>
            <p:cNvGrpSpPr/>
            <p:nvPr/>
          </p:nvGrpSpPr>
          <p:grpSpPr>
            <a:xfrm>
              <a:off x="7191542" y="1"/>
              <a:ext cx="5000459" cy="1425992"/>
              <a:chOff x="7186272" y="0"/>
              <a:chExt cx="5005729" cy="1427495"/>
            </a:xfrm>
          </p:grpSpPr>
          <p:sp>
            <p:nvSpPr>
              <p:cNvPr id="6357" name="Google Shape;6357;p8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58" name="Google Shape;6358;p8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59" name="Google Shape;6359;p8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Quotation">
  <p:cSld name="Quotation 10 5">
    <p:spTree>
      <p:nvGrpSpPr>
        <p:cNvPr id="1" name="Shape 6360"/>
        <p:cNvGrpSpPr/>
        <p:nvPr/>
      </p:nvGrpSpPr>
      <p:grpSpPr>
        <a:xfrm>
          <a:off x="0" y="0"/>
          <a:ext cx="0" cy="0"/>
          <a:chOff x="0" y="0"/>
          <a:chExt cx="0" cy="0"/>
        </a:xfrm>
      </p:grpSpPr>
      <p:sp>
        <p:nvSpPr>
          <p:cNvPr id="6361" name="Google Shape;6361;p8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62" name="Google Shape;6362;p8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63" name="Google Shape;6363;p8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64" name="Google Shape;6364;p8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65" name="Google Shape;6365;p8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6" name="Google Shape;6366;p8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367" name="Google Shape;6367;p822"/>
          <p:cNvGrpSpPr/>
          <p:nvPr/>
        </p:nvGrpSpPr>
        <p:grpSpPr>
          <a:xfrm>
            <a:off x="7191542" y="1"/>
            <a:ext cx="5000459" cy="1425992"/>
            <a:chOff x="7191542" y="1"/>
            <a:chExt cx="5000459" cy="1425992"/>
          </a:xfrm>
        </p:grpSpPr>
        <p:pic>
          <p:nvPicPr>
            <p:cNvPr id="6368" name="Google Shape;6368;p8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69" name="Google Shape;6369;p822"/>
            <p:cNvGrpSpPr/>
            <p:nvPr/>
          </p:nvGrpSpPr>
          <p:grpSpPr>
            <a:xfrm>
              <a:off x="7191542" y="1"/>
              <a:ext cx="5000459" cy="1425992"/>
              <a:chOff x="7186272" y="0"/>
              <a:chExt cx="5005729" cy="1427495"/>
            </a:xfrm>
          </p:grpSpPr>
          <p:sp>
            <p:nvSpPr>
              <p:cNvPr id="6370" name="Google Shape;6370;p8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71" name="Google Shape;6371;p8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72" name="Google Shape;6372;p8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Title and Content">
  <p:cSld name="Title and Content 10 2">
    <p:spTree>
      <p:nvGrpSpPr>
        <p:cNvPr id="1" name="Shape 6373"/>
        <p:cNvGrpSpPr/>
        <p:nvPr/>
      </p:nvGrpSpPr>
      <p:grpSpPr>
        <a:xfrm>
          <a:off x="0" y="0"/>
          <a:ext cx="0" cy="0"/>
          <a:chOff x="0" y="0"/>
          <a:chExt cx="0" cy="0"/>
        </a:xfrm>
      </p:grpSpPr>
      <p:grpSp>
        <p:nvGrpSpPr>
          <p:cNvPr id="6374" name="Google Shape;6374;p823"/>
          <p:cNvGrpSpPr/>
          <p:nvPr/>
        </p:nvGrpSpPr>
        <p:grpSpPr>
          <a:xfrm>
            <a:off x="7191542" y="1"/>
            <a:ext cx="5000459" cy="1425992"/>
            <a:chOff x="7191542" y="1"/>
            <a:chExt cx="5000459" cy="1425992"/>
          </a:xfrm>
        </p:grpSpPr>
        <p:pic>
          <p:nvPicPr>
            <p:cNvPr id="6375" name="Google Shape;6375;p8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76" name="Google Shape;6376;p823"/>
            <p:cNvGrpSpPr/>
            <p:nvPr/>
          </p:nvGrpSpPr>
          <p:grpSpPr>
            <a:xfrm>
              <a:off x="7191542" y="1"/>
              <a:ext cx="5000459" cy="1425992"/>
              <a:chOff x="7186272" y="0"/>
              <a:chExt cx="5005729" cy="1427495"/>
            </a:xfrm>
          </p:grpSpPr>
          <p:sp>
            <p:nvSpPr>
              <p:cNvPr id="6377" name="Google Shape;6377;p8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78" name="Google Shape;6378;p8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379" name="Google Shape;6379;p8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0" name="Google Shape;6380;p8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81" name="Google Shape;6381;p8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82" name="Google Shape;6382;p8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3" name="Google Shape;6383;p8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Two Content">
  <p:cSld name="Two Content 6 2">
    <p:spTree>
      <p:nvGrpSpPr>
        <p:cNvPr id="1" name="Shape 6384"/>
        <p:cNvGrpSpPr/>
        <p:nvPr/>
      </p:nvGrpSpPr>
      <p:grpSpPr>
        <a:xfrm>
          <a:off x="0" y="0"/>
          <a:ext cx="0" cy="0"/>
          <a:chOff x="0" y="0"/>
          <a:chExt cx="0" cy="0"/>
        </a:xfrm>
      </p:grpSpPr>
      <p:sp>
        <p:nvSpPr>
          <p:cNvPr id="6385" name="Google Shape;6385;p8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86" name="Google Shape;6386;p8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87" name="Google Shape;6387;p824"/>
          <p:cNvGrpSpPr/>
          <p:nvPr/>
        </p:nvGrpSpPr>
        <p:grpSpPr>
          <a:xfrm>
            <a:off x="7191542" y="1"/>
            <a:ext cx="5000459" cy="1425992"/>
            <a:chOff x="7191542" y="1"/>
            <a:chExt cx="5000459" cy="1425992"/>
          </a:xfrm>
        </p:grpSpPr>
        <p:pic>
          <p:nvPicPr>
            <p:cNvPr id="6388" name="Google Shape;6388;p8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89" name="Google Shape;6389;p824"/>
            <p:cNvGrpSpPr/>
            <p:nvPr/>
          </p:nvGrpSpPr>
          <p:grpSpPr>
            <a:xfrm>
              <a:off x="7191542" y="1"/>
              <a:ext cx="5000459" cy="1425992"/>
              <a:chOff x="7186272" y="0"/>
              <a:chExt cx="5005729" cy="1427495"/>
            </a:xfrm>
          </p:grpSpPr>
          <p:sp>
            <p:nvSpPr>
              <p:cNvPr id="6390" name="Google Shape;6390;p8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91" name="Google Shape;6391;p8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392" name="Google Shape;6392;p8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93" name="Google Shape;6393;p8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94" name="Google Shape;6394;p8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95" name="Google Shape;6395;p8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Comparison">
  <p:cSld name="Comparison 5 2">
    <p:spTree>
      <p:nvGrpSpPr>
        <p:cNvPr id="1" name="Shape 6396"/>
        <p:cNvGrpSpPr/>
        <p:nvPr/>
      </p:nvGrpSpPr>
      <p:grpSpPr>
        <a:xfrm>
          <a:off x="0" y="0"/>
          <a:ext cx="0" cy="0"/>
          <a:chOff x="0" y="0"/>
          <a:chExt cx="0" cy="0"/>
        </a:xfrm>
      </p:grpSpPr>
      <p:grpSp>
        <p:nvGrpSpPr>
          <p:cNvPr id="6397" name="Google Shape;6397;p825"/>
          <p:cNvGrpSpPr/>
          <p:nvPr/>
        </p:nvGrpSpPr>
        <p:grpSpPr>
          <a:xfrm>
            <a:off x="7191542" y="1"/>
            <a:ext cx="5000459" cy="1425992"/>
            <a:chOff x="7191542" y="1"/>
            <a:chExt cx="5000459" cy="1425992"/>
          </a:xfrm>
        </p:grpSpPr>
        <p:pic>
          <p:nvPicPr>
            <p:cNvPr id="6398" name="Google Shape;6398;p8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399" name="Google Shape;6399;p825"/>
            <p:cNvGrpSpPr/>
            <p:nvPr/>
          </p:nvGrpSpPr>
          <p:grpSpPr>
            <a:xfrm>
              <a:off x="7191542" y="1"/>
              <a:ext cx="5000459" cy="1425992"/>
              <a:chOff x="7186272" y="0"/>
              <a:chExt cx="5005729" cy="1427495"/>
            </a:xfrm>
          </p:grpSpPr>
          <p:sp>
            <p:nvSpPr>
              <p:cNvPr id="6400" name="Google Shape;6400;p8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01" name="Google Shape;6401;p8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02" name="Google Shape;6402;p8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03" name="Google Shape;6403;p8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04" name="Google Shape;6404;p8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05" name="Google Shape;6405;p8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406" name="Google Shape;6406;p8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07" name="Google Shape;6407;p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8" name="Google Shape;6408;p8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09" name="Google Shape;6409;p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Title Only">
  <p:cSld name="Title Only 5 2">
    <p:spTree>
      <p:nvGrpSpPr>
        <p:cNvPr id="1" name="Shape 6410"/>
        <p:cNvGrpSpPr/>
        <p:nvPr/>
      </p:nvGrpSpPr>
      <p:grpSpPr>
        <a:xfrm>
          <a:off x="0" y="0"/>
          <a:ext cx="0" cy="0"/>
          <a:chOff x="0" y="0"/>
          <a:chExt cx="0" cy="0"/>
        </a:xfrm>
      </p:grpSpPr>
      <p:grpSp>
        <p:nvGrpSpPr>
          <p:cNvPr id="6411" name="Google Shape;6411;p826"/>
          <p:cNvGrpSpPr/>
          <p:nvPr/>
        </p:nvGrpSpPr>
        <p:grpSpPr>
          <a:xfrm>
            <a:off x="7191542" y="1"/>
            <a:ext cx="5000459" cy="1425992"/>
            <a:chOff x="7191542" y="1"/>
            <a:chExt cx="5000459" cy="1425992"/>
          </a:xfrm>
        </p:grpSpPr>
        <p:pic>
          <p:nvPicPr>
            <p:cNvPr id="6412" name="Google Shape;6412;p8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13" name="Google Shape;6413;p826"/>
            <p:cNvGrpSpPr/>
            <p:nvPr/>
          </p:nvGrpSpPr>
          <p:grpSpPr>
            <a:xfrm>
              <a:off x="7191542" y="1"/>
              <a:ext cx="5000459" cy="1425992"/>
              <a:chOff x="7186272" y="0"/>
              <a:chExt cx="5005729" cy="1427495"/>
            </a:xfrm>
          </p:grpSpPr>
          <p:sp>
            <p:nvSpPr>
              <p:cNvPr id="6414" name="Google Shape;6414;p8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15" name="Google Shape;6415;p8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16" name="Google Shape;6416;p8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7" name="Google Shape;6417;p8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18" name="Google Shape;6418;p8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9" name="Google Shape;6419;p8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End">
  <p:cSld name="End 6 2">
    <p:spTree>
      <p:nvGrpSpPr>
        <p:cNvPr id="1" name="Shape 6420"/>
        <p:cNvGrpSpPr/>
        <p:nvPr/>
      </p:nvGrpSpPr>
      <p:grpSpPr>
        <a:xfrm>
          <a:off x="0" y="0"/>
          <a:ext cx="0" cy="0"/>
          <a:chOff x="0" y="0"/>
          <a:chExt cx="0" cy="0"/>
        </a:xfrm>
      </p:grpSpPr>
      <p:grpSp>
        <p:nvGrpSpPr>
          <p:cNvPr id="6421" name="Google Shape;6421;p827"/>
          <p:cNvGrpSpPr/>
          <p:nvPr/>
        </p:nvGrpSpPr>
        <p:grpSpPr>
          <a:xfrm>
            <a:off x="0" y="0"/>
            <a:ext cx="12192000" cy="2148830"/>
            <a:chOff x="0" y="0"/>
            <a:chExt cx="12192000" cy="2148830"/>
          </a:xfrm>
        </p:grpSpPr>
        <p:sp>
          <p:nvSpPr>
            <p:cNvPr id="6422" name="Google Shape;6422;p8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23" name="Google Shape;6423;p8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424" name="Google Shape;6424;p8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25" name="Google Shape;6425;p8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6" name="Google Shape;6426;p8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427" name="Google Shape;6427;p82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428" name="Google Shape;6428;p82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Blank">
  <p:cSld name="Blank 4 2">
    <p:spTree>
      <p:nvGrpSpPr>
        <p:cNvPr id="1" name="Shape 6429"/>
        <p:cNvGrpSpPr/>
        <p:nvPr/>
      </p:nvGrpSpPr>
      <p:grpSpPr>
        <a:xfrm>
          <a:off x="0" y="0"/>
          <a:ext cx="0" cy="0"/>
          <a:chOff x="0" y="0"/>
          <a:chExt cx="0" cy="0"/>
        </a:xfrm>
      </p:grpSpPr>
      <p:sp>
        <p:nvSpPr>
          <p:cNvPr id="6430" name="Google Shape;6430;p8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31" name="Google Shape;6431;p8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32" name="Google Shape;6432;p8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433" name="Google Shape;6433;p828"/>
          <p:cNvGrpSpPr/>
          <p:nvPr/>
        </p:nvGrpSpPr>
        <p:grpSpPr>
          <a:xfrm>
            <a:off x="7191542" y="1"/>
            <a:ext cx="5000459" cy="1425992"/>
            <a:chOff x="7191542" y="1"/>
            <a:chExt cx="5000459" cy="1425992"/>
          </a:xfrm>
        </p:grpSpPr>
        <p:pic>
          <p:nvPicPr>
            <p:cNvPr id="6434" name="Google Shape;6434;p8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35" name="Google Shape;6435;p828"/>
            <p:cNvGrpSpPr/>
            <p:nvPr/>
          </p:nvGrpSpPr>
          <p:grpSpPr>
            <a:xfrm>
              <a:off x="7191542" y="1"/>
              <a:ext cx="5000459" cy="1425992"/>
              <a:chOff x="7186272" y="0"/>
              <a:chExt cx="5005729" cy="1427495"/>
            </a:xfrm>
          </p:grpSpPr>
          <p:sp>
            <p:nvSpPr>
              <p:cNvPr id="6436" name="Google Shape;6436;p8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37" name="Google Shape;6437;p8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Cover">
  <p:cSld name="Cover 8 2">
    <p:spTree>
      <p:nvGrpSpPr>
        <p:cNvPr id="1" name="Shape 6438"/>
        <p:cNvGrpSpPr/>
        <p:nvPr/>
      </p:nvGrpSpPr>
      <p:grpSpPr>
        <a:xfrm>
          <a:off x="0" y="0"/>
          <a:ext cx="0" cy="0"/>
          <a:chOff x="0" y="0"/>
          <a:chExt cx="0" cy="0"/>
        </a:xfrm>
      </p:grpSpPr>
      <p:sp>
        <p:nvSpPr>
          <p:cNvPr id="6439" name="Google Shape;6439;p82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40" name="Google Shape;6440;p82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41" name="Google Shape;6441;p82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442" name="Google Shape;6442;p829"/>
          <p:cNvSpPr>
            <a:spLocks noGrp="1"/>
          </p:cNvSpPr>
          <p:nvPr>
            <p:ph type="pic" idx="2"/>
          </p:nvPr>
        </p:nvSpPr>
        <p:spPr>
          <a:xfrm>
            <a:off x="7118684" y="233915"/>
            <a:ext cx="5073316" cy="5943600"/>
          </a:xfrm>
          <a:prstGeom prst="rect">
            <a:avLst/>
          </a:prstGeom>
          <a:noFill/>
          <a:ln>
            <a:noFill/>
          </a:ln>
        </p:spPr>
      </p:sp>
      <p:grpSp>
        <p:nvGrpSpPr>
          <p:cNvPr id="6443" name="Google Shape;6443;p829"/>
          <p:cNvGrpSpPr/>
          <p:nvPr/>
        </p:nvGrpSpPr>
        <p:grpSpPr>
          <a:xfrm>
            <a:off x="0" y="5020348"/>
            <a:ext cx="12192000" cy="1837653"/>
            <a:chOff x="0" y="5020348"/>
            <a:chExt cx="12192000" cy="1837653"/>
          </a:xfrm>
        </p:grpSpPr>
        <p:sp>
          <p:nvSpPr>
            <p:cNvPr id="6444" name="Google Shape;6444;p8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45" name="Google Shape;6445;p82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446" name="Google Shape;6446;p8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673"/>
        <p:cNvGrpSpPr/>
        <p:nvPr/>
      </p:nvGrpSpPr>
      <p:grpSpPr>
        <a:xfrm>
          <a:off x="0" y="0"/>
          <a:ext cx="0" cy="0"/>
          <a:chOff x="0" y="0"/>
          <a:chExt cx="0" cy="0"/>
        </a:xfrm>
      </p:grpSpPr>
      <p:grpSp>
        <p:nvGrpSpPr>
          <p:cNvPr id="674" name="Google Shape;674;p1205"/>
          <p:cNvGrpSpPr/>
          <p:nvPr/>
        </p:nvGrpSpPr>
        <p:grpSpPr>
          <a:xfrm>
            <a:off x="7191542" y="1"/>
            <a:ext cx="5000459" cy="1425992"/>
            <a:chOff x="7191542" y="1"/>
            <a:chExt cx="5000459" cy="1425992"/>
          </a:xfrm>
        </p:grpSpPr>
        <p:pic>
          <p:nvPicPr>
            <p:cNvPr id="675" name="Google Shape;675;p1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 name="Google Shape;676;p1205"/>
            <p:cNvGrpSpPr/>
            <p:nvPr/>
          </p:nvGrpSpPr>
          <p:grpSpPr>
            <a:xfrm>
              <a:off x="7191542" y="1"/>
              <a:ext cx="5000459" cy="1425992"/>
              <a:chOff x="7186272" y="0"/>
              <a:chExt cx="5005729" cy="1427495"/>
            </a:xfrm>
          </p:grpSpPr>
          <p:sp>
            <p:nvSpPr>
              <p:cNvPr id="677" name="Google Shape;677;p1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8" name="Google Shape;678;p1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9" name="Google Shape;679;p1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0" name="Google Shape;680;p12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1" name="Google Shape;681;p1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2" name="Google Shape;682;p1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 name="Google Shape;683;p1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Divider">
  <p:cSld name="Divider 9 2">
    <p:bg>
      <p:bgPr>
        <a:solidFill>
          <a:schemeClr val="lt2"/>
        </a:solidFill>
        <a:effectLst/>
      </p:bgPr>
    </p:bg>
    <p:spTree>
      <p:nvGrpSpPr>
        <p:cNvPr id="1" name="Shape 6447"/>
        <p:cNvGrpSpPr/>
        <p:nvPr/>
      </p:nvGrpSpPr>
      <p:grpSpPr>
        <a:xfrm>
          <a:off x="0" y="0"/>
          <a:ext cx="0" cy="0"/>
          <a:chOff x="0" y="0"/>
          <a:chExt cx="0" cy="0"/>
        </a:xfrm>
      </p:grpSpPr>
      <p:grpSp>
        <p:nvGrpSpPr>
          <p:cNvPr id="6448" name="Google Shape;6448;p830"/>
          <p:cNvGrpSpPr/>
          <p:nvPr/>
        </p:nvGrpSpPr>
        <p:grpSpPr>
          <a:xfrm>
            <a:off x="0" y="5020347"/>
            <a:ext cx="12192000" cy="1837653"/>
            <a:chOff x="0" y="5020347"/>
            <a:chExt cx="12192000" cy="1837653"/>
          </a:xfrm>
        </p:grpSpPr>
        <p:sp>
          <p:nvSpPr>
            <p:cNvPr id="6449" name="Google Shape;6449;p83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50" name="Google Shape;6450;p8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51" name="Google Shape;6451;p83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452" name="Google Shape;6452;p8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453" name="Google Shape;6453;p83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54" name="Google Shape;6454;p83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Quotation">
  <p:cSld name="Quotation 11 3">
    <p:spTree>
      <p:nvGrpSpPr>
        <p:cNvPr id="1" name="Shape 6455"/>
        <p:cNvGrpSpPr/>
        <p:nvPr/>
      </p:nvGrpSpPr>
      <p:grpSpPr>
        <a:xfrm>
          <a:off x="0" y="0"/>
          <a:ext cx="0" cy="0"/>
          <a:chOff x="0" y="0"/>
          <a:chExt cx="0" cy="0"/>
        </a:xfrm>
      </p:grpSpPr>
      <p:sp>
        <p:nvSpPr>
          <p:cNvPr id="6456" name="Google Shape;6456;p8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57" name="Google Shape;6457;p8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58" name="Google Shape;6458;p8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59" name="Google Shape;6459;p8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60" name="Google Shape;6460;p8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61" name="Google Shape;6461;p8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462" name="Google Shape;6462;p831"/>
          <p:cNvGrpSpPr/>
          <p:nvPr/>
        </p:nvGrpSpPr>
        <p:grpSpPr>
          <a:xfrm>
            <a:off x="7191542" y="1"/>
            <a:ext cx="5000459" cy="1425992"/>
            <a:chOff x="7191542" y="1"/>
            <a:chExt cx="5000459" cy="1425992"/>
          </a:xfrm>
        </p:grpSpPr>
        <p:pic>
          <p:nvPicPr>
            <p:cNvPr id="6463" name="Google Shape;6463;p8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64" name="Google Shape;6464;p831"/>
            <p:cNvGrpSpPr/>
            <p:nvPr/>
          </p:nvGrpSpPr>
          <p:grpSpPr>
            <a:xfrm>
              <a:off x="7191542" y="1"/>
              <a:ext cx="5000459" cy="1425992"/>
              <a:chOff x="7186272" y="0"/>
              <a:chExt cx="5005729" cy="1427495"/>
            </a:xfrm>
          </p:grpSpPr>
          <p:sp>
            <p:nvSpPr>
              <p:cNvPr id="6465" name="Google Shape;6465;p8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6" name="Google Shape;6466;p8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67" name="Google Shape;6467;p8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Quotation">
  <p:cSld name="Quotation 11 4">
    <p:spTree>
      <p:nvGrpSpPr>
        <p:cNvPr id="1" name="Shape 6468"/>
        <p:cNvGrpSpPr/>
        <p:nvPr/>
      </p:nvGrpSpPr>
      <p:grpSpPr>
        <a:xfrm>
          <a:off x="0" y="0"/>
          <a:ext cx="0" cy="0"/>
          <a:chOff x="0" y="0"/>
          <a:chExt cx="0" cy="0"/>
        </a:xfrm>
      </p:grpSpPr>
      <p:sp>
        <p:nvSpPr>
          <p:cNvPr id="6469" name="Google Shape;6469;p8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70" name="Google Shape;6470;p8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71" name="Google Shape;6471;p8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72" name="Google Shape;6472;p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73" name="Google Shape;6473;p8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74" name="Google Shape;6474;p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475" name="Google Shape;6475;p832"/>
          <p:cNvGrpSpPr/>
          <p:nvPr/>
        </p:nvGrpSpPr>
        <p:grpSpPr>
          <a:xfrm>
            <a:off x="7191542" y="1"/>
            <a:ext cx="5000459" cy="1425992"/>
            <a:chOff x="7191542" y="1"/>
            <a:chExt cx="5000459" cy="1425992"/>
          </a:xfrm>
        </p:grpSpPr>
        <p:pic>
          <p:nvPicPr>
            <p:cNvPr id="6476" name="Google Shape;6476;p8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77" name="Google Shape;6477;p832"/>
            <p:cNvGrpSpPr/>
            <p:nvPr/>
          </p:nvGrpSpPr>
          <p:grpSpPr>
            <a:xfrm>
              <a:off x="7191542" y="1"/>
              <a:ext cx="5000459" cy="1425992"/>
              <a:chOff x="7186272" y="0"/>
              <a:chExt cx="5005729" cy="1427495"/>
            </a:xfrm>
          </p:grpSpPr>
          <p:sp>
            <p:nvSpPr>
              <p:cNvPr id="6478" name="Google Shape;6478;p8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79" name="Google Shape;6479;p8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80" name="Google Shape;6480;p8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Quotation">
  <p:cSld name="Quotation 11 5">
    <p:spTree>
      <p:nvGrpSpPr>
        <p:cNvPr id="1" name="Shape 6481"/>
        <p:cNvGrpSpPr/>
        <p:nvPr/>
      </p:nvGrpSpPr>
      <p:grpSpPr>
        <a:xfrm>
          <a:off x="0" y="0"/>
          <a:ext cx="0" cy="0"/>
          <a:chOff x="0" y="0"/>
          <a:chExt cx="0" cy="0"/>
        </a:xfrm>
      </p:grpSpPr>
      <p:sp>
        <p:nvSpPr>
          <p:cNvPr id="6482" name="Google Shape;6482;p8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483" name="Google Shape;6483;p8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84" name="Google Shape;6484;p8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5" name="Google Shape;6485;p8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86" name="Google Shape;6486;p8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7" name="Google Shape;6487;p8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488" name="Google Shape;6488;p833"/>
          <p:cNvGrpSpPr/>
          <p:nvPr/>
        </p:nvGrpSpPr>
        <p:grpSpPr>
          <a:xfrm>
            <a:off x="7191542" y="1"/>
            <a:ext cx="5000459" cy="1425992"/>
            <a:chOff x="7191542" y="1"/>
            <a:chExt cx="5000459" cy="1425992"/>
          </a:xfrm>
        </p:grpSpPr>
        <p:pic>
          <p:nvPicPr>
            <p:cNvPr id="6489" name="Google Shape;6489;p8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90" name="Google Shape;6490;p833"/>
            <p:cNvGrpSpPr/>
            <p:nvPr/>
          </p:nvGrpSpPr>
          <p:grpSpPr>
            <a:xfrm>
              <a:off x="7191542" y="1"/>
              <a:ext cx="5000459" cy="1425992"/>
              <a:chOff x="7186272" y="0"/>
              <a:chExt cx="5005729" cy="1427495"/>
            </a:xfrm>
          </p:grpSpPr>
          <p:sp>
            <p:nvSpPr>
              <p:cNvPr id="6491" name="Google Shape;6491;p8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92" name="Google Shape;6492;p8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93" name="Google Shape;6493;p8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matchingName="Title and Content">
  <p:cSld name="Title and Content 11 2">
    <p:spTree>
      <p:nvGrpSpPr>
        <p:cNvPr id="1" name="Shape 6494"/>
        <p:cNvGrpSpPr/>
        <p:nvPr/>
      </p:nvGrpSpPr>
      <p:grpSpPr>
        <a:xfrm>
          <a:off x="0" y="0"/>
          <a:ext cx="0" cy="0"/>
          <a:chOff x="0" y="0"/>
          <a:chExt cx="0" cy="0"/>
        </a:xfrm>
      </p:grpSpPr>
      <p:grpSp>
        <p:nvGrpSpPr>
          <p:cNvPr id="6495" name="Google Shape;6495;p834"/>
          <p:cNvGrpSpPr/>
          <p:nvPr/>
        </p:nvGrpSpPr>
        <p:grpSpPr>
          <a:xfrm>
            <a:off x="7191542" y="1"/>
            <a:ext cx="5000459" cy="1425992"/>
            <a:chOff x="7191542" y="1"/>
            <a:chExt cx="5000459" cy="1425992"/>
          </a:xfrm>
        </p:grpSpPr>
        <p:pic>
          <p:nvPicPr>
            <p:cNvPr id="6496" name="Google Shape;6496;p8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97" name="Google Shape;6497;p834"/>
            <p:cNvGrpSpPr/>
            <p:nvPr/>
          </p:nvGrpSpPr>
          <p:grpSpPr>
            <a:xfrm>
              <a:off x="7191542" y="1"/>
              <a:ext cx="5000459" cy="1425992"/>
              <a:chOff x="7186272" y="0"/>
              <a:chExt cx="5005729" cy="1427495"/>
            </a:xfrm>
          </p:grpSpPr>
          <p:sp>
            <p:nvSpPr>
              <p:cNvPr id="6498" name="Google Shape;6498;p8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99" name="Google Shape;6499;p8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00" name="Google Shape;6500;p8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01" name="Google Shape;6501;p8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02" name="Google Shape;6502;p8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03" name="Google Shape;6503;p8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04" name="Google Shape;6504;p8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Two Content">
  <p:cSld name="Two Content 7 2">
    <p:spTree>
      <p:nvGrpSpPr>
        <p:cNvPr id="1" name="Shape 6505"/>
        <p:cNvGrpSpPr/>
        <p:nvPr/>
      </p:nvGrpSpPr>
      <p:grpSpPr>
        <a:xfrm>
          <a:off x="0" y="0"/>
          <a:ext cx="0" cy="0"/>
          <a:chOff x="0" y="0"/>
          <a:chExt cx="0" cy="0"/>
        </a:xfrm>
      </p:grpSpPr>
      <p:sp>
        <p:nvSpPr>
          <p:cNvPr id="6506" name="Google Shape;6506;p8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07" name="Google Shape;6507;p83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08" name="Google Shape;6508;p835"/>
          <p:cNvGrpSpPr/>
          <p:nvPr/>
        </p:nvGrpSpPr>
        <p:grpSpPr>
          <a:xfrm>
            <a:off x="7191542" y="1"/>
            <a:ext cx="5000459" cy="1425992"/>
            <a:chOff x="7191542" y="1"/>
            <a:chExt cx="5000459" cy="1425992"/>
          </a:xfrm>
        </p:grpSpPr>
        <p:pic>
          <p:nvPicPr>
            <p:cNvPr id="6509" name="Google Shape;6509;p8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10" name="Google Shape;6510;p835"/>
            <p:cNvGrpSpPr/>
            <p:nvPr/>
          </p:nvGrpSpPr>
          <p:grpSpPr>
            <a:xfrm>
              <a:off x="7191542" y="1"/>
              <a:ext cx="5000459" cy="1425992"/>
              <a:chOff x="7186272" y="0"/>
              <a:chExt cx="5005729" cy="1427495"/>
            </a:xfrm>
          </p:grpSpPr>
          <p:sp>
            <p:nvSpPr>
              <p:cNvPr id="6511" name="Google Shape;6511;p8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12" name="Google Shape;6512;p8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13" name="Google Shape;6513;p83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14" name="Google Shape;6514;p83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15" name="Google Shape;6515;p8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16" name="Google Shape;6516;p8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Comparison">
  <p:cSld name="Comparison 6 2">
    <p:spTree>
      <p:nvGrpSpPr>
        <p:cNvPr id="1" name="Shape 6517"/>
        <p:cNvGrpSpPr/>
        <p:nvPr/>
      </p:nvGrpSpPr>
      <p:grpSpPr>
        <a:xfrm>
          <a:off x="0" y="0"/>
          <a:ext cx="0" cy="0"/>
          <a:chOff x="0" y="0"/>
          <a:chExt cx="0" cy="0"/>
        </a:xfrm>
      </p:grpSpPr>
      <p:grpSp>
        <p:nvGrpSpPr>
          <p:cNvPr id="6518" name="Google Shape;6518;p836"/>
          <p:cNvGrpSpPr/>
          <p:nvPr/>
        </p:nvGrpSpPr>
        <p:grpSpPr>
          <a:xfrm>
            <a:off x="7191542" y="1"/>
            <a:ext cx="5000459" cy="1425992"/>
            <a:chOff x="7191542" y="1"/>
            <a:chExt cx="5000459" cy="1425992"/>
          </a:xfrm>
        </p:grpSpPr>
        <p:pic>
          <p:nvPicPr>
            <p:cNvPr id="6519" name="Google Shape;6519;p8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0" name="Google Shape;6520;p836"/>
            <p:cNvGrpSpPr/>
            <p:nvPr/>
          </p:nvGrpSpPr>
          <p:grpSpPr>
            <a:xfrm>
              <a:off x="7191542" y="1"/>
              <a:ext cx="5000459" cy="1425992"/>
              <a:chOff x="7186272" y="0"/>
              <a:chExt cx="5005729" cy="1427495"/>
            </a:xfrm>
          </p:grpSpPr>
          <p:sp>
            <p:nvSpPr>
              <p:cNvPr id="6521" name="Google Shape;6521;p8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2" name="Google Shape;6522;p8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23" name="Google Shape;6523;p8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4" name="Google Shape;6524;p83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25" name="Google Shape;6525;p83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6" name="Google Shape;6526;p8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27" name="Google Shape;6527;p8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28" name="Google Shape;6528;p8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29" name="Google Shape;6529;p8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30" name="Google Shape;6530;p8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Photo Slide">
  <p:cSld name="Photo Slide 8 2">
    <p:spTree>
      <p:nvGrpSpPr>
        <p:cNvPr id="1" name="Shape 6531"/>
        <p:cNvGrpSpPr/>
        <p:nvPr/>
      </p:nvGrpSpPr>
      <p:grpSpPr>
        <a:xfrm>
          <a:off x="0" y="0"/>
          <a:ext cx="0" cy="0"/>
          <a:chOff x="0" y="0"/>
          <a:chExt cx="0" cy="0"/>
        </a:xfrm>
      </p:grpSpPr>
      <p:sp>
        <p:nvSpPr>
          <p:cNvPr id="6532" name="Google Shape;6532;p83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533" name="Google Shape;6533;p83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534" name="Google Shape;6534;p837"/>
          <p:cNvGrpSpPr/>
          <p:nvPr/>
        </p:nvGrpSpPr>
        <p:grpSpPr>
          <a:xfrm>
            <a:off x="0" y="5379426"/>
            <a:ext cx="2807368" cy="753891"/>
            <a:chOff x="0" y="5379426"/>
            <a:chExt cx="2807368" cy="753891"/>
          </a:xfrm>
        </p:grpSpPr>
        <p:sp>
          <p:nvSpPr>
            <p:cNvPr id="6535" name="Google Shape;6535;p83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36" name="Google Shape;6536;p83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537" name="Google Shape;6537;p837"/>
          <p:cNvSpPr>
            <a:spLocks noGrp="1"/>
          </p:cNvSpPr>
          <p:nvPr>
            <p:ph type="pic" idx="2"/>
          </p:nvPr>
        </p:nvSpPr>
        <p:spPr>
          <a:xfrm>
            <a:off x="2807368" y="457202"/>
            <a:ext cx="8915400" cy="5943598"/>
          </a:xfrm>
          <a:prstGeom prst="rect">
            <a:avLst/>
          </a:prstGeom>
          <a:noFill/>
          <a:ln>
            <a:noFill/>
          </a:ln>
        </p:spPr>
      </p:sp>
      <p:pic>
        <p:nvPicPr>
          <p:cNvPr id="6538" name="Google Shape;6538;p83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End">
  <p:cSld name="End 7 2">
    <p:spTree>
      <p:nvGrpSpPr>
        <p:cNvPr id="1" name="Shape 6539"/>
        <p:cNvGrpSpPr/>
        <p:nvPr/>
      </p:nvGrpSpPr>
      <p:grpSpPr>
        <a:xfrm>
          <a:off x="0" y="0"/>
          <a:ext cx="0" cy="0"/>
          <a:chOff x="0" y="0"/>
          <a:chExt cx="0" cy="0"/>
        </a:xfrm>
      </p:grpSpPr>
      <p:grpSp>
        <p:nvGrpSpPr>
          <p:cNvPr id="6540" name="Google Shape;6540;p838"/>
          <p:cNvGrpSpPr/>
          <p:nvPr/>
        </p:nvGrpSpPr>
        <p:grpSpPr>
          <a:xfrm>
            <a:off x="0" y="0"/>
            <a:ext cx="12192000" cy="2148830"/>
            <a:chOff x="0" y="0"/>
            <a:chExt cx="12192000" cy="2148830"/>
          </a:xfrm>
        </p:grpSpPr>
        <p:sp>
          <p:nvSpPr>
            <p:cNvPr id="6541" name="Google Shape;6541;p8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42" name="Google Shape;6542;p8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543" name="Google Shape;6543;p83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44" name="Google Shape;6544;p83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5" name="Google Shape;6545;p8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546" name="Google Shape;6546;p83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547" name="Google Shape;6547;p8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Blank">
  <p:cSld name="Blank 5 2">
    <p:spTree>
      <p:nvGrpSpPr>
        <p:cNvPr id="1" name="Shape 6548"/>
        <p:cNvGrpSpPr/>
        <p:nvPr/>
      </p:nvGrpSpPr>
      <p:grpSpPr>
        <a:xfrm>
          <a:off x="0" y="0"/>
          <a:ext cx="0" cy="0"/>
          <a:chOff x="0" y="0"/>
          <a:chExt cx="0" cy="0"/>
        </a:xfrm>
      </p:grpSpPr>
      <p:sp>
        <p:nvSpPr>
          <p:cNvPr id="6549" name="Google Shape;6549;p8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0" name="Google Shape;6550;p8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1" name="Google Shape;6551;p8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552" name="Google Shape;6552;p839"/>
          <p:cNvGrpSpPr/>
          <p:nvPr/>
        </p:nvGrpSpPr>
        <p:grpSpPr>
          <a:xfrm>
            <a:off x="7191542" y="1"/>
            <a:ext cx="5000459" cy="1425992"/>
            <a:chOff x="7191542" y="1"/>
            <a:chExt cx="5000459" cy="1425992"/>
          </a:xfrm>
        </p:grpSpPr>
        <p:pic>
          <p:nvPicPr>
            <p:cNvPr id="6553" name="Google Shape;6553;p8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54" name="Google Shape;6554;p839"/>
            <p:cNvGrpSpPr/>
            <p:nvPr/>
          </p:nvGrpSpPr>
          <p:grpSpPr>
            <a:xfrm>
              <a:off x="7191542" y="1"/>
              <a:ext cx="5000459" cy="1425992"/>
              <a:chOff x="7186272" y="0"/>
              <a:chExt cx="5005729" cy="1427495"/>
            </a:xfrm>
          </p:grpSpPr>
          <p:sp>
            <p:nvSpPr>
              <p:cNvPr id="6555" name="Google Shape;6555;p8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56" name="Google Shape;6556;p8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84"/>
        <p:cNvGrpSpPr/>
        <p:nvPr/>
      </p:nvGrpSpPr>
      <p:grpSpPr>
        <a:xfrm>
          <a:off x="0" y="0"/>
          <a:ext cx="0" cy="0"/>
          <a:chOff x="0" y="0"/>
          <a:chExt cx="0" cy="0"/>
        </a:xfrm>
      </p:grpSpPr>
      <p:sp>
        <p:nvSpPr>
          <p:cNvPr id="685" name="Google Shape;685;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 name="Google Shape;686;p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87" name="Google Shape;687;p121"/>
          <p:cNvGrpSpPr/>
          <p:nvPr/>
        </p:nvGrpSpPr>
        <p:grpSpPr>
          <a:xfrm>
            <a:off x="7191542" y="1"/>
            <a:ext cx="5000459" cy="1425992"/>
            <a:chOff x="7191542" y="1"/>
            <a:chExt cx="5000459" cy="1425992"/>
          </a:xfrm>
        </p:grpSpPr>
        <p:pic>
          <p:nvPicPr>
            <p:cNvPr id="688" name="Google Shape;68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 name="Google Shape;689;p121"/>
            <p:cNvGrpSpPr/>
            <p:nvPr/>
          </p:nvGrpSpPr>
          <p:grpSpPr>
            <a:xfrm>
              <a:off x="7191542" y="1"/>
              <a:ext cx="5000459" cy="1425992"/>
              <a:chOff x="7186272" y="0"/>
              <a:chExt cx="5005729" cy="1427495"/>
            </a:xfrm>
          </p:grpSpPr>
          <p:sp>
            <p:nvSpPr>
              <p:cNvPr id="690" name="Google Shape;69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1" name="Google Shape;69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2" name="Google Shape;692;p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3" name="Google Shape;693;p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4" name="Google Shape;694;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 name="Google Shape;695;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Title Only">
  <p:cSld name="Title Only 6 2">
    <p:spTree>
      <p:nvGrpSpPr>
        <p:cNvPr id="1" name="Shape 6557"/>
        <p:cNvGrpSpPr/>
        <p:nvPr/>
      </p:nvGrpSpPr>
      <p:grpSpPr>
        <a:xfrm>
          <a:off x="0" y="0"/>
          <a:ext cx="0" cy="0"/>
          <a:chOff x="0" y="0"/>
          <a:chExt cx="0" cy="0"/>
        </a:xfrm>
      </p:grpSpPr>
      <p:grpSp>
        <p:nvGrpSpPr>
          <p:cNvPr id="6558" name="Google Shape;6558;p840"/>
          <p:cNvGrpSpPr/>
          <p:nvPr/>
        </p:nvGrpSpPr>
        <p:grpSpPr>
          <a:xfrm>
            <a:off x="7191542" y="1"/>
            <a:ext cx="5000459" cy="1425992"/>
            <a:chOff x="7191542" y="1"/>
            <a:chExt cx="5000459" cy="1425992"/>
          </a:xfrm>
        </p:grpSpPr>
        <p:pic>
          <p:nvPicPr>
            <p:cNvPr id="6559" name="Google Shape;6559;p8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60" name="Google Shape;6560;p840"/>
            <p:cNvGrpSpPr/>
            <p:nvPr/>
          </p:nvGrpSpPr>
          <p:grpSpPr>
            <a:xfrm>
              <a:off x="7191542" y="1"/>
              <a:ext cx="5000459" cy="1425992"/>
              <a:chOff x="7186272" y="0"/>
              <a:chExt cx="5005729" cy="1427495"/>
            </a:xfrm>
          </p:grpSpPr>
          <p:sp>
            <p:nvSpPr>
              <p:cNvPr id="6561" name="Google Shape;6561;p8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62" name="Google Shape;6562;p8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63" name="Google Shape;6563;p8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64" name="Google Shape;6564;p8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65" name="Google Shape;6565;p8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6" name="Google Shape;6566;p8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6567"/>
        <p:cNvGrpSpPr/>
        <p:nvPr/>
      </p:nvGrpSpPr>
      <p:grpSpPr>
        <a:xfrm>
          <a:off x="0" y="0"/>
          <a:ext cx="0" cy="0"/>
          <a:chOff x="0" y="0"/>
          <a:chExt cx="0" cy="0"/>
        </a:xfrm>
      </p:grpSpPr>
      <p:sp>
        <p:nvSpPr>
          <p:cNvPr id="6568" name="Google Shape;6568;p84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69" name="Google Shape;6569;p84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570" name="Google Shape;6570;p841"/>
          <p:cNvGrpSpPr/>
          <p:nvPr/>
        </p:nvGrpSpPr>
        <p:grpSpPr>
          <a:xfrm flipH="1">
            <a:off x="-1" y="1"/>
            <a:ext cx="6418725" cy="1509822"/>
            <a:chOff x="7522541" y="1"/>
            <a:chExt cx="4669459" cy="1098357"/>
          </a:xfrm>
        </p:grpSpPr>
        <p:sp>
          <p:nvSpPr>
            <p:cNvPr id="6571" name="Google Shape;6571;p84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72" name="Google Shape;6572;p84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6573" name="Google Shape;6573;p8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6574"/>
        <p:cNvGrpSpPr/>
        <p:nvPr/>
      </p:nvGrpSpPr>
      <p:grpSpPr>
        <a:xfrm>
          <a:off x="0" y="0"/>
          <a:ext cx="0" cy="0"/>
          <a:chOff x="0" y="0"/>
          <a:chExt cx="0" cy="0"/>
        </a:xfrm>
      </p:grpSpPr>
      <p:sp>
        <p:nvSpPr>
          <p:cNvPr id="6575" name="Google Shape;6575;p8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76" name="Google Shape;6576;p8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77" name="Google Shape;6577;p8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78" name="Google Shape;6578;p8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79" name="Google Shape;6579;p8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80" name="Google Shape;6580;p8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581" name="Google Shape;6581;p842"/>
          <p:cNvGrpSpPr/>
          <p:nvPr/>
        </p:nvGrpSpPr>
        <p:grpSpPr>
          <a:xfrm>
            <a:off x="7191542" y="1"/>
            <a:ext cx="5000459" cy="1425992"/>
            <a:chOff x="7191542" y="1"/>
            <a:chExt cx="5000459" cy="1425992"/>
          </a:xfrm>
        </p:grpSpPr>
        <p:pic>
          <p:nvPicPr>
            <p:cNvPr id="6582" name="Google Shape;6582;p8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83" name="Google Shape;6583;p842"/>
            <p:cNvGrpSpPr/>
            <p:nvPr/>
          </p:nvGrpSpPr>
          <p:grpSpPr>
            <a:xfrm>
              <a:off x="7191542" y="1"/>
              <a:ext cx="5000459" cy="1425992"/>
              <a:chOff x="7186272" y="0"/>
              <a:chExt cx="5005729" cy="1427495"/>
            </a:xfrm>
          </p:grpSpPr>
          <p:sp>
            <p:nvSpPr>
              <p:cNvPr id="6584" name="Google Shape;6584;p8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85" name="Google Shape;6585;p8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586" name="Google Shape;6586;p8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3_Quotation">
  <p:cSld name="3_Quotation 2 2">
    <p:spTree>
      <p:nvGrpSpPr>
        <p:cNvPr id="1" name="Shape 6587"/>
        <p:cNvGrpSpPr/>
        <p:nvPr/>
      </p:nvGrpSpPr>
      <p:grpSpPr>
        <a:xfrm>
          <a:off x="0" y="0"/>
          <a:ext cx="0" cy="0"/>
          <a:chOff x="0" y="0"/>
          <a:chExt cx="0" cy="0"/>
        </a:xfrm>
      </p:grpSpPr>
      <p:sp>
        <p:nvSpPr>
          <p:cNvPr id="6588" name="Google Shape;6588;p8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589" name="Google Shape;6589;p8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90" name="Google Shape;6590;p8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91" name="Google Shape;6591;p8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92" name="Google Shape;6592;p8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93" name="Google Shape;6593;p8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594" name="Google Shape;6594;p843"/>
          <p:cNvGrpSpPr/>
          <p:nvPr/>
        </p:nvGrpSpPr>
        <p:grpSpPr>
          <a:xfrm>
            <a:off x="7191542" y="1"/>
            <a:ext cx="5000459" cy="1425992"/>
            <a:chOff x="7191542" y="1"/>
            <a:chExt cx="5000459" cy="1425992"/>
          </a:xfrm>
        </p:grpSpPr>
        <p:pic>
          <p:nvPicPr>
            <p:cNvPr id="6595" name="Google Shape;6595;p8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96" name="Google Shape;6596;p843"/>
            <p:cNvGrpSpPr/>
            <p:nvPr/>
          </p:nvGrpSpPr>
          <p:grpSpPr>
            <a:xfrm>
              <a:off x="7191542" y="1"/>
              <a:ext cx="5000459" cy="1425992"/>
              <a:chOff x="7186272" y="0"/>
              <a:chExt cx="5005729" cy="1427495"/>
            </a:xfrm>
          </p:grpSpPr>
          <p:sp>
            <p:nvSpPr>
              <p:cNvPr id="6597" name="Google Shape;6597;p8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98" name="Google Shape;6598;p8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599" name="Google Shape;6599;p8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6600"/>
        <p:cNvGrpSpPr/>
        <p:nvPr/>
      </p:nvGrpSpPr>
      <p:grpSpPr>
        <a:xfrm>
          <a:off x="0" y="0"/>
          <a:ext cx="0" cy="0"/>
          <a:chOff x="0" y="0"/>
          <a:chExt cx="0" cy="0"/>
        </a:xfrm>
      </p:grpSpPr>
      <p:sp>
        <p:nvSpPr>
          <p:cNvPr id="6601" name="Google Shape;6601;p8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02" name="Google Shape;6602;p8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03" name="Google Shape;6603;p8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4" name="Google Shape;6604;p8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05" name="Google Shape;6605;p8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6" name="Google Shape;6606;p8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07" name="Google Shape;6607;p844"/>
          <p:cNvGrpSpPr/>
          <p:nvPr/>
        </p:nvGrpSpPr>
        <p:grpSpPr>
          <a:xfrm>
            <a:off x="7191542" y="1"/>
            <a:ext cx="5000459" cy="1425992"/>
            <a:chOff x="7191542" y="1"/>
            <a:chExt cx="5000459" cy="1425992"/>
          </a:xfrm>
        </p:grpSpPr>
        <p:pic>
          <p:nvPicPr>
            <p:cNvPr id="6608" name="Google Shape;6608;p8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09" name="Google Shape;6609;p844"/>
            <p:cNvGrpSpPr/>
            <p:nvPr/>
          </p:nvGrpSpPr>
          <p:grpSpPr>
            <a:xfrm>
              <a:off x="7191542" y="1"/>
              <a:ext cx="5000459" cy="1425992"/>
              <a:chOff x="7186272" y="0"/>
              <a:chExt cx="5005729" cy="1427495"/>
            </a:xfrm>
          </p:grpSpPr>
          <p:sp>
            <p:nvSpPr>
              <p:cNvPr id="6610" name="Google Shape;6610;p8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11" name="Google Shape;6611;p8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12" name="Google Shape;6612;p8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Quotation">
  <p:cSld name="Quotation 12 2">
    <p:spTree>
      <p:nvGrpSpPr>
        <p:cNvPr id="1" name="Shape 6613"/>
        <p:cNvGrpSpPr/>
        <p:nvPr/>
      </p:nvGrpSpPr>
      <p:grpSpPr>
        <a:xfrm>
          <a:off x="0" y="0"/>
          <a:ext cx="0" cy="0"/>
          <a:chOff x="0" y="0"/>
          <a:chExt cx="0" cy="0"/>
        </a:xfrm>
      </p:grpSpPr>
      <p:sp>
        <p:nvSpPr>
          <p:cNvPr id="6614" name="Google Shape;6614;p8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15" name="Google Shape;6615;p8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16" name="Google Shape;6616;p8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17" name="Google Shape;6617;p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18" name="Google Shape;6618;p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19" name="Google Shape;6619;p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20" name="Google Shape;6620;p845"/>
          <p:cNvGrpSpPr/>
          <p:nvPr/>
        </p:nvGrpSpPr>
        <p:grpSpPr>
          <a:xfrm>
            <a:off x="7191542" y="1"/>
            <a:ext cx="5000459" cy="1425992"/>
            <a:chOff x="7191542" y="1"/>
            <a:chExt cx="5000459" cy="1425992"/>
          </a:xfrm>
        </p:grpSpPr>
        <p:pic>
          <p:nvPicPr>
            <p:cNvPr id="6621" name="Google Shape;6621;p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22" name="Google Shape;6622;p845"/>
            <p:cNvGrpSpPr/>
            <p:nvPr/>
          </p:nvGrpSpPr>
          <p:grpSpPr>
            <a:xfrm>
              <a:off x="7191542" y="1"/>
              <a:ext cx="5000459" cy="1425992"/>
              <a:chOff x="7186272" y="0"/>
              <a:chExt cx="5005729" cy="1427495"/>
            </a:xfrm>
          </p:grpSpPr>
          <p:sp>
            <p:nvSpPr>
              <p:cNvPr id="6623" name="Google Shape;6623;p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24" name="Google Shape;6624;p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25" name="Google Shape;6625;p8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3_Quotation">
  <p:cSld name="3_Quotation 2 3">
    <p:spTree>
      <p:nvGrpSpPr>
        <p:cNvPr id="1" name="Shape 6626"/>
        <p:cNvGrpSpPr/>
        <p:nvPr/>
      </p:nvGrpSpPr>
      <p:grpSpPr>
        <a:xfrm>
          <a:off x="0" y="0"/>
          <a:ext cx="0" cy="0"/>
          <a:chOff x="0" y="0"/>
          <a:chExt cx="0" cy="0"/>
        </a:xfrm>
      </p:grpSpPr>
      <p:sp>
        <p:nvSpPr>
          <p:cNvPr id="6627" name="Google Shape;6627;p8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8" name="Google Shape;6628;p8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29" name="Google Shape;6629;p8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0" name="Google Shape;6630;p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31" name="Google Shape;6631;p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32" name="Google Shape;6632;p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33" name="Google Shape;6633;p846"/>
          <p:cNvGrpSpPr/>
          <p:nvPr/>
        </p:nvGrpSpPr>
        <p:grpSpPr>
          <a:xfrm>
            <a:off x="7191542" y="1"/>
            <a:ext cx="5000459" cy="1425992"/>
            <a:chOff x="7191542" y="1"/>
            <a:chExt cx="5000459" cy="1425992"/>
          </a:xfrm>
        </p:grpSpPr>
        <p:pic>
          <p:nvPicPr>
            <p:cNvPr id="6634" name="Google Shape;6634;p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35" name="Google Shape;6635;p846"/>
            <p:cNvGrpSpPr/>
            <p:nvPr/>
          </p:nvGrpSpPr>
          <p:grpSpPr>
            <a:xfrm>
              <a:off x="7191542" y="1"/>
              <a:ext cx="5000459" cy="1425992"/>
              <a:chOff x="7186272" y="0"/>
              <a:chExt cx="5005729" cy="1427495"/>
            </a:xfrm>
          </p:grpSpPr>
          <p:sp>
            <p:nvSpPr>
              <p:cNvPr id="6636" name="Google Shape;6636;p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37" name="Google Shape;6637;p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38" name="Google Shape;6638;p8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Quotation">
  <p:cSld name="Quotation 13 2">
    <p:spTree>
      <p:nvGrpSpPr>
        <p:cNvPr id="1" name="Shape 6639"/>
        <p:cNvGrpSpPr/>
        <p:nvPr/>
      </p:nvGrpSpPr>
      <p:grpSpPr>
        <a:xfrm>
          <a:off x="0" y="0"/>
          <a:ext cx="0" cy="0"/>
          <a:chOff x="0" y="0"/>
          <a:chExt cx="0" cy="0"/>
        </a:xfrm>
      </p:grpSpPr>
      <p:sp>
        <p:nvSpPr>
          <p:cNvPr id="6640" name="Google Shape;6640;p8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41" name="Google Shape;6641;p8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42" name="Google Shape;6642;p8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43" name="Google Shape;6643;p8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44" name="Google Shape;6644;p8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45" name="Google Shape;6645;p8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46" name="Google Shape;6646;p847"/>
          <p:cNvGrpSpPr/>
          <p:nvPr/>
        </p:nvGrpSpPr>
        <p:grpSpPr>
          <a:xfrm>
            <a:off x="7191542" y="1"/>
            <a:ext cx="5000459" cy="1425992"/>
            <a:chOff x="7191542" y="1"/>
            <a:chExt cx="5000459" cy="1425992"/>
          </a:xfrm>
        </p:grpSpPr>
        <p:pic>
          <p:nvPicPr>
            <p:cNvPr id="6647" name="Google Shape;6647;p8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48" name="Google Shape;6648;p847"/>
            <p:cNvGrpSpPr/>
            <p:nvPr/>
          </p:nvGrpSpPr>
          <p:grpSpPr>
            <a:xfrm>
              <a:off x="7191542" y="1"/>
              <a:ext cx="5000459" cy="1425992"/>
              <a:chOff x="7186272" y="0"/>
              <a:chExt cx="5005729" cy="1427495"/>
            </a:xfrm>
          </p:grpSpPr>
          <p:sp>
            <p:nvSpPr>
              <p:cNvPr id="6649" name="Google Shape;6649;p8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50" name="Google Shape;6650;p8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51" name="Google Shape;6651;p84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6652"/>
        <p:cNvGrpSpPr/>
        <p:nvPr/>
      </p:nvGrpSpPr>
      <p:grpSpPr>
        <a:xfrm>
          <a:off x="0" y="0"/>
          <a:ext cx="0" cy="0"/>
          <a:chOff x="0" y="0"/>
          <a:chExt cx="0" cy="0"/>
        </a:xfrm>
      </p:grpSpPr>
      <p:sp>
        <p:nvSpPr>
          <p:cNvPr id="6653" name="Google Shape;6653;p848"/>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54" name="Google Shape;6654;p848"/>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655" name="Google Shape;6655;p848"/>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656" name="Google Shape;6656;p848"/>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657" name="Google Shape;6657;p848"/>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658" name="Google Shape;6658;p848"/>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59" name="Google Shape;6659;p848"/>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60" name="Google Shape;6660;p848"/>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661" name="Google Shape;6661;p848"/>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1400"/>
              <a:buFont typeface="Calibri"/>
              <a:buNone/>
              <a:defRPr>
                <a:solidFill>
                  <a:srgbClr val="919497"/>
                </a:solidFill>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6662" name="Google Shape;6662;p848"/>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4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6663" name="Google Shape;6663;p848"/>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2_Quotation">
  <p:cSld name="2_Quotation 2 2">
    <p:spTree>
      <p:nvGrpSpPr>
        <p:cNvPr id="1" name="Shape 6664"/>
        <p:cNvGrpSpPr/>
        <p:nvPr/>
      </p:nvGrpSpPr>
      <p:grpSpPr>
        <a:xfrm>
          <a:off x="0" y="0"/>
          <a:ext cx="0" cy="0"/>
          <a:chOff x="0" y="0"/>
          <a:chExt cx="0" cy="0"/>
        </a:xfrm>
      </p:grpSpPr>
      <p:sp>
        <p:nvSpPr>
          <p:cNvPr id="6665" name="Google Shape;6665;p8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66" name="Google Shape;6666;p8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67" name="Google Shape;6667;p8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8" name="Google Shape;6668;p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9" name="Google Shape;6669;p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70" name="Google Shape;6670;p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71" name="Google Shape;6671;p849"/>
          <p:cNvGrpSpPr/>
          <p:nvPr/>
        </p:nvGrpSpPr>
        <p:grpSpPr>
          <a:xfrm>
            <a:off x="7191542" y="1"/>
            <a:ext cx="5000459" cy="1425992"/>
            <a:chOff x="7191542" y="1"/>
            <a:chExt cx="5000459" cy="1425992"/>
          </a:xfrm>
        </p:grpSpPr>
        <p:pic>
          <p:nvPicPr>
            <p:cNvPr id="6672" name="Google Shape;6672;p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73" name="Google Shape;6673;p849"/>
            <p:cNvGrpSpPr/>
            <p:nvPr/>
          </p:nvGrpSpPr>
          <p:grpSpPr>
            <a:xfrm>
              <a:off x="7191542" y="1"/>
              <a:ext cx="5000459" cy="1425992"/>
              <a:chOff x="7186272" y="0"/>
              <a:chExt cx="5005729" cy="1427495"/>
            </a:xfrm>
          </p:grpSpPr>
          <p:sp>
            <p:nvSpPr>
              <p:cNvPr id="6674" name="Google Shape;6674;p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75" name="Google Shape;6675;p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76" name="Google Shape;6676;p84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96"/>
        <p:cNvGrpSpPr/>
        <p:nvPr/>
      </p:nvGrpSpPr>
      <p:grpSpPr>
        <a:xfrm>
          <a:off x="0" y="0"/>
          <a:ext cx="0" cy="0"/>
          <a:chOff x="0" y="0"/>
          <a:chExt cx="0" cy="0"/>
        </a:xfrm>
      </p:grpSpPr>
      <p:grpSp>
        <p:nvGrpSpPr>
          <p:cNvPr id="697" name="Google Shape;697;p122"/>
          <p:cNvGrpSpPr/>
          <p:nvPr/>
        </p:nvGrpSpPr>
        <p:grpSpPr>
          <a:xfrm>
            <a:off x="7191542" y="1"/>
            <a:ext cx="5000459" cy="1425992"/>
            <a:chOff x="7191542" y="1"/>
            <a:chExt cx="5000459" cy="1425992"/>
          </a:xfrm>
        </p:grpSpPr>
        <p:pic>
          <p:nvPicPr>
            <p:cNvPr id="698" name="Google Shape;698;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9" name="Google Shape;699;p122"/>
            <p:cNvGrpSpPr/>
            <p:nvPr/>
          </p:nvGrpSpPr>
          <p:grpSpPr>
            <a:xfrm>
              <a:off x="7191542" y="1"/>
              <a:ext cx="5000459" cy="1425992"/>
              <a:chOff x="7186272" y="0"/>
              <a:chExt cx="5005729" cy="1427495"/>
            </a:xfrm>
          </p:grpSpPr>
          <p:sp>
            <p:nvSpPr>
              <p:cNvPr id="700" name="Google Shape;700;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1" name="Google Shape;701;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2" name="Google Shape;702;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3" name="Google Shape;703;p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4" name="Google Shape;704;p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 name="Google Shape;705;p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6" name="Google Shape;706;p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 name="Google Shape;707;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8" name="Google Shape;708;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9" name="Google Shape;709;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2_Quotation">
  <p:cSld name="2_Quotation 2 3">
    <p:spTree>
      <p:nvGrpSpPr>
        <p:cNvPr id="1" name="Shape 6677"/>
        <p:cNvGrpSpPr/>
        <p:nvPr/>
      </p:nvGrpSpPr>
      <p:grpSpPr>
        <a:xfrm>
          <a:off x="0" y="0"/>
          <a:ext cx="0" cy="0"/>
          <a:chOff x="0" y="0"/>
          <a:chExt cx="0" cy="0"/>
        </a:xfrm>
      </p:grpSpPr>
      <p:sp>
        <p:nvSpPr>
          <p:cNvPr id="6678" name="Google Shape;6678;p8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79" name="Google Shape;6679;p8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80" name="Google Shape;6680;p8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1" name="Google Shape;6681;p8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2" name="Google Shape;6682;p8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83" name="Google Shape;6683;p8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684" name="Google Shape;6684;p850"/>
          <p:cNvGrpSpPr/>
          <p:nvPr/>
        </p:nvGrpSpPr>
        <p:grpSpPr>
          <a:xfrm>
            <a:off x="7191542" y="1"/>
            <a:ext cx="5000459" cy="1425992"/>
            <a:chOff x="7191542" y="1"/>
            <a:chExt cx="5000459" cy="1425992"/>
          </a:xfrm>
        </p:grpSpPr>
        <p:pic>
          <p:nvPicPr>
            <p:cNvPr id="6685" name="Google Shape;6685;p8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86" name="Google Shape;6686;p850"/>
            <p:cNvGrpSpPr/>
            <p:nvPr/>
          </p:nvGrpSpPr>
          <p:grpSpPr>
            <a:xfrm>
              <a:off x="7191542" y="1"/>
              <a:ext cx="5000459" cy="1425992"/>
              <a:chOff x="7186272" y="0"/>
              <a:chExt cx="5005729" cy="1427495"/>
            </a:xfrm>
          </p:grpSpPr>
          <p:sp>
            <p:nvSpPr>
              <p:cNvPr id="6687" name="Google Shape;6687;p8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88" name="Google Shape;6688;p8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689" name="Google Shape;6689;p8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6690"/>
        <p:cNvGrpSpPr/>
        <p:nvPr/>
      </p:nvGrpSpPr>
      <p:grpSpPr>
        <a:xfrm>
          <a:off x="0" y="0"/>
          <a:ext cx="0" cy="0"/>
          <a:chOff x="0" y="0"/>
          <a:chExt cx="0" cy="0"/>
        </a:xfrm>
      </p:grpSpPr>
      <p:sp>
        <p:nvSpPr>
          <p:cNvPr id="6691" name="Google Shape;6691;p85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92" name="Google Shape;6692;p85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93" name="Google Shape;6693;p85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694" name="Google Shape;6694;p851"/>
          <p:cNvSpPr>
            <a:spLocks noGrp="1"/>
          </p:cNvSpPr>
          <p:nvPr>
            <p:ph type="pic" idx="2"/>
          </p:nvPr>
        </p:nvSpPr>
        <p:spPr>
          <a:xfrm>
            <a:off x="7118684" y="233915"/>
            <a:ext cx="5073316" cy="5943600"/>
          </a:xfrm>
          <a:prstGeom prst="rect">
            <a:avLst/>
          </a:prstGeom>
          <a:noFill/>
          <a:ln>
            <a:noFill/>
          </a:ln>
        </p:spPr>
      </p:sp>
      <p:grpSp>
        <p:nvGrpSpPr>
          <p:cNvPr id="6695" name="Google Shape;6695;p851"/>
          <p:cNvGrpSpPr/>
          <p:nvPr/>
        </p:nvGrpSpPr>
        <p:grpSpPr>
          <a:xfrm>
            <a:off x="0" y="5020348"/>
            <a:ext cx="12192000" cy="1837653"/>
            <a:chOff x="0" y="5020348"/>
            <a:chExt cx="12192000" cy="1837653"/>
          </a:xfrm>
        </p:grpSpPr>
        <p:sp>
          <p:nvSpPr>
            <p:cNvPr id="6696" name="Google Shape;6696;p8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97" name="Google Shape;6697;p85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698" name="Google Shape;6698;p85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6699"/>
        <p:cNvGrpSpPr/>
        <p:nvPr/>
      </p:nvGrpSpPr>
      <p:grpSpPr>
        <a:xfrm>
          <a:off x="0" y="0"/>
          <a:ext cx="0" cy="0"/>
          <a:chOff x="0" y="0"/>
          <a:chExt cx="0" cy="0"/>
        </a:xfrm>
      </p:grpSpPr>
      <p:grpSp>
        <p:nvGrpSpPr>
          <p:cNvPr id="6700" name="Google Shape;6700;p852"/>
          <p:cNvGrpSpPr/>
          <p:nvPr/>
        </p:nvGrpSpPr>
        <p:grpSpPr>
          <a:xfrm>
            <a:off x="0" y="5020347"/>
            <a:ext cx="12192000" cy="1837653"/>
            <a:chOff x="0" y="5020347"/>
            <a:chExt cx="12192000" cy="1837653"/>
          </a:xfrm>
        </p:grpSpPr>
        <p:sp>
          <p:nvSpPr>
            <p:cNvPr id="6701" name="Google Shape;6701;p8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02" name="Google Shape;6702;p8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03" name="Google Shape;6703;p8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704" name="Google Shape;6704;p8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705" name="Google Shape;6705;p85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06" name="Google Shape;6706;p85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6707"/>
        <p:cNvGrpSpPr/>
        <p:nvPr/>
      </p:nvGrpSpPr>
      <p:grpSpPr>
        <a:xfrm>
          <a:off x="0" y="0"/>
          <a:ext cx="0" cy="0"/>
          <a:chOff x="0" y="0"/>
          <a:chExt cx="0" cy="0"/>
        </a:xfrm>
      </p:grpSpPr>
      <p:sp>
        <p:nvSpPr>
          <p:cNvPr id="6708" name="Google Shape;6708;p8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09" name="Google Shape;6709;p8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10" name="Google Shape;6710;p853"/>
          <p:cNvGrpSpPr/>
          <p:nvPr/>
        </p:nvGrpSpPr>
        <p:grpSpPr>
          <a:xfrm>
            <a:off x="0" y="5379426"/>
            <a:ext cx="2807368" cy="753891"/>
            <a:chOff x="0" y="5379426"/>
            <a:chExt cx="2807368" cy="753891"/>
          </a:xfrm>
        </p:grpSpPr>
        <p:sp>
          <p:nvSpPr>
            <p:cNvPr id="6711" name="Google Shape;6711;p8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12" name="Google Shape;6712;p8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13" name="Google Shape;6713;p853"/>
          <p:cNvSpPr>
            <a:spLocks noGrp="1"/>
          </p:cNvSpPr>
          <p:nvPr>
            <p:ph type="pic" idx="2"/>
          </p:nvPr>
        </p:nvSpPr>
        <p:spPr>
          <a:xfrm>
            <a:off x="2807368" y="457202"/>
            <a:ext cx="8915400" cy="5943598"/>
          </a:xfrm>
          <a:prstGeom prst="rect">
            <a:avLst/>
          </a:prstGeom>
          <a:noFill/>
          <a:ln>
            <a:noFill/>
          </a:ln>
        </p:spPr>
      </p:sp>
      <p:pic>
        <p:nvPicPr>
          <p:cNvPr id="6714" name="Google Shape;6714;p8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6715"/>
        <p:cNvGrpSpPr/>
        <p:nvPr/>
      </p:nvGrpSpPr>
      <p:grpSpPr>
        <a:xfrm>
          <a:off x="0" y="0"/>
          <a:ext cx="0" cy="0"/>
          <a:chOff x="0" y="0"/>
          <a:chExt cx="0" cy="0"/>
        </a:xfrm>
      </p:grpSpPr>
      <p:sp>
        <p:nvSpPr>
          <p:cNvPr id="6716" name="Google Shape;6716;p8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17" name="Google Shape;6717;p8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18" name="Google Shape;6718;p8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19" name="Google Shape;6719;p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20" name="Google Shape;6720;p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1" name="Google Shape;6721;p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722" name="Google Shape;6722;p854"/>
          <p:cNvGrpSpPr/>
          <p:nvPr/>
        </p:nvGrpSpPr>
        <p:grpSpPr>
          <a:xfrm>
            <a:off x="7191542" y="1"/>
            <a:ext cx="5000459" cy="1425992"/>
            <a:chOff x="7191542" y="1"/>
            <a:chExt cx="5000459" cy="1425992"/>
          </a:xfrm>
        </p:grpSpPr>
        <p:pic>
          <p:nvPicPr>
            <p:cNvPr id="6723" name="Google Shape;6723;p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24" name="Google Shape;6724;p854"/>
            <p:cNvGrpSpPr/>
            <p:nvPr/>
          </p:nvGrpSpPr>
          <p:grpSpPr>
            <a:xfrm>
              <a:off x="7191542" y="1"/>
              <a:ext cx="5000459" cy="1425992"/>
              <a:chOff x="7186272" y="0"/>
              <a:chExt cx="5005729" cy="1427495"/>
            </a:xfrm>
          </p:grpSpPr>
          <p:sp>
            <p:nvSpPr>
              <p:cNvPr id="6725" name="Google Shape;6725;p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26" name="Google Shape;6726;p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27" name="Google Shape;6727;p8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Quotation">
  <p:cSld name="Quotation 14 2">
    <p:spTree>
      <p:nvGrpSpPr>
        <p:cNvPr id="1" name="Shape 6728"/>
        <p:cNvGrpSpPr/>
        <p:nvPr/>
      </p:nvGrpSpPr>
      <p:grpSpPr>
        <a:xfrm>
          <a:off x="0" y="0"/>
          <a:ext cx="0" cy="0"/>
          <a:chOff x="0" y="0"/>
          <a:chExt cx="0" cy="0"/>
        </a:xfrm>
      </p:grpSpPr>
      <p:sp>
        <p:nvSpPr>
          <p:cNvPr id="6729" name="Google Shape;6729;p8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30" name="Google Shape;6730;p8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31" name="Google Shape;6731;p8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32" name="Google Shape;6732;p8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33" name="Google Shape;6733;p8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4" name="Google Shape;6734;p8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735" name="Google Shape;6735;p855"/>
          <p:cNvGrpSpPr/>
          <p:nvPr/>
        </p:nvGrpSpPr>
        <p:grpSpPr>
          <a:xfrm>
            <a:off x="7191542" y="1"/>
            <a:ext cx="5000459" cy="1425992"/>
            <a:chOff x="7191542" y="1"/>
            <a:chExt cx="5000459" cy="1425992"/>
          </a:xfrm>
        </p:grpSpPr>
        <p:pic>
          <p:nvPicPr>
            <p:cNvPr id="6736" name="Google Shape;6736;p8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37" name="Google Shape;6737;p855"/>
            <p:cNvGrpSpPr/>
            <p:nvPr/>
          </p:nvGrpSpPr>
          <p:grpSpPr>
            <a:xfrm>
              <a:off x="7191542" y="1"/>
              <a:ext cx="5000459" cy="1425992"/>
              <a:chOff x="7186272" y="0"/>
              <a:chExt cx="5005729" cy="1427495"/>
            </a:xfrm>
          </p:grpSpPr>
          <p:sp>
            <p:nvSpPr>
              <p:cNvPr id="6738" name="Google Shape;6738;p8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39" name="Google Shape;6739;p8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740" name="Google Shape;6740;p8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6741"/>
        <p:cNvGrpSpPr/>
        <p:nvPr/>
      </p:nvGrpSpPr>
      <p:grpSpPr>
        <a:xfrm>
          <a:off x="0" y="0"/>
          <a:ext cx="0" cy="0"/>
          <a:chOff x="0" y="0"/>
          <a:chExt cx="0" cy="0"/>
        </a:xfrm>
      </p:grpSpPr>
      <p:grpSp>
        <p:nvGrpSpPr>
          <p:cNvPr id="6742" name="Google Shape;6742;p856"/>
          <p:cNvGrpSpPr/>
          <p:nvPr/>
        </p:nvGrpSpPr>
        <p:grpSpPr>
          <a:xfrm>
            <a:off x="7191542" y="1"/>
            <a:ext cx="5000459" cy="1425992"/>
            <a:chOff x="7191542" y="1"/>
            <a:chExt cx="5000459" cy="1425992"/>
          </a:xfrm>
        </p:grpSpPr>
        <p:pic>
          <p:nvPicPr>
            <p:cNvPr id="6743" name="Google Shape;6743;p8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44" name="Google Shape;6744;p856"/>
            <p:cNvGrpSpPr/>
            <p:nvPr/>
          </p:nvGrpSpPr>
          <p:grpSpPr>
            <a:xfrm>
              <a:off x="7191542" y="1"/>
              <a:ext cx="5000459" cy="1425992"/>
              <a:chOff x="7186272" y="0"/>
              <a:chExt cx="5005729" cy="1427495"/>
            </a:xfrm>
          </p:grpSpPr>
          <p:sp>
            <p:nvSpPr>
              <p:cNvPr id="6745" name="Google Shape;6745;p8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6" name="Google Shape;6746;p8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47" name="Google Shape;6747;p8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48" name="Google Shape;6748;p8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49" name="Google Shape;6749;p8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50" name="Google Shape;6750;p8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51" name="Google Shape;6751;p8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6752"/>
        <p:cNvGrpSpPr/>
        <p:nvPr/>
      </p:nvGrpSpPr>
      <p:grpSpPr>
        <a:xfrm>
          <a:off x="0" y="0"/>
          <a:ext cx="0" cy="0"/>
          <a:chOff x="0" y="0"/>
          <a:chExt cx="0" cy="0"/>
        </a:xfrm>
      </p:grpSpPr>
      <p:sp>
        <p:nvSpPr>
          <p:cNvPr id="6753" name="Google Shape;6753;p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54" name="Google Shape;6754;p8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755" name="Google Shape;6755;p857"/>
          <p:cNvGrpSpPr/>
          <p:nvPr/>
        </p:nvGrpSpPr>
        <p:grpSpPr>
          <a:xfrm>
            <a:off x="7191542" y="1"/>
            <a:ext cx="5000459" cy="1425992"/>
            <a:chOff x="7191542" y="1"/>
            <a:chExt cx="5000459" cy="1425992"/>
          </a:xfrm>
        </p:grpSpPr>
        <p:pic>
          <p:nvPicPr>
            <p:cNvPr id="6756" name="Google Shape;6756;p8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57" name="Google Shape;6757;p857"/>
            <p:cNvGrpSpPr/>
            <p:nvPr/>
          </p:nvGrpSpPr>
          <p:grpSpPr>
            <a:xfrm>
              <a:off x="7191542" y="1"/>
              <a:ext cx="5000459" cy="1425992"/>
              <a:chOff x="7186272" y="0"/>
              <a:chExt cx="5005729" cy="1427495"/>
            </a:xfrm>
          </p:grpSpPr>
          <p:sp>
            <p:nvSpPr>
              <p:cNvPr id="6758" name="Google Shape;6758;p8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59" name="Google Shape;6759;p8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60" name="Google Shape;6760;p8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61" name="Google Shape;6761;p8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62" name="Google Shape;6762;p8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63" name="Google Shape;6763;p8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6764"/>
        <p:cNvGrpSpPr/>
        <p:nvPr/>
      </p:nvGrpSpPr>
      <p:grpSpPr>
        <a:xfrm>
          <a:off x="0" y="0"/>
          <a:ext cx="0" cy="0"/>
          <a:chOff x="0" y="0"/>
          <a:chExt cx="0" cy="0"/>
        </a:xfrm>
      </p:grpSpPr>
      <p:grpSp>
        <p:nvGrpSpPr>
          <p:cNvPr id="6765" name="Google Shape;6765;p858"/>
          <p:cNvGrpSpPr/>
          <p:nvPr/>
        </p:nvGrpSpPr>
        <p:grpSpPr>
          <a:xfrm>
            <a:off x="7191542" y="1"/>
            <a:ext cx="5000459" cy="1425992"/>
            <a:chOff x="7191542" y="1"/>
            <a:chExt cx="5000459" cy="1425992"/>
          </a:xfrm>
        </p:grpSpPr>
        <p:pic>
          <p:nvPicPr>
            <p:cNvPr id="6766" name="Google Shape;6766;p8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67" name="Google Shape;6767;p858"/>
            <p:cNvGrpSpPr/>
            <p:nvPr/>
          </p:nvGrpSpPr>
          <p:grpSpPr>
            <a:xfrm>
              <a:off x="7191542" y="1"/>
              <a:ext cx="5000459" cy="1425992"/>
              <a:chOff x="7186272" y="0"/>
              <a:chExt cx="5005729" cy="1427495"/>
            </a:xfrm>
          </p:grpSpPr>
          <p:sp>
            <p:nvSpPr>
              <p:cNvPr id="6768" name="Google Shape;6768;p8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69" name="Google Shape;6769;p8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70" name="Google Shape;6770;p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71" name="Google Shape;6771;p8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72" name="Google Shape;6772;p8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73" name="Google Shape;6773;p8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74" name="Google Shape;6774;p8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75" name="Google Shape;6775;p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76" name="Google Shape;6776;p8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77" name="Google Shape;6777;p8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6778"/>
        <p:cNvGrpSpPr/>
        <p:nvPr/>
      </p:nvGrpSpPr>
      <p:grpSpPr>
        <a:xfrm>
          <a:off x="0" y="0"/>
          <a:ext cx="0" cy="0"/>
          <a:chOff x="0" y="0"/>
          <a:chExt cx="0" cy="0"/>
        </a:xfrm>
      </p:grpSpPr>
      <p:grpSp>
        <p:nvGrpSpPr>
          <p:cNvPr id="6779" name="Google Shape;6779;p859"/>
          <p:cNvGrpSpPr/>
          <p:nvPr/>
        </p:nvGrpSpPr>
        <p:grpSpPr>
          <a:xfrm>
            <a:off x="7191542" y="1"/>
            <a:ext cx="5000459" cy="1425992"/>
            <a:chOff x="7191542" y="1"/>
            <a:chExt cx="5000459" cy="1425992"/>
          </a:xfrm>
        </p:grpSpPr>
        <p:pic>
          <p:nvPicPr>
            <p:cNvPr id="6780" name="Google Shape;6780;p8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81" name="Google Shape;6781;p859"/>
            <p:cNvGrpSpPr/>
            <p:nvPr/>
          </p:nvGrpSpPr>
          <p:grpSpPr>
            <a:xfrm>
              <a:off x="7191542" y="1"/>
              <a:ext cx="5000459" cy="1425992"/>
              <a:chOff x="7186272" y="0"/>
              <a:chExt cx="5005729" cy="1427495"/>
            </a:xfrm>
          </p:grpSpPr>
          <p:sp>
            <p:nvSpPr>
              <p:cNvPr id="6782" name="Google Shape;6782;p8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83" name="Google Shape;6783;p8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84" name="Google Shape;6784;p8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5" name="Google Shape;6785;p8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86" name="Google Shape;6786;p8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87" name="Google Shape;6787;p8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10"/>
        <p:cNvGrpSpPr/>
        <p:nvPr/>
      </p:nvGrpSpPr>
      <p:grpSpPr>
        <a:xfrm>
          <a:off x="0" y="0"/>
          <a:ext cx="0" cy="0"/>
          <a:chOff x="0" y="0"/>
          <a:chExt cx="0" cy="0"/>
        </a:xfrm>
      </p:grpSpPr>
      <p:grpSp>
        <p:nvGrpSpPr>
          <p:cNvPr id="711" name="Google Shape;711;p1206"/>
          <p:cNvGrpSpPr/>
          <p:nvPr/>
        </p:nvGrpSpPr>
        <p:grpSpPr>
          <a:xfrm>
            <a:off x="7191542" y="1"/>
            <a:ext cx="5000459" cy="1425992"/>
            <a:chOff x="7191542" y="1"/>
            <a:chExt cx="5000459" cy="1425992"/>
          </a:xfrm>
        </p:grpSpPr>
        <p:pic>
          <p:nvPicPr>
            <p:cNvPr id="712" name="Google Shape;712;p1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 name="Google Shape;713;p1206"/>
            <p:cNvGrpSpPr/>
            <p:nvPr/>
          </p:nvGrpSpPr>
          <p:grpSpPr>
            <a:xfrm>
              <a:off x="7191542" y="1"/>
              <a:ext cx="5000459" cy="1425992"/>
              <a:chOff x="7186272" y="0"/>
              <a:chExt cx="5005729" cy="1427495"/>
            </a:xfrm>
          </p:grpSpPr>
          <p:sp>
            <p:nvSpPr>
              <p:cNvPr id="714" name="Google Shape;714;p1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5" name="Google Shape;715;p1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6" name="Google Shape;716;p1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7" name="Google Shape;717;p1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8" name="Google Shape;718;p1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 name="Google Shape;719;p1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6788"/>
        <p:cNvGrpSpPr/>
        <p:nvPr/>
      </p:nvGrpSpPr>
      <p:grpSpPr>
        <a:xfrm>
          <a:off x="0" y="0"/>
          <a:ext cx="0" cy="0"/>
          <a:chOff x="0" y="0"/>
          <a:chExt cx="0" cy="0"/>
        </a:xfrm>
      </p:grpSpPr>
      <p:grpSp>
        <p:nvGrpSpPr>
          <p:cNvPr id="6789" name="Google Shape;6789;p860"/>
          <p:cNvGrpSpPr/>
          <p:nvPr/>
        </p:nvGrpSpPr>
        <p:grpSpPr>
          <a:xfrm>
            <a:off x="0" y="0"/>
            <a:ext cx="12192000" cy="2148830"/>
            <a:chOff x="0" y="0"/>
            <a:chExt cx="12192000" cy="2148830"/>
          </a:xfrm>
        </p:grpSpPr>
        <p:sp>
          <p:nvSpPr>
            <p:cNvPr id="6790" name="Google Shape;6790;p8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91" name="Google Shape;6791;p8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792" name="Google Shape;6792;p8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93" name="Google Shape;6793;p8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4" name="Google Shape;6794;p8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795" name="Google Shape;6795;p8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796" name="Google Shape;6796;p8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6797"/>
        <p:cNvGrpSpPr/>
        <p:nvPr/>
      </p:nvGrpSpPr>
      <p:grpSpPr>
        <a:xfrm>
          <a:off x="0" y="0"/>
          <a:ext cx="0" cy="0"/>
          <a:chOff x="0" y="0"/>
          <a:chExt cx="0" cy="0"/>
        </a:xfrm>
      </p:grpSpPr>
      <p:sp>
        <p:nvSpPr>
          <p:cNvPr id="6798" name="Google Shape;6798;p8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99" name="Google Shape;6799;p8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00" name="Google Shape;6800;p8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01" name="Google Shape;6801;p861"/>
          <p:cNvGrpSpPr/>
          <p:nvPr/>
        </p:nvGrpSpPr>
        <p:grpSpPr>
          <a:xfrm>
            <a:off x="7191542" y="1"/>
            <a:ext cx="5000459" cy="1425992"/>
            <a:chOff x="7191542" y="1"/>
            <a:chExt cx="5000459" cy="1425992"/>
          </a:xfrm>
        </p:grpSpPr>
        <p:pic>
          <p:nvPicPr>
            <p:cNvPr id="6802" name="Google Shape;6802;p8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03" name="Google Shape;6803;p861"/>
            <p:cNvGrpSpPr/>
            <p:nvPr/>
          </p:nvGrpSpPr>
          <p:grpSpPr>
            <a:xfrm>
              <a:off x="7191542" y="1"/>
              <a:ext cx="5000459" cy="1425992"/>
              <a:chOff x="7186272" y="0"/>
              <a:chExt cx="5005729" cy="1427495"/>
            </a:xfrm>
          </p:grpSpPr>
          <p:sp>
            <p:nvSpPr>
              <p:cNvPr id="6804" name="Google Shape;6804;p8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05" name="Google Shape;6805;p8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Quotation">
  <p:cSld name="Quotation 12 3">
    <p:spTree>
      <p:nvGrpSpPr>
        <p:cNvPr id="1" name="Shape 6806"/>
        <p:cNvGrpSpPr/>
        <p:nvPr/>
      </p:nvGrpSpPr>
      <p:grpSpPr>
        <a:xfrm>
          <a:off x="0" y="0"/>
          <a:ext cx="0" cy="0"/>
          <a:chOff x="0" y="0"/>
          <a:chExt cx="0" cy="0"/>
        </a:xfrm>
      </p:grpSpPr>
      <p:sp>
        <p:nvSpPr>
          <p:cNvPr id="6807" name="Google Shape;6807;p8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08" name="Google Shape;6808;p8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09" name="Google Shape;6809;p8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10" name="Google Shape;6810;p8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11" name="Google Shape;6811;p8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2" name="Google Shape;6812;p8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13" name="Google Shape;6813;p862"/>
          <p:cNvGrpSpPr/>
          <p:nvPr/>
        </p:nvGrpSpPr>
        <p:grpSpPr>
          <a:xfrm>
            <a:off x="7191542" y="1"/>
            <a:ext cx="5000459" cy="1425992"/>
            <a:chOff x="7191542" y="1"/>
            <a:chExt cx="5000459" cy="1425992"/>
          </a:xfrm>
        </p:grpSpPr>
        <p:pic>
          <p:nvPicPr>
            <p:cNvPr id="6814" name="Google Shape;6814;p8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15" name="Google Shape;6815;p862"/>
            <p:cNvGrpSpPr/>
            <p:nvPr/>
          </p:nvGrpSpPr>
          <p:grpSpPr>
            <a:xfrm>
              <a:off x="7191542" y="1"/>
              <a:ext cx="5000459" cy="1425992"/>
              <a:chOff x="7186272" y="0"/>
              <a:chExt cx="5005729" cy="1427495"/>
            </a:xfrm>
          </p:grpSpPr>
          <p:sp>
            <p:nvSpPr>
              <p:cNvPr id="6816" name="Google Shape;6816;p8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17" name="Google Shape;6817;p8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18" name="Google Shape;6818;p8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3_Quotation">
  <p:cSld name="3_Quotation 2 4">
    <p:spTree>
      <p:nvGrpSpPr>
        <p:cNvPr id="1" name="Shape 6819"/>
        <p:cNvGrpSpPr/>
        <p:nvPr/>
      </p:nvGrpSpPr>
      <p:grpSpPr>
        <a:xfrm>
          <a:off x="0" y="0"/>
          <a:ext cx="0" cy="0"/>
          <a:chOff x="0" y="0"/>
          <a:chExt cx="0" cy="0"/>
        </a:xfrm>
      </p:grpSpPr>
      <p:sp>
        <p:nvSpPr>
          <p:cNvPr id="6820" name="Google Shape;6820;p8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1" name="Google Shape;6821;p8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22" name="Google Shape;6822;p8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23" name="Google Shape;6823;p8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24" name="Google Shape;6824;p8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25" name="Google Shape;6825;p8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26" name="Google Shape;6826;p863"/>
          <p:cNvGrpSpPr/>
          <p:nvPr/>
        </p:nvGrpSpPr>
        <p:grpSpPr>
          <a:xfrm>
            <a:off x="7191542" y="1"/>
            <a:ext cx="5000459" cy="1425992"/>
            <a:chOff x="7191542" y="1"/>
            <a:chExt cx="5000459" cy="1425992"/>
          </a:xfrm>
        </p:grpSpPr>
        <p:pic>
          <p:nvPicPr>
            <p:cNvPr id="6827" name="Google Shape;6827;p8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28" name="Google Shape;6828;p863"/>
            <p:cNvGrpSpPr/>
            <p:nvPr/>
          </p:nvGrpSpPr>
          <p:grpSpPr>
            <a:xfrm>
              <a:off x="7191542" y="1"/>
              <a:ext cx="5000459" cy="1425992"/>
              <a:chOff x="7186272" y="0"/>
              <a:chExt cx="5005729" cy="1427495"/>
            </a:xfrm>
          </p:grpSpPr>
          <p:sp>
            <p:nvSpPr>
              <p:cNvPr id="6829" name="Google Shape;6829;p8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30" name="Google Shape;6830;p8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31" name="Google Shape;6831;p8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Quotation">
  <p:cSld name="Quotation 13 3">
    <p:spTree>
      <p:nvGrpSpPr>
        <p:cNvPr id="1" name="Shape 6832"/>
        <p:cNvGrpSpPr/>
        <p:nvPr/>
      </p:nvGrpSpPr>
      <p:grpSpPr>
        <a:xfrm>
          <a:off x="0" y="0"/>
          <a:ext cx="0" cy="0"/>
          <a:chOff x="0" y="0"/>
          <a:chExt cx="0" cy="0"/>
        </a:xfrm>
      </p:grpSpPr>
      <p:sp>
        <p:nvSpPr>
          <p:cNvPr id="6833" name="Google Shape;6833;p8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34" name="Google Shape;6834;p8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35" name="Google Shape;6835;p8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6" name="Google Shape;6836;p8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37" name="Google Shape;6837;p8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38" name="Google Shape;6838;p8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39" name="Google Shape;6839;p864"/>
          <p:cNvGrpSpPr/>
          <p:nvPr/>
        </p:nvGrpSpPr>
        <p:grpSpPr>
          <a:xfrm>
            <a:off x="7191542" y="1"/>
            <a:ext cx="5000459" cy="1425992"/>
            <a:chOff x="7191542" y="1"/>
            <a:chExt cx="5000459" cy="1425992"/>
          </a:xfrm>
        </p:grpSpPr>
        <p:pic>
          <p:nvPicPr>
            <p:cNvPr id="6840" name="Google Shape;6840;p8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41" name="Google Shape;6841;p864"/>
            <p:cNvGrpSpPr/>
            <p:nvPr/>
          </p:nvGrpSpPr>
          <p:grpSpPr>
            <a:xfrm>
              <a:off x="7191542" y="1"/>
              <a:ext cx="5000459" cy="1425992"/>
              <a:chOff x="7186272" y="0"/>
              <a:chExt cx="5005729" cy="1427495"/>
            </a:xfrm>
          </p:grpSpPr>
          <p:sp>
            <p:nvSpPr>
              <p:cNvPr id="6842" name="Google Shape;6842;p8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43" name="Google Shape;6843;p8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44" name="Google Shape;6844;p8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Quotation">
  <p:cSld name="Quotation 12 4">
    <p:spTree>
      <p:nvGrpSpPr>
        <p:cNvPr id="1" name="Shape 6845"/>
        <p:cNvGrpSpPr/>
        <p:nvPr/>
      </p:nvGrpSpPr>
      <p:grpSpPr>
        <a:xfrm>
          <a:off x="0" y="0"/>
          <a:ext cx="0" cy="0"/>
          <a:chOff x="0" y="0"/>
          <a:chExt cx="0" cy="0"/>
        </a:xfrm>
      </p:grpSpPr>
      <p:sp>
        <p:nvSpPr>
          <p:cNvPr id="6846" name="Google Shape;6846;p8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47" name="Google Shape;6847;p8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48" name="Google Shape;6848;p8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49" name="Google Shape;6849;p8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50" name="Google Shape;6850;p8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1" name="Google Shape;6851;p8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52" name="Google Shape;6852;p865"/>
          <p:cNvGrpSpPr/>
          <p:nvPr/>
        </p:nvGrpSpPr>
        <p:grpSpPr>
          <a:xfrm>
            <a:off x="7191542" y="1"/>
            <a:ext cx="5000459" cy="1425992"/>
            <a:chOff x="7191542" y="1"/>
            <a:chExt cx="5000459" cy="1425992"/>
          </a:xfrm>
        </p:grpSpPr>
        <p:pic>
          <p:nvPicPr>
            <p:cNvPr id="6853" name="Google Shape;6853;p8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4" name="Google Shape;6854;p865"/>
            <p:cNvGrpSpPr/>
            <p:nvPr/>
          </p:nvGrpSpPr>
          <p:grpSpPr>
            <a:xfrm>
              <a:off x="7191542" y="1"/>
              <a:ext cx="5000459" cy="1425992"/>
              <a:chOff x="7186272" y="0"/>
              <a:chExt cx="5005729" cy="1427495"/>
            </a:xfrm>
          </p:grpSpPr>
          <p:sp>
            <p:nvSpPr>
              <p:cNvPr id="6855" name="Google Shape;6855;p8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56" name="Google Shape;6856;p8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57" name="Google Shape;6857;p8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3_Quotation">
  <p:cSld name="3_Quotation 2 5">
    <p:spTree>
      <p:nvGrpSpPr>
        <p:cNvPr id="1" name="Shape 6858"/>
        <p:cNvGrpSpPr/>
        <p:nvPr/>
      </p:nvGrpSpPr>
      <p:grpSpPr>
        <a:xfrm>
          <a:off x="0" y="0"/>
          <a:ext cx="0" cy="0"/>
          <a:chOff x="0" y="0"/>
          <a:chExt cx="0" cy="0"/>
        </a:xfrm>
      </p:grpSpPr>
      <p:sp>
        <p:nvSpPr>
          <p:cNvPr id="6859" name="Google Shape;6859;p8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60" name="Google Shape;6860;p8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61" name="Google Shape;6861;p8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62" name="Google Shape;6862;p8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63" name="Google Shape;6863;p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64" name="Google Shape;6864;p8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65" name="Google Shape;6865;p866"/>
          <p:cNvGrpSpPr/>
          <p:nvPr/>
        </p:nvGrpSpPr>
        <p:grpSpPr>
          <a:xfrm>
            <a:off x="7191542" y="1"/>
            <a:ext cx="5000459" cy="1425992"/>
            <a:chOff x="7191542" y="1"/>
            <a:chExt cx="5000459" cy="1425992"/>
          </a:xfrm>
        </p:grpSpPr>
        <p:pic>
          <p:nvPicPr>
            <p:cNvPr id="6866" name="Google Shape;6866;p8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67" name="Google Shape;6867;p866"/>
            <p:cNvGrpSpPr/>
            <p:nvPr/>
          </p:nvGrpSpPr>
          <p:grpSpPr>
            <a:xfrm>
              <a:off x="7191542" y="1"/>
              <a:ext cx="5000459" cy="1425992"/>
              <a:chOff x="7186272" y="0"/>
              <a:chExt cx="5005729" cy="1427495"/>
            </a:xfrm>
          </p:grpSpPr>
          <p:sp>
            <p:nvSpPr>
              <p:cNvPr id="6868" name="Google Shape;6868;p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69" name="Google Shape;6869;p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70" name="Google Shape;6870;p8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Quotation">
  <p:cSld name="Quotation 13 4">
    <p:spTree>
      <p:nvGrpSpPr>
        <p:cNvPr id="1" name="Shape 6871"/>
        <p:cNvGrpSpPr/>
        <p:nvPr/>
      </p:nvGrpSpPr>
      <p:grpSpPr>
        <a:xfrm>
          <a:off x="0" y="0"/>
          <a:ext cx="0" cy="0"/>
          <a:chOff x="0" y="0"/>
          <a:chExt cx="0" cy="0"/>
        </a:xfrm>
      </p:grpSpPr>
      <p:sp>
        <p:nvSpPr>
          <p:cNvPr id="6872" name="Google Shape;6872;p8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73" name="Google Shape;6873;p8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74" name="Google Shape;6874;p8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75" name="Google Shape;6875;p8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76" name="Google Shape;6876;p8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77" name="Google Shape;6877;p8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78" name="Google Shape;6878;p867"/>
          <p:cNvGrpSpPr/>
          <p:nvPr/>
        </p:nvGrpSpPr>
        <p:grpSpPr>
          <a:xfrm>
            <a:off x="7191542" y="1"/>
            <a:ext cx="5000459" cy="1425992"/>
            <a:chOff x="7191542" y="1"/>
            <a:chExt cx="5000459" cy="1425992"/>
          </a:xfrm>
        </p:grpSpPr>
        <p:pic>
          <p:nvPicPr>
            <p:cNvPr id="6879" name="Google Shape;6879;p8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0" name="Google Shape;6880;p867"/>
            <p:cNvGrpSpPr/>
            <p:nvPr/>
          </p:nvGrpSpPr>
          <p:grpSpPr>
            <a:xfrm>
              <a:off x="7191542" y="1"/>
              <a:ext cx="5000459" cy="1425992"/>
              <a:chOff x="7186272" y="0"/>
              <a:chExt cx="5005729" cy="1427495"/>
            </a:xfrm>
          </p:grpSpPr>
          <p:sp>
            <p:nvSpPr>
              <p:cNvPr id="6881" name="Google Shape;6881;p8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82" name="Google Shape;6882;p8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83" name="Google Shape;6883;p8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Quotation">
  <p:cSld name="Quotation 12 5">
    <p:spTree>
      <p:nvGrpSpPr>
        <p:cNvPr id="1" name="Shape 6884"/>
        <p:cNvGrpSpPr/>
        <p:nvPr/>
      </p:nvGrpSpPr>
      <p:grpSpPr>
        <a:xfrm>
          <a:off x="0" y="0"/>
          <a:ext cx="0" cy="0"/>
          <a:chOff x="0" y="0"/>
          <a:chExt cx="0" cy="0"/>
        </a:xfrm>
      </p:grpSpPr>
      <p:sp>
        <p:nvSpPr>
          <p:cNvPr id="6885" name="Google Shape;6885;p86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86" name="Google Shape;6886;p86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87" name="Google Shape;6887;p8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88" name="Google Shape;6888;p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89" name="Google Shape;6889;p8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90" name="Google Shape;6890;p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891" name="Google Shape;6891;p868"/>
          <p:cNvGrpSpPr/>
          <p:nvPr/>
        </p:nvGrpSpPr>
        <p:grpSpPr>
          <a:xfrm>
            <a:off x="7191542" y="1"/>
            <a:ext cx="5000459" cy="1425992"/>
            <a:chOff x="7191542" y="1"/>
            <a:chExt cx="5000459" cy="1425992"/>
          </a:xfrm>
        </p:grpSpPr>
        <p:pic>
          <p:nvPicPr>
            <p:cNvPr id="6892" name="Google Shape;6892;p8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93" name="Google Shape;6893;p868"/>
            <p:cNvGrpSpPr/>
            <p:nvPr/>
          </p:nvGrpSpPr>
          <p:grpSpPr>
            <a:xfrm>
              <a:off x="7191542" y="1"/>
              <a:ext cx="5000459" cy="1425992"/>
              <a:chOff x="7186272" y="0"/>
              <a:chExt cx="5005729" cy="1427495"/>
            </a:xfrm>
          </p:grpSpPr>
          <p:sp>
            <p:nvSpPr>
              <p:cNvPr id="6894" name="Google Shape;6894;p8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5" name="Google Shape;6895;p8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896" name="Google Shape;6896;p86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3_Quotation">
  <p:cSld name="3_Quotation 2 6">
    <p:spTree>
      <p:nvGrpSpPr>
        <p:cNvPr id="1" name="Shape 6897"/>
        <p:cNvGrpSpPr/>
        <p:nvPr/>
      </p:nvGrpSpPr>
      <p:grpSpPr>
        <a:xfrm>
          <a:off x="0" y="0"/>
          <a:ext cx="0" cy="0"/>
          <a:chOff x="0" y="0"/>
          <a:chExt cx="0" cy="0"/>
        </a:xfrm>
      </p:grpSpPr>
      <p:sp>
        <p:nvSpPr>
          <p:cNvPr id="6898" name="Google Shape;6898;p86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99" name="Google Shape;6899;p86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00" name="Google Shape;6900;p8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01" name="Google Shape;6901;p8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2" name="Google Shape;6902;p8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03" name="Google Shape;6903;p8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904" name="Google Shape;6904;p869"/>
          <p:cNvGrpSpPr/>
          <p:nvPr/>
        </p:nvGrpSpPr>
        <p:grpSpPr>
          <a:xfrm>
            <a:off x="7191542" y="1"/>
            <a:ext cx="5000459" cy="1425992"/>
            <a:chOff x="7191542" y="1"/>
            <a:chExt cx="5000459" cy="1425992"/>
          </a:xfrm>
        </p:grpSpPr>
        <p:pic>
          <p:nvPicPr>
            <p:cNvPr id="6905" name="Google Shape;6905;p8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06" name="Google Shape;6906;p869"/>
            <p:cNvGrpSpPr/>
            <p:nvPr/>
          </p:nvGrpSpPr>
          <p:grpSpPr>
            <a:xfrm>
              <a:off x="7191542" y="1"/>
              <a:ext cx="5000459" cy="1425992"/>
              <a:chOff x="7186272" y="0"/>
              <a:chExt cx="5005729" cy="1427495"/>
            </a:xfrm>
          </p:grpSpPr>
          <p:sp>
            <p:nvSpPr>
              <p:cNvPr id="6907" name="Google Shape;6907;p8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08" name="Google Shape;6908;p8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09" name="Google Shape;6909;p8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720"/>
        <p:cNvGrpSpPr/>
        <p:nvPr/>
      </p:nvGrpSpPr>
      <p:grpSpPr>
        <a:xfrm>
          <a:off x="0" y="0"/>
          <a:ext cx="0" cy="0"/>
          <a:chOff x="0" y="0"/>
          <a:chExt cx="0" cy="0"/>
        </a:xfrm>
      </p:grpSpPr>
      <p:grpSp>
        <p:nvGrpSpPr>
          <p:cNvPr id="721" name="Google Shape;721;p1207"/>
          <p:cNvGrpSpPr/>
          <p:nvPr/>
        </p:nvGrpSpPr>
        <p:grpSpPr>
          <a:xfrm>
            <a:off x="0" y="0"/>
            <a:ext cx="12192000" cy="2148830"/>
            <a:chOff x="0" y="0"/>
            <a:chExt cx="12192000" cy="2148830"/>
          </a:xfrm>
        </p:grpSpPr>
        <p:sp>
          <p:nvSpPr>
            <p:cNvPr id="722" name="Google Shape;722;p1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3" name="Google Shape;723;p1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24" name="Google Shape;724;p1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5" name="Google Shape;725;p1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6" name="Google Shape;726;p1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27" name="Google Shape;727;p1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8" name="Google Shape;728;p1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Quotation">
  <p:cSld name="Quotation 13 5">
    <p:spTree>
      <p:nvGrpSpPr>
        <p:cNvPr id="1" name="Shape 6910"/>
        <p:cNvGrpSpPr/>
        <p:nvPr/>
      </p:nvGrpSpPr>
      <p:grpSpPr>
        <a:xfrm>
          <a:off x="0" y="0"/>
          <a:ext cx="0" cy="0"/>
          <a:chOff x="0" y="0"/>
          <a:chExt cx="0" cy="0"/>
        </a:xfrm>
      </p:grpSpPr>
      <p:sp>
        <p:nvSpPr>
          <p:cNvPr id="6911" name="Google Shape;6911;p8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12" name="Google Shape;6912;p8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3" name="Google Shape;6913;p8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14" name="Google Shape;6914;p8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15" name="Google Shape;6915;p8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6" name="Google Shape;6916;p8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917" name="Google Shape;6917;p870"/>
          <p:cNvGrpSpPr/>
          <p:nvPr/>
        </p:nvGrpSpPr>
        <p:grpSpPr>
          <a:xfrm>
            <a:off x="7191542" y="1"/>
            <a:ext cx="5000459" cy="1425992"/>
            <a:chOff x="7191542" y="1"/>
            <a:chExt cx="5000459" cy="1425992"/>
          </a:xfrm>
        </p:grpSpPr>
        <p:pic>
          <p:nvPicPr>
            <p:cNvPr id="6918" name="Google Shape;6918;p8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19" name="Google Shape;6919;p870"/>
            <p:cNvGrpSpPr/>
            <p:nvPr/>
          </p:nvGrpSpPr>
          <p:grpSpPr>
            <a:xfrm>
              <a:off x="7191542" y="1"/>
              <a:ext cx="5000459" cy="1425992"/>
              <a:chOff x="7186272" y="0"/>
              <a:chExt cx="5005729" cy="1427495"/>
            </a:xfrm>
          </p:grpSpPr>
          <p:sp>
            <p:nvSpPr>
              <p:cNvPr id="6920" name="Google Shape;6920;p8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21" name="Google Shape;6921;p8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22" name="Google Shape;6922;p8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6923"/>
        <p:cNvGrpSpPr/>
        <p:nvPr/>
      </p:nvGrpSpPr>
      <p:grpSpPr>
        <a:xfrm>
          <a:off x="0" y="0"/>
          <a:ext cx="0" cy="0"/>
          <a:chOff x="0" y="0"/>
          <a:chExt cx="0" cy="0"/>
        </a:xfrm>
      </p:grpSpPr>
      <p:sp>
        <p:nvSpPr>
          <p:cNvPr id="6924" name="Google Shape;6924;p871"/>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25" name="Google Shape;6925;p871"/>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926" name="Google Shape;6926;p871"/>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6927" name="Google Shape;6927;p871"/>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6928" name="Google Shape;6928;p871"/>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6929" name="Google Shape;6929;p871"/>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30" name="Google Shape;6930;p871"/>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31" name="Google Shape;6931;p871"/>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6932" name="Google Shape;6932;p871"/>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1400"/>
              <a:buFont typeface="Calibri"/>
              <a:buNone/>
              <a:defRPr>
                <a:solidFill>
                  <a:srgbClr val="919497"/>
                </a:solidFill>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6933" name="Google Shape;6933;p87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4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6934" name="Google Shape;6934;p871"/>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2_Quotation">
  <p:cSld name="2_Quotation 2 4">
    <p:spTree>
      <p:nvGrpSpPr>
        <p:cNvPr id="1" name="Shape 6935"/>
        <p:cNvGrpSpPr/>
        <p:nvPr/>
      </p:nvGrpSpPr>
      <p:grpSpPr>
        <a:xfrm>
          <a:off x="0" y="0"/>
          <a:ext cx="0" cy="0"/>
          <a:chOff x="0" y="0"/>
          <a:chExt cx="0" cy="0"/>
        </a:xfrm>
      </p:grpSpPr>
      <p:sp>
        <p:nvSpPr>
          <p:cNvPr id="6936" name="Google Shape;6936;p8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37" name="Google Shape;6937;p8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38" name="Google Shape;6938;p8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39" name="Google Shape;6939;p8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40" name="Google Shape;6940;p8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41" name="Google Shape;6941;p8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942" name="Google Shape;6942;p872"/>
          <p:cNvGrpSpPr/>
          <p:nvPr/>
        </p:nvGrpSpPr>
        <p:grpSpPr>
          <a:xfrm>
            <a:off x="7191542" y="1"/>
            <a:ext cx="5000459" cy="1425992"/>
            <a:chOff x="7191542" y="1"/>
            <a:chExt cx="5000459" cy="1425992"/>
          </a:xfrm>
        </p:grpSpPr>
        <p:pic>
          <p:nvPicPr>
            <p:cNvPr id="6943" name="Google Shape;6943;p8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44" name="Google Shape;6944;p872"/>
            <p:cNvGrpSpPr/>
            <p:nvPr/>
          </p:nvGrpSpPr>
          <p:grpSpPr>
            <a:xfrm>
              <a:off x="7191542" y="1"/>
              <a:ext cx="5000459" cy="1425992"/>
              <a:chOff x="7186272" y="0"/>
              <a:chExt cx="5005729" cy="1427495"/>
            </a:xfrm>
          </p:grpSpPr>
          <p:sp>
            <p:nvSpPr>
              <p:cNvPr id="6945" name="Google Shape;6945;p8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46" name="Google Shape;6946;p8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47" name="Google Shape;6947;p8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2_Quotation">
  <p:cSld name="2_Quotation 2 5">
    <p:spTree>
      <p:nvGrpSpPr>
        <p:cNvPr id="1" name="Shape 6948"/>
        <p:cNvGrpSpPr/>
        <p:nvPr/>
      </p:nvGrpSpPr>
      <p:grpSpPr>
        <a:xfrm>
          <a:off x="0" y="0"/>
          <a:ext cx="0" cy="0"/>
          <a:chOff x="0" y="0"/>
          <a:chExt cx="0" cy="0"/>
        </a:xfrm>
      </p:grpSpPr>
      <p:sp>
        <p:nvSpPr>
          <p:cNvPr id="6949" name="Google Shape;6949;p8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50" name="Google Shape;6950;p8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51" name="Google Shape;6951;p8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52" name="Google Shape;6952;p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53" name="Google Shape;6953;p8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54" name="Google Shape;6954;p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955" name="Google Shape;6955;p873"/>
          <p:cNvGrpSpPr/>
          <p:nvPr/>
        </p:nvGrpSpPr>
        <p:grpSpPr>
          <a:xfrm>
            <a:off x="7191542" y="1"/>
            <a:ext cx="5000459" cy="1425992"/>
            <a:chOff x="7191542" y="1"/>
            <a:chExt cx="5000459" cy="1425992"/>
          </a:xfrm>
        </p:grpSpPr>
        <p:pic>
          <p:nvPicPr>
            <p:cNvPr id="6956" name="Google Shape;6956;p8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57" name="Google Shape;6957;p873"/>
            <p:cNvGrpSpPr/>
            <p:nvPr/>
          </p:nvGrpSpPr>
          <p:grpSpPr>
            <a:xfrm>
              <a:off x="7191542" y="1"/>
              <a:ext cx="5000459" cy="1425992"/>
              <a:chOff x="7186272" y="0"/>
              <a:chExt cx="5005729" cy="1427495"/>
            </a:xfrm>
          </p:grpSpPr>
          <p:sp>
            <p:nvSpPr>
              <p:cNvPr id="6958" name="Google Shape;6958;p8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59" name="Google Shape;6959;p8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60" name="Google Shape;6960;p8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2_Quotation">
  <p:cSld name="2_Quotation 2 6">
    <p:spTree>
      <p:nvGrpSpPr>
        <p:cNvPr id="1" name="Shape 6961"/>
        <p:cNvGrpSpPr/>
        <p:nvPr/>
      </p:nvGrpSpPr>
      <p:grpSpPr>
        <a:xfrm>
          <a:off x="0" y="0"/>
          <a:ext cx="0" cy="0"/>
          <a:chOff x="0" y="0"/>
          <a:chExt cx="0" cy="0"/>
        </a:xfrm>
      </p:grpSpPr>
      <p:sp>
        <p:nvSpPr>
          <p:cNvPr id="6962" name="Google Shape;6962;p8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63" name="Google Shape;6963;p8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4" name="Google Shape;6964;p8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65" name="Google Shape;6965;p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66" name="Google Shape;6966;p8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67" name="Google Shape;6967;p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6968" name="Google Shape;6968;p874"/>
          <p:cNvGrpSpPr/>
          <p:nvPr/>
        </p:nvGrpSpPr>
        <p:grpSpPr>
          <a:xfrm>
            <a:off x="7191542" y="1"/>
            <a:ext cx="5000459" cy="1425992"/>
            <a:chOff x="7191542" y="1"/>
            <a:chExt cx="5000459" cy="1425992"/>
          </a:xfrm>
        </p:grpSpPr>
        <p:pic>
          <p:nvPicPr>
            <p:cNvPr id="6969" name="Google Shape;6969;p8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970" name="Google Shape;6970;p874"/>
            <p:cNvGrpSpPr/>
            <p:nvPr/>
          </p:nvGrpSpPr>
          <p:grpSpPr>
            <a:xfrm>
              <a:off x="7191542" y="1"/>
              <a:ext cx="5000459" cy="1425992"/>
              <a:chOff x="7186272" y="0"/>
              <a:chExt cx="5005729" cy="1427495"/>
            </a:xfrm>
          </p:grpSpPr>
          <p:sp>
            <p:nvSpPr>
              <p:cNvPr id="6971" name="Google Shape;6971;p8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72" name="Google Shape;6972;p8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973" name="Google Shape;6973;p8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Cover">
  <p:cSld name="Cover 9 2">
    <p:spTree>
      <p:nvGrpSpPr>
        <p:cNvPr id="1" name="Shape 6974"/>
        <p:cNvGrpSpPr/>
        <p:nvPr/>
      </p:nvGrpSpPr>
      <p:grpSpPr>
        <a:xfrm>
          <a:off x="0" y="0"/>
          <a:ext cx="0" cy="0"/>
          <a:chOff x="0" y="0"/>
          <a:chExt cx="0" cy="0"/>
        </a:xfrm>
      </p:grpSpPr>
      <p:sp>
        <p:nvSpPr>
          <p:cNvPr id="6975" name="Google Shape;6975;p87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76" name="Google Shape;6976;p87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77" name="Google Shape;6977;p87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78" name="Google Shape;6978;p875"/>
          <p:cNvSpPr>
            <a:spLocks noGrp="1"/>
          </p:cNvSpPr>
          <p:nvPr>
            <p:ph type="pic" idx="2"/>
          </p:nvPr>
        </p:nvSpPr>
        <p:spPr>
          <a:xfrm>
            <a:off x="7118684" y="233915"/>
            <a:ext cx="5073316" cy="5943600"/>
          </a:xfrm>
          <a:prstGeom prst="rect">
            <a:avLst/>
          </a:prstGeom>
          <a:noFill/>
          <a:ln>
            <a:noFill/>
          </a:ln>
        </p:spPr>
      </p:sp>
      <p:grpSp>
        <p:nvGrpSpPr>
          <p:cNvPr id="6979" name="Google Shape;6979;p875"/>
          <p:cNvGrpSpPr/>
          <p:nvPr/>
        </p:nvGrpSpPr>
        <p:grpSpPr>
          <a:xfrm>
            <a:off x="0" y="5020348"/>
            <a:ext cx="12192000" cy="1837653"/>
            <a:chOff x="0" y="5020348"/>
            <a:chExt cx="12192000" cy="1837653"/>
          </a:xfrm>
        </p:grpSpPr>
        <p:sp>
          <p:nvSpPr>
            <p:cNvPr id="6980" name="Google Shape;6980;p8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81" name="Google Shape;6981;p87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982" name="Google Shape;6982;p8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Divider">
  <p:cSld name="Divider 10 2">
    <p:bg>
      <p:bgPr>
        <a:solidFill>
          <a:schemeClr val="lt2"/>
        </a:solidFill>
        <a:effectLst/>
      </p:bgPr>
    </p:bg>
    <p:spTree>
      <p:nvGrpSpPr>
        <p:cNvPr id="1" name="Shape 6983"/>
        <p:cNvGrpSpPr/>
        <p:nvPr/>
      </p:nvGrpSpPr>
      <p:grpSpPr>
        <a:xfrm>
          <a:off x="0" y="0"/>
          <a:ext cx="0" cy="0"/>
          <a:chOff x="0" y="0"/>
          <a:chExt cx="0" cy="0"/>
        </a:xfrm>
      </p:grpSpPr>
      <p:grpSp>
        <p:nvGrpSpPr>
          <p:cNvPr id="6984" name="Google Shape;6984;p876"/>
          <p:cNvGrpSpPr/>
          <p:nvPr/>
        </p:nvGrpSpPr>
        <p:grpSpPr>
          <a:xfrm>
            <a:off x="0" y="5020347"/>
            <a:ext cx="12192000" cy="1837653"/>
            <a:chOff x="0" y="5020347"/>
            <a:chExt cx="12192000" cy="1837653"/>
          </a:xfrm>
        </p:grpSpPr>
        <p:sp>
          <p:nvSpPr>
            <p:cNvPr id="6985" name="Google Shape;6985;p87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86" name="Google Shape;6986;p8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87" name="Google Shape;6987;p87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988" name="Google Shape;6988;p8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989" name="Google Shape;6989;p87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90" name="Google Shape;6990;p87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Photo Slide">
  <p:cSld name="Photo Slide 9 2">
    <p:spTree>
      <p:nvGrpSpPr>
        <p:cNvPr id="1" name="Shape 6991"/>
        <p:cNvGrpSpPr/>
        <p:nvPr/>
      </p:nvGrpSpPr>
      <p:grpSpPr>
        <a:xfrm>
          <a:off x="0" y="0"/>
          <a:ext cx="0" cy="0"/>
          <a:chOff x="0" y="0"/>
          <a:chExt cx="0" cy="0"/>
        </a:xfrm>
      </p:grpSpPr>
      <p:sp>
        <p:nvSpPr>
          <p:cNvPr id="6992" name="Google Shape;6992;p12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993" name="Google Shape;6993;p12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994" name="Google Shape;6994;p1252"/>
          <p:cNvGrpSpPr/>
          <p:nvPr/>
        </p:nvGrpSpPr>
        <p:grpSpPr>
          <a:xfrm>
            <a:off x="0" y="5379426"/>
            <a:ext cx="2807368" cy="753891"/>
            <a:chOff x="0" y="5379426"/>
            <a:chExt cx="2807368" cy="753891"/>
          </a:xfrm>
        </p:grpSpPr>
        <p:sp>
          <p:nvSpPr>
            <p:cNvPr id="6995" name="Google Shape;6995;p12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96" name="Google Shape;6996;p12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997" name="Google Shape;6997;p1252"/>
          <p:cNvSpPr>
            <a:spLocks noGrp="1"/>
          </p:cNvSpPr>
          <p:nvPr>
            <p:ph type="pic" idx="2"/>
          </p:nvPr>
        </p:nvSpPr>
        <p:spPr>
          <a:xfrm>
            <a:off x="2807368" y="457202"/>
            <a:ext cx="8915400" cy="5943598"/>
          </a:xfrm>
          <a:prstGeom prst="rect">
            <a:avLst/>
          </a:prstGeom>
          <a:noFill/>
          <a:ln>
            <a:noFill/>
          </a:ln>
        </p:spPr>
      </p:sp>
      <p:pic>
        <p:nvPicPr>
          <p:cNvPr id="6998" name="Google Shape;6998;p125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Quotation">
  <p:cSld name="Quotation 14 3">
    <p:spTree>
      <p:nvGrpSpPr>
        <p:cNvPr id="1" name="Shape 6999"/>
        <p:cNvGrpSpPr/>
        <p:nvPr/>
      </p:nvGrpSpPr>
      <p:grpSpPr>
        <a:xfrm>
          <a:off x="0" y="0"/>
          <a:ext cx="0" cy="0"/>
          <a:chOff x="0" y="0"/>
          <a:chExt cx="0" cy="0"/>
        </a:xfrm>
      </p:grpSpPr>
      <p:sp>
        <p:nvSpPr>
          <p:cNvPr id="7000" name="Google Shape;7000;p12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01" name="Google Shape;7001;p12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02" name="Google Shape;7002;p12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03" name="Google Shape;7003;p12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04" name="Google Shape;7004;p12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05" name="Google Shape;7005;p12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006" name="Google Shape;7006;p1253"/>
          <p:cNvGrpSpPr/>
          <p:nvPr/>
        </p:nvGrpSpPr>
        <p:grpSpPr>
          <a:xfrm>
            <a:off x="7191542" y="1"/>
            <a:ext cx="5000459" cy="1425992"/>
            <a:chOff x="7191542" y="1"/>
            <a:chExt cx="5000459" cy="1425992"/>
          </a:xfrm>
        </p:grpSpPr>
        <p:pic>
          <p:nvPicPr>
            <p:cNvPr id="7007" name="Google Shape;7007;p12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08" name="Google Shape;7008;p1253"/>
            <p:cNvGrpSpPr/>
            <p:nvPr/>
          </p:nvGrpSpPr>
          <p:grpSpPr>
            <a:xfrm>
              <a:off x="7191542" y="1"/>
              <a:ext cx="5000459" cy="1425992"/>
              <a:chOff x="7186272" y="0"/>
              <a:chExt cx="5005729" cy="1427495"/>
            </a:xfrm>
          </p:grpSpPr>
          <p:sp>
            <p:nvSpPr>
              <p:cNvPr id="7009" name="Google Shape;7009;p12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10" name="Google Shape;7010;p12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011" name="Google Shape;7011;p12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Quotation">
  <p:cSld name="Quotation 14 4">
    <p:spTree>
      <p:nvGrpSpPr>
        <p:cNvPr id="1" name="Shape 7012"/>
        <p:cNvGrpSpPr/>
        <p:nvPr/>
      </p:nvGrpSpPr>
      <p:grpSpPr>
        <a:xfrm>
          <a:off x="0" y="0"/>
          <a:ext cx="0" cy="0"/>
          <a:chOff x="0" y="0"/>
          <a:chExt cx="0" cy="0"/>
        </a:xfrm>
      </p:grpSpPr>
      <p:sp>
        <p:nvSpPr>
          <p:cNvPr id="7013" name="Google Shape;7013;p12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14" name="Google Shape;7014;p12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15" name="Google Shape;7015;p12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16" name="Google Shape;7016;p12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17" name="Google Shape;7017;p12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18" name="Google Shape;7018;p12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019" name="Google Shape;7019;p1254"/>
          <p:cNvGrpSpPr/>
          <p:nvPr/>
        </p:nvGrpSpPr>
        <p:grpSpPr>
          <a:xfrm>
            <a:off x="7191542" y="1"/>
            <a:ext cx="5000459" cy="1425992"/>
            <a:chOff x="7191542" y="1"/>
            <a:chExt cx="5000459" cy="1425992"/>
          </a:xfrm>
        </p:grpSpPr>
        <p:pic>
          <p:nvPicPr>
            <p:cNvPr id="7020" name="Google Shape;7020;p12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21" name="Google Shape;7021;p1254"/>
            <p:cNvGrpSpPr/>
            <p:nvPr/>
          </p:nvGrpSpPr>
          <p:grpSpPr>
            <a:xfrm>
              <a:off x="7191542" y="1"/>
              <a:ext cx="5000459" cy="1425992"/>
              <a:chOff x="7186272" y="0"/>
              <a:chExt cx="5005729" cy="1427495"/>
            </a:xfrm>
          </p:grpSpPr>
          <p:sp>
            <p:nvSpPr>
              <p:cNvPr id="7022" name="Google Shape;7022;p12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23" name="Google Shape;7023;p12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024" name="Google Shape;7024;p125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729"/>
        <p:cNvGrpSpPr/>
        <p:nvPr/>
      </p:nvGrpSpPr>
      <p:grpSpPr>
        <a:xfrm>
          <a:off x="0" y="0"/>
          <a:ext cx="0" cy="0"/>
          <a:chOff x="0" y="0"/>
          <a:chExt cx="0" cy="0"/>
        </a:xfrm>
      </p:grpSpPr>
      <p:sp>
        <p:nvSpPr>
          <p:cNvPr id="730" name="Google Shape;730;p1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 name="Google Shape;731;p1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 name="Google Shape;732;p1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3" name="Google Shape;733;p1208"/>
          <p:cNvGrpSpPr/>
          <p:nvPr/>
        </p:nvGrpSpPr>
        <p:grpSpPr>
          <a:xfrm>
            <a:off x="7191542" y="1"/>
            <a:ext cx="5000459" cy="1425992"/>
            <a:chOff x="7191542" y="1"/>
            <a:chExt cx="5000459" cy="1425992"/>
          </a:xfrm>
        </p:grpSpPr>
        <p:pic>
          <p:nvPicPr>
            <p:cNvPr id="734" name="Google Shape;734;p1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5" name="Google Shape;735;p1208"/>
            <p:cNvGrpSpPr/>
            <p:nvPr/>
          </p:nvGrpSpPr>
          <p:grpSpPr>
            <a:xfrm>
              <a:off x="7191542" y="1"/>
              <a:ext cx="5000459" cy="1425992"/>
              <a:chOff x="7186272" y="0"/>
              <a:chExt cx="5005729" cy="1427495"/>
            </a:xfrm>
          </p:grpSpPr>
          <p:sp>
            <p:nvSpPr>
              <p:cNvPr id="736" name="Google Shape;736;p1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7" name="Google Shape;737;p1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Quotation">
  <p:cSld name="Quotation 14 5">
    <p:spTree>
      <p:nvGrpSpPr>
        <p:cNvPr id="1" name="Shape 7025"/>
        <p:cNvGrpSpPr/>
        <p:nvPr/>
      </p:nvGrpSpPr>
      <p:grpSpPr>
        <a:xfrm>
          <a:off x="0" y="0"/>
          <a:ext cx="0" cy="0"/>
          <a:chOff x="0" y="0"/>
          <a:chExt cx="0" cy="0"/>
        </a:xfrm>
      </p:grpSpPr>
      <p:sp>
        <p:nvSpPr>
          <p:cNvPr id="7026" name="Google Shape;7026;p12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27" name="Google Shape;7027;p12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28" name="Google Shape;7028;p12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29" name="Google Shape;7029;p12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0" name="Google Shape;7030;p12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31" name="Google Shape;7031;p12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032" name="Google Shape;7032;p1255"/>
          <p:cNvGrpSpPr/>
          <p:nvPr/>
        </p:nvGrpSpPr>
        <p:grpSpPr>
          <a:xfrm>
            <a:off x="7191542" y="1"/>
            <a:ext cx="5000459" cy="1425992"/>
            <a:chOff x="7191542" y="1"/>
            <a:chExt cx="5000459" cy="1425992"/>
          </a:xfrm>
        </p:grpSpPr>
        <p:pic>
          <p:nvPicPr>
            <p:cNvPr id="7033" name="Google Shape;7033;p12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34" name="Google Shape;7034;p1255"/>
            <p:cNvGrpSpPr/>
            <p:nvPr/>
          </p:nvGrpSpPr>
          <p:grpSpPr>
            <a:xfrm>
              <a:off x="7191542" y="1"/>
              <a:ext cx="5000459" cy="1425992"/>
              <a:chOff x="7186272" y="0"/>
              <a:chExt cx="5005729" cy="1427495"/>
            </a:xfrm>
          </p:grpSpPr>
          <p:sp>
            <p:nvSpPr>
              <p:cNvPr id="7035" name="Google Shape;7035;p12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36" name="Google Shape;7036;p12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037" name="Google Shape;7037;p12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itle and Content">
  <p:cSld name="Title and Content 12 2">
    <p:spTree>
      <p:nvGrpSpPr>
        <p:cNvPr id="1" name="Shape 7038"/>
        <p:cNvGrpSpPr/>
        <p:nvPr/>
      </p:nvGrpSpPr>
      <p:grpSpPr>
        <a:xfrm>
          <a:off x="0" y="0"/>
          <a:ext cx="0" cy="0"/>
          <a:chOff x="0" y="0"/>
          <a:chExt cx="0" cy="0"/>
        </a:xfrm>
      </p:grpSpPr>
      <p:grpSp>
        <p:nvGrpSpPr>
          <p:cNvPr id="7039" name="Google Shape;7039;p881"/>
          <p:cNvGrpSpPr/>
          <p:nvPr/>
        </p:nvGrpSpPr>
        <p:grpSpPr>
          <a:xfrm>
            <a:off x="7191542" y="1"/>
            <a:ext cx="5000459" cy="1425992"/>
            <a:chOff x="7191542" y="1"/>
            <a:chExt cx="5000459" cy="1425992"/>
          </a:xfrm>
        </p:grpSpPr>
        <p:pic>
          <p:nvPicPr>
            <p:cNvPr id="7040" name="Google Shape;7040;p8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41" name="Google Shape;7041;p881"/>
            <p:cNvGrpSpPr/>
            <p:nvPr/>
          </p:nvGrpSpPr>
          <p:grpSpPr>
            <a:xfrm>
              <a:off x="7191542" y="1"/>
              <a:ext cx="5000459" cy="1425992"/>
              <a:chOff x="7186272" y="0"/>
              <a:chExt cx="5005729" cy="1427495"/>
            </a:xfrm>
          </p:grpSpPr>
          <p:sp>
            <p:nvSpPr>
              <p:cNvPr id="7042" name="Google Shape;7042;p8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43" name="Google Shape;7043;p8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44" name="Google Shape;7044;p8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45" name="Google Shape;7045;p8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46" name="Google Shape;7046;p8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47" name="Google Shape;7047;p8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8" name="Google Shape;7048;p8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Two Content">
  <p:cSld name="Two Content 8 2">
    <p:spTree>
      <p:nvGrpSpPr>
        <p:cNvPr id="1" name="Shape 7049"/>
        <p:cNvGrpSpPr/>
        <p:nvPr/>
      </p:nvGrpSpPr>
      <p:grpSpPr>
        <a:xfrm>
          <a:off x="0" y="0"/>
          <a:ext cx="0" cy="0"/>
          <a:chOff x="0" y="0"/>
          <a:chExt cx="0" cy="0"/>
        </a:xfrm>
      </p:grpSpPr>
      <p:sp>
        <p:nvSpPr>
          <p:cNvPr id="7050" name="Google Shape;7050;p8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51" name="Google Shape;7051;p8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052" name="Google Shape;7052;p882"/>
          <p:cNvGrpSpPr/>
          <p:nvPr/>
        </p:nvGrpSpPr>
        <p:grpSpPr>
          <a:xfrm>
            <a:off x="7191542" y="1"/>
            <a:ext cx="5000459" cy="1425992"/>
            <a:chOff x="7191542" y="1"/>
            <a:chExt cx="5000459" cy="1425992"/>
          </a:xfrm>
        </p:grpSpPr>
        <p:pic>
          <p:nvPicPr>
            <p:cNvPr id="7053" name="Google Shape;7053;p8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54" name="Google Shape;7054;p882"/>
            <p:cNvGrpSpPr/>
            <p:nvPr/>
          </p:nvGrpSpPr>
          <p:grpSpPr>
            <a:xfrm>
              <a:off x="7191542" y="1"/>
              <a:ext cx="5000459" cy="1425992"/>
              <a:chOff x="7186272" y="0"/>
              <a:chExt cx="5005729" cy="1427495"/>
            </a:xfrm>
          </p:grpSpPr>
          <p:sp>
            <p:nvSpPr>
              <p:cNvPr id="7055" name="Google Shape;7055;p8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56" name="Google Shape;7056;p8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57" name="Google Shape;7057;p8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58" name="Google Shape;7058;p8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59" name="Google Shape;7059;p8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0" name="Google Shape;7060;p8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Comparison">
  <p:cSld name="Comparison 7 2">
    <p:spTree>
      <p:nvGrpSpPr>
        <p:cNvPr id="1" name="Shape 7061"/>
        <p:cNvGrpSpPr/>
        <p:nvPr/>
      </p:nvGrpSpPr>
      <p:grpSpPr>
        <a:xfrm>
          <a:off x="0" y="0"/>
          <a:ext cx="0" cy="0"/>
          <a:chOff x="0" y="0"/>
          <a:chExt cx="0" cy="0"/>
        </a:xfrm>
      </p:grpSpPr>
      <p:grpSp>
        <p:nvGrpSpPr>
          <p:cNvPr id="7062" name="Google Shape;7062;p1256"/>
          <p:cNvGrpSpPr/>
          <p:nvPr/>
        </p:nvGrpSpPr>
        <p:grpSpPr>
          <a:xfrm>
            <a:off x="7191542" y="1"/>
            <a:ext cx="5000459" cy="1425992"/>
            <a:chOff x="7191542" y="1"/>
            <a:chExt cx="5000459" cy="1425992"/>
          </a:xfrm>
        </p:grpSpPr>
        <p:pic>
          <p:nvPicPr>
            <p:cNvPr id="7063" name="Google Shape;7063;p12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64" name="Google Shape;7064;p1256"/>
            <p:cNvGrpSpPr/>
            <p:nvPr/>
          </p:nvGrpSpPr>
          <p:grpSpPr>
            <a:xfrm>
              <a:off x="7191542" y="1"/>
              <a:ext cx="5000459" cy="1425992"/>
              <a:chOff x="7186272" y="0"/>
              <a:chExt cx="5005729" cy="1427495"/>
            </a:xfrm>
          </p:grpSpPr>
          <p:sp>
            <p:nvSpPr>
              <p:cNvPr id="7065" name="Google Shape;7065;p12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66" name="Google Shape;7066;p12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67" name="Google Shape;7067;p12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68" name="Google Shape;7068;p12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69" name="Google Shape;7069;p12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0" name="Google Shape;7070;p12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071" name="Google Shape;7071;p12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72" name="Google Shape;7072;p1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73" name="Google Shape;7073;p12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74" name="Google Shape;7074;p1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Title Only">
  <p:cSld name="Title Only 7 2">
    <p:spTree>
      <p:nvGrpSpPr>
        <p:cNvPr id="1" name="Shape 7075"/>
        <p:cNvGrpSpPr/>
        <p:nvPr/>
      </p:nvGrpSpPr>
      <p:grpSpPr>
        <a:xfrm>
          <a:off x="0" y="0"/>
          <a:ext cx="0" cy="0"/>
          <a:chOff x="0" y="0"/>
          <a:chExt cx="0" cy="0"/>
        </a:xfrm>
      </p:grpSpPr>
      <p:grpSp>
        <p:nvGrpSpPr>
          <p:cNvPr id="7076" name="Google Shape;7076;p1257"/>
          <p:cNvGrpSpPr/>
          <p:nvPr/>
        </p:nvGrpSpPr>
        <p:grpSpPr>
          <a:xfrm>
            <a:off x="7191542" y="1"/>
            <a:ext cx="5000459" cy="1425992"/>
            <a:chOff x="7191542" y="1"/>
            <a:chExt cx="5000459" cy="1425992"/>
          </a:xfrm>
        </p:grpSpPr>
        <p:pic>
          <p:nvPicPr>
            <p:cNvPr id="7077" name="Google Shape;7077;p12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78" name="Google Shape;7078;p1257"/>
            <p:cNvGrpSpPr/>
            <p:nvPr/>
          </p:nvGrpSpPr>
          <p:grpSpPr>
            <a:xfrm>
              <a:off x="7191542" y="1"/>
              <a:ext cx="5000459" cy="1425992"/>
              <a:chOff x="7186272" y="0"/>
              <a:chExt cx="5005729" cy="1427495"/>
            </a:xfrm>
          </p:grpSpPr>
          <p:sp>
            <p:nvSpPr>
              <p:cNvPr id="7079" name="Google Shape;7079;p12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80" name="Google Shape;7080;p12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81" name="Google Shape;7081;p12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2" name="Google Shape;7082;p12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83" name="Google Shape;7083;p12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84" name="Google Shape;7084;p12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End">
  <p:cSld name="End 8 2">
    <p:spTree>
      <p:nvGrpSpPr>
        <p:cNvPr id="1" name="Shape 7085"/>
        <p:cNvGrpSpPr/>
        <p:nvPr/>
      </p:nvGrpSpPr>
      <p:grpSpPr>
        <a:xfrm>
          <a:off x="0" y="0"/>
          <a:ext cx="0" cy="0"/>
          <a:chOff x="0" y="0"/>
          <a:chExt cx="0" cy="0"/>
        </a:xfrm>
      </p:grpSpPr>
      <p:grpSp>
        <p:nvGrpSpPr>
          <p:cNvPr id="7086" name="Google Shape;7086;p1258"/>
          <p:cNvGrpSpPr/>
          <p:nvPr/>
        </p:nvGrpSpPr>
        <p:grpSpPr>
          <a:xfrm>
            <a:off x="0" y="0"/>
            <a:ext cx="12192000" cy="2148830"/>
            <a:chOff x="0" y="0"/>
            <a:chExt cx="12192000" cy="2148830"/>
          </a:xfrm>
        </p:grpSpPr>
        <p:sp>
          <p:nvSpPr>
            <p:cNvPr id="7087" name="Google Shape;7087;p12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88" name="Google Shape;7088;p12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089" name="Google Shape;7089;p12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90" name="Google Shape;7090;p12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91" name="Google Shape;7091;p12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092" name="Google Shape;7092;p125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93" name="Google Shape;7093;p12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Blank">
  <p:cSld name="Blank 6 2">
    <p:spTree>
      <p:nvGrpSpPr>
        <p:cNvPr id="1" name="Shape 7094"/>
        <p:cNvGrpSpPr/>
        <p:nvPr/>
      </p:nvGrpSpPr>
      <p:grpSpPr>
        <a:xfrm>
          <a:off x="0" y="0"/>
          <a:ext cx="0" cy="0"/>
          <a:chOff x="0" y="0"/>
          <a:chExt cx="0" cy="0"/>
        </a:xfrm>
      </p:grpSpPr>
      <p:sp>
        <p:nvSpPr>
          <p:cNvPr id="7095" name="Google Shape;7095;p8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96" name="Google Shape;7096;p8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97" name="Google Shape;7097;p8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098" name="Google Shape;7098;p886"/>
          <p:cNvGrpSpPr/>
          <p:nvPr/>
        </p:nvGrpSpPr>
        <p:grpSpPr>
          <a:xfrm>
            <a:off x="7191542" y="1"/>
            <a:ext cx="5000459" cy="1425992"/>
            <a:chOff x="7191542" y="1"/>
            <a:chExt cx="5000459" cy="1425992"/>
          </a:xfrm>
        </p:grpSpPr>
        <p:pic>
          <p:nvPicPr>
            <p:cNvPr id="7099" name="Google Shape;7099;p8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00" name="Google Shape;7100;p886"/>
            <p:cNvGrpSpPr/>
            <p:nvPr/>
          </p:nvGrpSpPr>
          <p:grpSpPr>
            <a:xfrm>
              <a:off x="7191542" y="1"/>
              <a:ext cx="5000459" cy="1425992"/>
              <a:chOff x="7186272" y="0"/>
              <a:chExt cx="5005729" cy="1427495"/>
            </a:xfrm>
          </p:grpSpPr>
          <p:sp>
            <p:nvSpPr>
              <p:cNvPr id="7101" name="Google Shape;7101;p8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02" name="Google Shape;7102;p8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7103"/>
        <p:cNvGrpSpPr/>
        <p:nvPr/>
      </p:nvGrpSpPr>
      <p:grpSpPr>
        <a:xfrm>
          <a:off x="0" y="0"/>
          <a:ext cx="0" cy="0"/>
          <a:chOff x="0" y="0"/>
          <a:chExt cx="0" cy="0"/>
        </a:xfrm>
      </p:grpSpPr>
      <p:sp>
        <p:nvSpPr>
          <p:cNvPr id="7104" name="Google Shape;7104;p12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05" name="Google Shape;7105;p12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06" name="Google Shape;7106;p12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07" name="Google Shape;7107;p1259"/>
          <p:cNvSpPr>
            <a:spLocks noGrp="1"/>
          </p:cNvSpPr>
          <p:nvPr>
            <p:ph type="pic" idx="2"/>
          </p:nvPr>
        </p:nvSpPr>
        <p:spPr>
          <a:xfrm>
            <a:off x="7118684" y="233915"/>
            <a:ext cx="5073316" cy="5943600"/>
          </a:xfrm>
          <a:prstGeom prst="rect">
            <a:avLst/>
          </a:prstGeom>
          <a:noFill/>
          <a:ln>
            <a:noFill/>
          </a:ln>
        </p:spPr>
      </p:sp>
      <p:grpSp>
        <p:nvGrpSpPr>
          <p:cNvPr id="7108" name="Google Shape;7108;p1259"/>
          <p:cNvGrpSpPr/>
          <p:nvPr/>
        </p:nvGrpSpPr>
        <p:grpSpPr>
          <a:xfrm>
            <a:off x="0" y="5020348"/>
            <a:ext cx="12192000" cy="1837653"/>
            <a:chOff x="0" y="5020348"/>
            <a:chExt cx="12192000" cy="1837653"/>
          </a:xfrm>
        </p:grpSpPr>
        <p:sp>
          <p:nvSpPr>
            <p:cNvPr id="7109" name="Google Shape;7109;p12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10" name="Google Shape;7110;p12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111" name="Google Shape;7111;p12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7112"/>
        <p:cNvGrpSpPr/>
        <p:nvPr/>
      </p:nvGrpSpPr>
      <p:grpSpPr>
        <a:xfrm>
          <a:off x="0" y="0"/>
          <a:ext cx="0" cy="0"/>
          <a:chOff x="0" y="0"/>
          <a:chExt cx="0" cy="0"/>
        </a:xfrm>
      </p:grpSpPr>
      <p:grpSp>
        <p:nvGrpSpPr>
          <p:cNvPr id="7113" name="Google Shape;7113;p1260"/>
          <p:cNvGrpSpPr/>
          <p:nvPr/>
        </p:nvGrpSpPr>
        <p:grpSpPr>
          <a:xfrm>
            <a:off x="0" y="5020347"/>
            <a:ext cx="12192000" cy="1837653"/>
            <a:chOff x="0" y="5020347"/>
            <a:chExt cx="12192000" cy="1837653"/>
          </a:xfrm>
        </p:grpSpPr>
        <p:sp>
          <p:nvSpPr>
            <p:cNvPr id="7114" name="Google Shape;7114;p12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15" name="Google Shape;7115;p1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16" name="Google Shape;7116;p12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117" name="Google Shape;7117;p1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118" name="Google Shape;7118;p12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19" name="Google Shape;7119;p12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7120"/>
        <p:cNvGrpSpPr/>
        <p:nvPr/>
      </p:nvGrpSpPr>
      <p:grpSpPr>
        <a:xfrm>
          <a:off x="0" y="0"/>
          <a:ext cx="0" cy="0"/>
          <a:chOff x="0" y="0"/>
          <a:chExt cx="0" cy="0"/>
        </a:xfrm>
      </p:grpSpPr>
      <p:sp>
        <p:nvSpPr>
          <p:cNvPr id="7121" name="Google Shape;7121;p12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22" name="Google Shape;7122;p12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3" name="Google Shape;7123;p1261"/>
          <p:cNvGrpSpPr/>
          <p:nvPr/>
        </p:nvGrpSpPr>
        <p:grpSpPr>
          <a:xfrm>
            <a:off x="0" y="5379426"/>
            <a:ext cx="2807368" cy="753891"/>
            <a:chOff x="0" y="5379426"/>
            <a:chExt cx="2807368" cy="753891"/>
          </a:xfrm>
        </p:grpSpPr>
        <p:sp>
          <p:nvSpPr>
            <p:cNvPr id="7124" name="Google Shape;7124;p12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25" name="Google Shape;7125;p12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26" name="Google Shape;7126;p1261"/>
          <p:cNvSpPr>
            <a:spLocks noGrp="1"/>
          </p:cNvSpPr>
          <p:nvPr>
            <p:ph type="pic" idx="2"/>
          </p:nvPr>
        </p:nvSpPr>
        <p:spPr>
          <a:xfrm>
            <a:off x="2807368" y="457202"/>
            <a:ext cx="8915400" cy="5943598"/>
          </a:xfrm>
          <a:prstGeom prst="rect">
            <a:avLst/>
          </a:prstGeom>
          <a:noFill/>
          <a:ln>
            <a:noFill/>
          </a:ln>
        </p:spPr>
      </p:sp>
      <p:pic>
        <p:nvPicPr>
          <p:cNvPr id="7127" name="Google Shape;7127;p12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38"/>
        <p:cNvGrpSpPr/>
        <p:nvPr/>
      </p:nvGrpSpPr>
      <p:grpSpPr>
        <a:xfrm>
          <a:off x="0" y="0"/>
          <a:ext cx="0" cy="0"/>
          <a:chOff x="0" y="0"/>
          <a:chExt cx="0" cy="0"/>
        </a:xfrm>
      </p:grpSpPr>
      <p:sp>
        <p:nvSpPr>
          <p:cNvPr id="739" name="Google Shape;739;p12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0" name="Google Shape;740;p12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 name="Google Shape;741;p12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42" name="Google Shape;742;p1209"/>
          <p:cNvSpPr>
            <a:spLocks noGrp="1"/>
          </p:cNvSpPr>
          <p:nvPr>
            <p:ph type="pic" idx="2"/>
          </p:nvPr>
        </p:nvSpPr>
        <p:spPr>
          <a:xfrm>
            <a:off x="7118684" y="233915"/>
            <a:ext cx="5073316" cy="5943600"/>
          </a:xfrm>
          <a:prstGeom prst="rect">
            <a:avLst/>
          </a:prstGeom>
          <a:noFill/>
          <a:ln>
            <a:noFill/>
          </a:ln>
        </p:spPr>
      </p:sp>
      <p:grpSp>
        <p:nvGrpSpPr>
          <p:cNvPr id="743" name="Google Shape;743;p1209"/>
          <p:cNvGrpSpPr/>
          <p:nvPr/>
        </p:nvGrpSpPr>
        <p:grpSpPr>
          <a:xfrm>
            <a:off x="0" y="5020348"/>
            <a:ext cx="12192000" cy="1837653"/>
            <a:chOff x="0" y="5020348"/>
            <a:chExt cx="12192000" cy="1837653"/>
          </a:xfrm>
        </p:grpSpPr>
        <p:sp>
          <p:nvSpPr>
            <p:cNvPr id="744" name="Google Shape;744;p12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5" name="Google Shape;745;p12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46" name="Google Shape;746;p12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7128"/>
        <p:cNvGrpSpPr/>
        <p:nvPr/>
      </p:nvGrpSpPr>
      <p:grpSpPr>
        <a:xfrm>
          <a:off x="0" y="0"/>
          <a:ext cx="0" cy="0"/>
          <a:chOff x="0" y="0"/>
          <a:chExt cx="0" cy="0"/>
        </a:xfrm>
      </p:grpSpPr>
      <p:sp>
        <p:nvSpPr>
          <p:cNvPr id="7129" name="Google Shape;7129;p12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30" name="Google Shape;7130;p12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31" name="Google Shape;7131;p12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2" name="Google Shape;7132;p12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33" name="Google Shape;7133;p12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34" name="Google Shape;7134;p12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135" name="Google Shape;7135;p1262"/>
          <p:cNvGrpSpPr/>
          <p:nvPr/>
        </p:nvGrpSpPr>
        <p:grpSpPr>
          <a:xfrm>
            <a:off x="7191542" y="1"/>
            <a:ext cx="5000459" cy="1425992"/>
            <a:chOff x="7191542" y="1"/>
            <a:chExt cx="5000459" cy="1425992"/>
          </a:xfrm>
        </p:grpSpPr>
        <p:pic>
          <p:nvPicPr>
            <p:cNvPr id="7136" name="Google Shape;7136;p12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37" name="Google Shape;7137;p1262"/>
            <p:cNvGrpSpPr/>
            <p:nvPr/>
          </p:nvGrpSpPr>
          <p:grpSpPr>
            <a:xfrm>
              <a:off x="7191542" y="1"/>
              <a:ext cx="5000459" cy="1425992"/>
              <a:chOff x="7186272" y="0"/>
              <a:chExt cx="5005729" cy="1427495"/>
            </a:xfrm>
          </p:grpSpPr>
          <p:sp>
            <p:nvSpPr>
              <p:cNvPr id="7138" name="Google Shape;7138;p12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39" name="Google Shape;7139;p12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140" name="Google Shape;7140;p12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Quotation">
  <p:cSld name="Quotation 15 2">
    <p:spTree>
      <p:nvGrpSpPr>
        <p:cNvPr id="1" name="Shape 7141"/>
        <p:cNvGrpSpPr/>
        <p:nvPr/>
      </p:nvGrpSpPr>
      <p:grpSpPr>
        <a:xfrm>
          <a:off x="0" y="0"/>
          <a:ext cx="0" cy="0"/>
          <a:chOff x="0" y="0"/>
          <a:chExt cx="0" cy="0"/>
        </a:xfrm>
      </p:grpSpPr>
      <p:sp>
        <p:nvSpPr>
          <p:cNvPr id="7142" name="Google Shape;7142;p1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3" name="Google Shape;7143;p1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44" name="Google Shape;7144;p1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45" name="Google Shape;7145;p1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46" name="Google Shape;7146;p1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47" name="Google Shape;7147;p1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148" name="Google Shape;7148;p1263"/>
          <p:cNvGrpSpPr/>
          <p:nvPr/>
        </p:nvGrpSpPr>
        <p:grpSpPr>
          <a:xfrm>
            <a:off x="7191542" y="1"/>
            <a:ext cx="5000459" cy="1425992"/>
            <a:chOff x="7191542" y="1"/>
            <a:chExt cx="5000459" cy="1425992"/>
          </a:xfrm>
        </p:grpSpPr>
        <p:pic>
          <p:nvPicPr>
            <p:cNvPr id="7149" name="Google Shape;7149;p1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0" name="Google Shape;7150;p1263"/>
            <p:cNvGrpSpPr/>
            <p:nvPr/>
          </p:nvGrpSpPr>
          <p:grpSpPr>
            <a:xfrm>
              <a:off x="7191542" y="1"/>
              <a:ext cx="5000459" cy="1425992"/>
              <a:chOff x="7186272" y="0"/>
              <a:chExt cx="5005729" cy="1427495"/>
            </a:xfrm>
          </p:grpSpPr>
          <p:sp>
            <p:nvSpPr>
              <p:cNvPr id="7151" name="Google Shape;7151;p1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52" name="Google Shape;7152;p1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153" name="Google Shape;7153;p12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7154"/>
        <p:cNvGrpSpPr/>
        <p:nvPr/>
      </p:nvGrpSpPr>
      <p:grpSpPr>
        <a:xfrm>
          <a:off x="0" y="0"/>
          <a:ext cx="0" cy="0"/>
          <a:chOff x="0" y="0"/>
          <a:chExt cx="0" cy="0"/>
        </a:xfrm>
      </p:grpSpPr>
      <p:grpSp>
        <p:nvGrpSpPr>
          <p:cNvPr id="7155" name="Google Shape;7155;p1264"/>
          <p:cNvGrpSpPr/>
          <p:nvPr/>
        </p:nvGrpSpPr>
        <p:grpSpPr>
          <a:xfrm>
            <a:off x="7191542" y="1"/>
            <a:ext cx="5000459" cy="1425992"/>
            <a:chOff x="7191542" y="1"/>
            <a:chExt cx="5000459" cy="1425992"/>
          </a:xfrm>
        </p:grpSpPr>
        <p:pic>
          <p:nvPicPr>
            <p:cNvPr id="7156" name="Google Shape;7156;p1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57" name="Google Shape;7157;p1264"/>
            <p:cNvGrpSpPr/>
            <p:nvPr/>
          </p:nvGrpSpPr>
          <p:grpSpPr>
            <a:xfrm>
              <a:off x="7191542" y="1"/>
              <a:ext cx="5000459" cy="1425992"/>
              <a:chOff x="7186272" y="0"/>
              <a:chExt cx="5005729" cy="1427495"/>
            </a:xfrm>
          </p:grpSpPr>
          <p:sp>
            <p:nvSpPr>
              <p:cNvPr id="7158" name="Google Shape;7158;p1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59" name="Google Shape;7159;p1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60" name="Google Shape;7160;p1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61" name="Google Shape;7161;p126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62" name="Google Shape;7162;p12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63" name="Google Shape;7163;p1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64" name="Google Shape;7164;p1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7165"/>
        <p:cNvGrpSpPr/>
        <p:nvPr/>
      </p:nvGrpSpPr>
      <p:grpSpPr>
        <a:xfrm>
          <a:off x="0" y="0"/>
          <a:ext cx="0" cy="0"/>
          <a:chOff x="0" y="0"/>
          <a:chExt cx="0" cy="0"/>
        </a:xfrm>
      </p:grpSpPr>
      <p:sp>
        <p:nvSpPr>
          <p:cNvPr id="7166" name="Google Shape;7166;p8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67" name="Google Shape;7167;p89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68" name="Google Shape;7168;p893"/>
          <p:cNvGrpSpPr/>
          <p:nvPr/>
        </p:nvGrpSpPr>
        <p:grpSpPr>
          <a:xfrm>
            <a:off x="7191542" y="1"/>
            <a:ext cx="5000459" cy="1425992"/>
            <a:chOff x="7191542" y="1"/>
            <a:chExt cx="5000459" cy="1425992"/>
          </a:xfrm>
        </p:grpSpPr>
        <p:pic>
          <p:nvPicPr>
            <p:cNvPr id="7169" name="Google Shape;7169;p8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70" name="Google Shape;7170;p893"/>
            <p:cNvGrpSpPr/>
            <p:nvPr/>
          </p:nvGrpSpPr>
          <p:grpSpPr>
            <a:xfrm>
              <a:off x="7191542" y="1"/>
              <a:ext cx="5000459" cy="1425992"/>
              <a:chOff x="7186272" y="0"/>
              <a:chExt cx="5005729" cy="1427495"/>
            </a:xfrm>
          </p:grpSpPr>
          <p:sp>
            <p:nvSpPr>
              <p:cNvPr id="7171" name="Google Shape;7171;p8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72" name="Google Shape;7172;p8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73" name="Google Shape;7173;p89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74" name="Google Shape;7174;p89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75" name="Google Shape;7175;p8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76" name="Google Shape;7176;p8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7177"/>
        <p:cNvGrpSpPr/>
        <p:nvPr/>
      </p:nvGrpSpPr>
      <p:grpSpPr>
        <a:xfrm>
          <a:off x="0" y="0"/>
          <a:ext cx="0" cy="0"/>
          <a:chOff x="0" y="0"/>
          <a:chExt cx="0" cy="0"/>
        </a:xfrm>
      </p:grpSpPr>
      <p:grpSp>
        <p:nvGrpSpPr>
          <p:cNvPr id="7178" name="Google Shape;7178;p894"/>
          <p:cNvGrpSpPr/>
          <p:nvPr/>
        </p:nvGrpSpPr>
        <p:grpSpPr>
          <a:xfrm>
            <a:off x="7191542" y="1"/>
            <a:ext cx="5000459" cy="1425992"/>
            <a:chOff x="7191542" y="1"/>
            <a:chExt cx="5000459" cy="1425992"/>
          </a:xfrm>
        </p:grpSpPr>
        <p:pic>
          <p:nvPicPr>
            <p:cNvPr id="7179" name="Google Shape;7179;p8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80" name="Google Shape;7180;p894"/>
            <p:cNvGrpSpPr/>
            <p:nvPr/>
          </p:nvGrpSpPr>
          <p:grpSpPr>
            <a:xfrm>
              <a:off x="7191542" y="1"/>
              <a:ext cx="5000459" cy="1425992"/>
              <a:chOff x="7186272" y="0"/>
              <a:chExt cx="5005729" cy="1427495"/>
            </a:xfrm>
          </p:grpSpPr>
          <p:sp>
            <p:nvSpPr>
              <p:cNvPr id="7181" name="Google Shape;7181;p8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82" name="Google Shape;7182;p8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83" name="Google Shape;7183;p8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84" name="Google Shape;7184;p89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5" name="Google Shape;7185;p89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6" name="Google Shape;7186;p8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187" name="Google Shape;7187;p8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88" name="Google Shape;7188;p8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89" name="Google Shape;7189;p8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0" name="Google Shape;7190;p8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7191"/>
        <p:cNvGrpSpPr/>
        <p:nvPr/>
      </p:nvGrpSpPr>
      <p:grpSpPr>
        <a:xfrm>
          <a:off x="0" y="0"/>
          <a:ext cx="0" cy="0"/>
          <a:chOff x="0" y="0"/>
          <a:chExt cx="0" cy="0"/>
        </a:xfrm>
      </p:grpSpPr>
      <p:grpSp>
        <p:nvGrpSpPr>
          <p:cNvPr id="7192" name="Google Shape;7192;p895"/>
          <p:cNvGrpSpPr/>
          <p:nvPr/>
        </p:nvGrpSpPr>
        <p:grpSpPr>
          <a:xfrm>
            <a:off x="7191542" y="1"/>
            <a:ext cx="5000459" cy="1425992"/>
            <a:chOff x="7191542" y="1"/>
            <a:chExt cx="5000459" cy="1425992"/>
          </a:xfrm>
        </p:grpSpPr>
        <p:pic>
          <p:nvPicPr>
            <p:cNvPr id="7193" name="Google Shape;7193;p8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194" name="Google Shape;7194;p895"/>
            <p:cNvGrpSpPr/>
            <p:nvPr/>
          </p:nvGrpSpPr>
          <p:grpSpPr>
            <a:xfrm>
              <a:off x="7191542" y="1"/>
              <a:ext cx="5000459" cy="1425992"/>
              <a:chOff x="7186272" y="0"/>
              <a:chExt cx="5005729" cy="1427495"/>
            </a:xfrm>
          </p:grpSpPr>
          <p:sp>
            <p:nvSpPr>
              <p:cNvPr id="7195" name="Google Shape;7195;p8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96" name="Google Shape;7196;p8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97" name="Google Shape;7197;p8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98" name="Google Shape;7198;p8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99" name="Google Shape;7199;p8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00" name="Google Shape;7200;p8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7201"/>
        <p:cNvGrpSpPr/>
        <p:nvPr/>
      </p:nvGrpSpPr>
      <p:grpSpPr>
        <a:xfrm>
          <a:off x="0" y="0"/>
          <a:ext cx="0" cy="0"/>
          <a:chOff x="0" y="0"/>
          <a:chExt cx="0" cy="0"/>
        </a:xfrm>
      </p:grpSpPr>
      <p:grpSp>
        <p:nvGrpSpPr>
          <p:cNvPr id="7202" name="Google Shape;7202;p896"/>
          <p:cNvGrpSpPr/>
          <p:nvPr/>
        </p:nvGrpSpPr>
        <p:grpSpPr>
          <a:xfrm>
            <a:off x="0" y="0"/>
            <a:ext cx="12192000" cy="2148830"/>
            <a:chOff x="0" y="0"/>
            <a:chExt cx="12192000" cy="2148830"/>
          </a:xfrm>
        </p:grpSpPr>
        <p:sp>
          <p:nvSpPr>
            <p:cNvPr id="7203" name="Google Shape;7203;p89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04" name="Google Shape;7204;p89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205" name="Google Shape;7205;p89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06" name="Google Shape;7206;p89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07" name="Google Shape;7207;p89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208" name="Google Shape;7208;p89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209" name="Google Shape;7209;p89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7210"/>
        <p:cNvGrpSpPr/>
        <p:nvPr/>
      </p:nvGrpSpPr>
      <p:grpSpPr>
        <a:xfrm>
          <a:off x="0" y="0"/>
          <a:ext cx="0" cy="0"/>
          <a:chOff x="0" y="0"/>
          <a:chExt cx="0" cy="0"/>
        </a:xfrm>
      </p:grpSpPr>
      <p:sp>
        <p:nvSpPr>
          <p:cNvPr id="7211" name="Google Shape;7211;p8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12" name="Google Shape;7212;p8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13" name="Google Shape;7213;p8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214" name="Google Shape;7214;p897"/>
          <p:cNvGrpSpPr/>
          <p:nvPr/>
        </p:nvGrpSpPr>
        <p:grpSpPr>
          <a:xfrm>
            <a:off x="7191542" y="1"/>
            <a:ext cx="5000459" cy="1425992"/>
            <a:chOff x="7191542" y="1"/>
            <a:chExt cx="5000459" cy="1425992"/>
          </a:xfrm>
        </p:grpSpPr>
        <p:pic>
          <p:nvPicPr>
            <p:cNvPr id="7215" name="Google Shape;7215;p8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16" name="Google Shape;7216;p897"/>
            <p:cNvGrpSpPr/>
            <p:nvPr/>
          </p:nvGrpSpPr>
          <p:grpSpPr>
            <a:xfrm>
              <a:off x="7191542" y="1"/>
              <a:ext cx="5000459" cy="1425992"/>
              <a:chOff x="7186272" y="0"/>
              <a:chExt cx="5005729" cy="1427495"/>
            </a:xfrm>
          </p:grpSpPr>
          <p:sp>
            <p:nvSpPr>
              <p:cNvPr id="7217" name="Google Shape;7217;p8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18" name="Google Shape;7218;p8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3_Quotation">
  <p:cSld name="3_Quotation 3 2">
    <p:spTree>
      <p:nvGrpSpPr>
        <p:cNvPr id="1" name="Shape 7219"/>
        <p:cNvGrpSpPr/>
        <p:nvPr/>
      </p:nvGrpSpPr>
      <p:grpSpPr>
        <a:xfrm>
          <a:off x="0" y="0"/>
          <a:ext cx="0" cy="0"/>
          <a:chOff x="0" y="0"/>
          <a:chExt cx="0" cy="0"/>
        </a:xfrm>
      </p:grpSpPr>
      <p:sp>
        <p:nvSpPr>
          <p:cNvPr id="7220" name="Google Shape;7220;p126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21" name="Google Shape;7221;p126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22" name="Google Shape;7222;p126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23" name="Google Shape;7223;p1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4" name="Google Shape;7224;p1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25" name="Google Shape;7225;p1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226" name="Google Shape;7226;p1265"/>
          <p:cNvGrpSpPr/>
          <p:nvPr/>
        </p:nvGrpSpPr>
        <p:grpSpPr>
          <a:xfrm>
            <a:off x="7191542" y="1"/>
            <a:ext cx="5000459" cy="1425992"/>
            <a:chOff x="7191542" y="1"/>
            <a:chExt cx="5000459" cy="1425992"/>
          </a:xfrm>
        </p:grpSpPr>
        <p:pic>
          <p:nvPicPr>
            <p:cNvPr id="7227" name="Google Shape;7227;p1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28" name="Google Shape;7228;p1265"/>
            <p:cNvGrpSpPr/>
            <p:nvPr/>
          </p:nvGrpSpPr>
          <p:grpSpPr>
            <a:xfrm>
              <a:off x="7191542" y="1"/>
              <a:ext cx="5000459" cy="1425992"/>
              <a:chOff x="7186272" y="0"/>
              <a:chExt cx="5005729" cy="1427495"/>
            </a:xfrm>
          </p:grpSpPr>
          <p:sp>
            <p:nvSpPr>
              <p:cNvPr id="7229" name="Google Shape;7229;p1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30" name="Google Shape;7230;p1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231" name="Google Shape;7231;p126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3_Quotation">
  <p:cSld name="3_Quotation 3 3">
    <p:spTree>
      <p:nvGrpSpPr>
        <p:cNvPr id="1" name="Shape 7232"/>
        <p:cNvGrpSpPr/>
        <p:nvPr/>
      </p:nvGrpSpPr>
      <p:grpSpPr>
        <a:xfrm>
          <a:off x="0" y="0"/>
          <a:ext cx="0" cy="0"/>
          <a:chOff x="0" y="0"/>
          <a:chExt cx="0" cy="0"/>
        </a:xfrm>
      </p:grpSpPr>
      <p:sp>
        <p:nvSpPr>
          <p:cNvPr id="7233" name="Google Shape;7233;p12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34" name="Google Shape;7234;p12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35" name="Google Shape;7235;p12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36" name="Google Shape;7236;p1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37" name="Google Shape;7237;p1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8" name="Google Shape;7238;p1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239" name="Google Shape;7239;p1266"/>
          <p:cNvGrpSpPr/>
          <p:nvPr/>
        </p:nvGrpSpPr>
        <p:grpSpPr>
          <a:xfrm>
            <a:off x="7191542" y="1"/>
            <a:ext cx="5000459" cy="1425992"/>
            <a:chOff x="7191542" y="1"/>
            <a:chExt cx="5000459" cy="1425992"/>
          </a:xfrm>
        </p:grpSpPr>
        <p:pic>
          <p:nvPicPr>
            <p:cNvPr id="7240" name="Google Shape;7240;p1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41" name="Google Shape;7241;p1266"/>
            <p:cNvGrpSpPr/>
            <p:nvPr/>
          </p:nvGrpSpPr>
          <p:grpSpPr>
            <a:xfrm>
              <a:off x="7191542" y="1"/>
              <a:ext cx="5000459" cy="1425992"/>
              <a:chOff x="7186272" y="0"/>
              <a:chExt cx="5005729" cy="1427495"/>
            </a:xfrm>
          </p:grpSpPr>
          <p:sp>
            <p:nvSpPr>
              <p:cNvPr id="7242" name="Google Shape;7242;p1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43" name="Google Shape;7243;p1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244" name="Google Shape;7244;p12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78"/>
        <p:cNvGrpSpPr/>
        <p:nvPr/>
      </p:nvGrpSpPr>
      <p:grpSpPr>
        <a:xfrm>
          <a:off x="0" y="0"/>
          <a:ext cx="0" cy="0"/>
          <a:chOff x="0" y="0"/>
          <a:chExt cx="0" cy="0"/>
        </a:xfrm>
      </p:grpSpPr>
      <p:grpSp>
        <p:nvGrpSpPr>
          <p:cNvPr id="79" name="Google Shape;79;p65"/>
          <p:cNvGrpSpPr/>
          <p:nvPr/>
        </p:nvGrpSpPr>
        <p:grpSpPr>
          <a:xfrm>
            <a:off x="7191542" y="1"/>
            <a:ext cx="5000459" cy="1425992"/>
            <a:chOff x="7191542" y="1"/>
            <a:chExt cx="5000459" cy="1425992"/>
          </a:xfrm>
        </p:grpSpPr>
        <p:pic>
          <p:nvPicPr>
            <p:cNvPr id="80" name="Google Shape;80;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 name="Google Shape;81;p65"/>
            <p:cNvGrpSpPr/>
            <p:nvPr/>
          </p:nvGrpSpPr>
          <p:grpSpPr>
            <a:xfrm>
              <a:off x="7191542" y="1"/>
              <a:ext cx="5000459" cy="1425992"/>
              <a:chOff x="7186272" y="0"/>
              <a:chExt cx="5005729" cy="1427495"/>
            </a:xfrm>
          </p:grpSpPr>
          <p:sp>
            <p:nvSpPr>
              <p:cNvPr id="82" name="Google Shape;82;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 name="Google Shape;83;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4" name="Google Shape;84;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 name="Google Shape;85;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 name="Google Shape;86;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 name="Google Shape;87;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 name="Google Shape;88;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747"/>
        <p:cNvGrpSpPr/>
        <p:nvPr/>
      </p:nvGrpSpPr>
      <p:grpSpPr>
        <a:xfrm>
          <a:off x="0" y="0"/>
          <a:ext cx="0" cy="0"/>
          <a:chOff x="0" y="0"/>
          <a:chExt cx="0" cy="0"/>
        </a:xfrm>
      </p:grpSpPr>
      <p:grpSp>
        <p:nvGrpSpPr>
          <p:cNvPr id="748" name="Google Shape;748;p127"/>
          <p:cNvGrpSpPr/>
          <p:nvPr/>
        </p:nvGrpSpPr>
        <p:grpSpPr>
          <a:xfrm>
            <a:off x="0" y="5020347"/>
            <a:ext cx="12192000" cy="1837653"/>
            <a:chOff x="0" y="5020347"/>
            <a:chExt cx="12192000" cy="1837653"/>
          </a:xfrm>
        </p:grpSpPr>
        <p:sp>
          <p:nvSpPr>
            <p:cNvPr id="749" name="Google Shape;749;p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0" name="Google Shape;750;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1" name="Google Shape;751;p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52" name="Google Shape;752;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3" name="Google Shape;753;p1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4" name="Google Shape;754;p1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Cover">
  <p:cSld name="Cover 10 2">
    <p:spTree>
      <p:nvGrpSpPr>
        <p:cNvPr id="1" name="Shape 7245"/>
        <p:cNvGrpSpPr/>
        <p:nvPr/>
      </p:nvGrpSpPr>
      <p:grpSpPr>
        <a:xfrm>
          <a:off x="0" y="0"/>
          <a:ext cx="0" cy="0"/>
          <a:chOff x="0" y="0"/>
          <a:chExt cx="0" cy="0"/>
        </a:xfrm>
      </p:grpSpPr>
      <p:sp>
        <p:nvSpPr>
          <p:cNvPr id="7246" name="Google Shape;7246;p12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7" name="Google Shape;7247;p12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48" name="Google Shape;7248;p12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49" name="Google Shape;7249;p1267"/>
          <p:cNvSpPr>
            <a:spLocks noGrp="1"/>
          </p:cNvSpPr>
          <p:nvPr>
            <p:ph type="pic" idx="2"/>
          </p:nvPr>
        </p:nvSpPr>
        <p:spPr>
          <a:xfrm>
            <a:off x="7118684" y="233915"/>
            <a:ext cx="5073316" cy="5943600"/>
          </a:xfrm>
          <a:prstGeom prst="rect">
            <a:avLst/>
          </a:prstGeom>
          <a:noFill/>
          <a:ln>
            <a:noFill/>
          </a:ln>
        </p:spPr>
      </p:sp>
      <p:grpSp>
        <p:nvGrpSpPr>
          <p:cNvPr id="7250" name="Google Shape;7250;p1267"/>
          <p:cNvGrpSpPr/>
          <p:nvPr/>
        </p:nvGrpSpPr>
        <p:grpSpPr>
          <a:xfrm>
            <a:off x="0" y="5020348"/>
            <a:ext cx="12192000" cy="1837653"/>
            <a:chOff x="0" y="5020348"/>
            <a:chExt cx="12192000" cy="1837653"/>
          </a:xfrm>
        </p:grpSpPr>
        <p:sp>
          <p:nvSpPr>
            <p:cNvPr id="7251" name="Google Shape;7251;p12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52" name="Google Shape;7252;p12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3" name="Google Shape;7253;p12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Divider">
  <p:cSld name="Divider 11 2">
    <p:bg>
      <p:bgPr>
        <a:solidFill>
          <a:schemeClr val="lt2"/>
        </a:solidFill>
        <a:effectLst/>
      </p:bgPr>
    </p:bg>
    <p:spTree>
      <p:nvGrpSpPr>
        <p:cNvPr id="1" name="Shape 7254"/>
        <p:cNvGrpSpPr/>
        <p:nvPr/>
      </p:nvGrpSpPr>
      <p:grpSpPr>
        <a:xfrm>
          <a:off x="0" y="0"/>
          <a:ext cx="0" cy="0"/>
          <a:chOff x="0" y="0"/>
          <a:chExt cx="0" cy="0"/>
        </a:xfrm>
      </p:grpSpPr>
      <p:grpSp>
        <p:nvGrpSpPr>
          <p:cNvPr id="7255" name="Google Shape;7255;p1268"/>
          <p:cNvGrpSpPr/>
          <p:nvPr/>
        </p:nvGrpSpPr>
        <p:grpSpPr>
          <a:xfrm>
            <a:off x="0" y="5020347"/>
            <a:ext cx="12192000" cy="1837653"/>
            <a:chOff x="0" y="5020347"/>
            <a:chExt cx="12192000" cy="1837653"/>
          </a:xfrm>
        </p:grpSpPr>
        <p:sp>
          <p:nvSpPr>
            <p:cNvPr id="7256" name="Google Shape;7256;p12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57" name="Google Shape;7257;p12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58" name="Google Shape;7258;p12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9" name="Google Shape;7259;p12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260" name="Google Shape;7260;p12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61" name="Google Shape;7261;p12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Photo Slide">
  <p:cSld name="Photo Slide 10 2">
    <p:spTree>
      <p:nvGrpSpPr>
        <p:cNvPr id="1" name="Shape 7262"/>
        <p:cNvGrpSpPr/>
        <p:nvPr/>
      </p:nvGrpSpPr>
      <p:grpSpPr>
        <a:xfrm>
          <a:off x="0" y="0"/>
          <a:ext cx="0" cy="0"/>
          <a:chOff x="0" y="0"/>
          <a:chExt cx="0" cy="0"/>
        </a:xfrm>
      </p:grpSpPr>
      <p:sp>
        <p:nvSpPr>
          <p:cNvPr id="7263" name="Google Shape;7263;p12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264" name="Google Shape;7264;p12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265" name="Google Shape;7265;p1269"/>
          <p:cNvGrpSpPr/>
          <p:nvPr/>
        </p:nvGrpSpPr>
        <p:grpSpPr>
          <a:xfrm>
            <a:off x="0" y="5379426"/>
            <a:ext cx="2807368" cy="753891"/>
            <a:chOff x="0" y="5379426"/>
            <a:chExt cx="2807368" cy="753891"/>
          </a:xfrm>
        </p:grpSpPr>
        <p:sp>
          <p:nvSpPr>
            <p:cNvPr id="7266" name="Google Shape;7266;p12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67" name="Google Shape;7267;p12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268" name="Google Shape;7268;p1269"/>
          <p:cNvSpPr>
            <a:spLocks noGrp="1"/>
          </p:cNvSpPr>
          <p:nvPr>
            <p:ph type="pic" idx="2"/>
          </p:nvPr>
        </p:nvSpPr>
        <p:spPr>
          <a:xfrm>
            <a:off x="2807368" y="457202"/>
            <a:ext cx="8915400" cy="5943598"/>
          </a:xfrm>
          <a:prstGeom prst="rect">
            <a:avLst/>
          </a:prstGeom>
          <a:noFill/>
          <a:ln>
            <a:noFill/>
          </a:ln>
        </p:spPr>
      </p:sp>
      <p:pic>
        <p:nvPicPr>
          <p:cNvPr id="7269" name="Google Shape;7269;p12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Quotation">
  <p:cSld name="Quotation 15 3">
    <p:spTree>
      <p:nvGrpSpPr>
        <p:cNvPr id="1" name="Shape 7270"/>
        <p:cNvGrpSpPr/>
        <p:nvPr/>
      </p:nvGrpSpPr>
      <p:grpSpPr>
        <a:xfrm>
          <a:off x="0" y="0"/>
          <a:ext cx="0" cy="0"/>
          <a:chOff x="0" y="0"/>
          <a:chExt cx="0" cy="0"/>
        </a:xfrm>
      </p:grpSpPr>
      <p:sp>
        <p:nvSpPr>
          <p:cNvPr id="7271" name="Google Shape;7271;p12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72" name="Google Shape;7272;p12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73" name="Google Shape;7273;p12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74" name="Google Shape;7274;p12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75" name="Google Shape;7275;p12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76" name="Google Shape;7276;p12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277" name="Google Shape;7277;p1270"/>
          <p:cNvGrpSpPr/>
          <p:nvPr/>
        </p:nvGrpSpPr>
        <p:grpSpPr>
          <a:xfrm>
            <a:off x="7191542" y="1"/>
            <a:ext cx="5000459" cy="1425992"/>
            <a:chOff x="7191542" y="1"/>
            <a:chExt cx="5000459" cy="1425992"/>
          </a:xfrm>
        </p:grpSpPr>
        <p:pic>
          <p:nvPicPr>
            <p:cNvPr id="7278" name="Google Shape;7278;p12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79" name="Google Shape;7279;p1270"/>
            <p:cNvGrpSpPr/>
            <p:nvPr/>
          </p:nvGrpSpPr>
          <p:grpSpPr>
            <a:xfrm>
              <a:off x="7191542" y="1"/>
              <a:ext cx="5000459" cy="1425992"/>
              <a:chOff x="7186272" y="0"/>
              <a:chExt cx="5005729" cy="1427495"/>
            </a:xfrm>
          </p:grpSpPr>
          <p:sp>
            <p:nvSpPr>
              <p:cNvPr id="7280" name="Google Shape;7280;p12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81" name="Google Shape;7281;p12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282" name="Google Shape;7282;p12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Title and Content">
  <p:cSld name="Title and Content 13 2">
    <p:spTree>
      <p:nvGrpSpPr>
        <p:cNvPr id="1" name="Shape 7283"/>
        <p:cNvGrpSpPr/>
        <p:nvPr/>
      </p:nvGrpSpPr>
      <p:grpSpPr>
        <a:xfrm>
          <a:off x="0" y="0"/>
          <a:ext cx="0" cy="0"/>
          <a:chOff x="0" y="0"/>
          <a:chExt cx="0" cy="0"/>
        </a:xfrm>
      </p:grpSpPr>
      <p:grpSp>
        <p:nvGrpSpPr>
          <p:cNvPr id="7284" name="Google Shape;7284;p1271"/>
          <p:cNvGrpSpPr/>
          <p:nvPr/>
        </p:nvGrpSpPr>
        <p:grpSpPr>
          <a:xfrm>
            <a:off x="7191542" y="1"/>
            <a:ext cx="5000459" cy="1425992"/>
            <a:chOff x="7191542" y="1"/>
            <a:chExt cx="5000459" cy="1425992"/>
          </a:xfrm>
        </p:grpSpPr>
        <p:pic>
          <p:nvPicPr>
            <p:cNvPr id="7285" name="Google Shape;7285;p12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86" name="Google Shape;7286;p1271"/>
            <p:cNvGrpSpPr/>
            <p:nvPr/>
          </p:nvGrpSpPr>
          <p:grpSpPr>
            <a:xfrm>
              <a:off x="7191542" y="1"/>
              <a:ext cx="5000459" cy="1425992"/>
              <a:chOff x="7186272" y="0"/>
              <a:chExt cx="5005729" cy="1427495"/>
            </a:xfrm>
          </p:grpSpPr>
          <p:sp>
            <p:nvSpPr>
              <p:cNvPr id="7287" name="Google Shape;7287;p12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88" name="Google Shape;7288;p12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289" name="Google Shape;7289;p12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90" name="Google Shape;7290;p12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91" name="Google Shape;7291;p12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92" name="Google Shape;7292;p12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93" name="Google Shape;7293;p12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Two Content">
  <p:cSld name="Two Content 9 2">
    <p:spTree>
      <p:nvGrpSpPr>
        <p:cNvPr id="1" name="Shape 7294"/>
        <p:cNvGrpSpPr/>
        <p:nvPr/>
      </p:nvGrpSpPr>
      <p:grpSpPr>
        <a:xfrm>
          <a:off x="0" y="0"/>
          <a:ext cx="0" cy="0"/>
          <a:chOff x="0" y="0"/>
          <a:chExt cx="0" cy="0"/>
        </a:xfrm>
      </p:grpSpPr>
      <p:sp>
        <p:nvSpPr>
          <p:cNvPr id="7295" name="Google Shape;7295;p12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96" name="Google Shape;7296;p12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297" name="Google Shape;7297;p1272"/>
          <p:cNvGrpSpPr/>
          <p:nvPr/>
        </p:nvGrpSpPr>
        <p:grpSpPr>
          <a:xfrm>
            <a:off x="7191542" y="1"/>
            <a:ext cx="5000459" cy="1425992"/>
            <a:chOff x="7191542" y="1"/>
            <a:chExt cx="5000459" cy="1425992"/>
          </a:xfrm>
        </p:grpSpPr>
        <p:pic>
          <p:nvPicPr>
            <p:cNvPr id="7298" name="Google Shape;7298;p1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9" name="Google Shape;7299;p1272"/>
            <p:cNvGrpSpPr/>
            <p:nvPr/>
          </p:nvGrpSpPr>
          <p:grpSpPr>
            <a:xfrm>
              <a:off x="7191542" y="1"/>
              <a:ext cx="5000459" cy="1425992"/>
              <a:chOff x="7186272" y="0"/>
              <a:chExt cx="5005729" cy="1427495"/>
            </a:xfrm>
          </p:grpSpPr>
          <p:sp>
            <p:nvSpPr>
              <p:cNvPr id="7300" name="Google Shape;7300;p1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01" name="Google Shape;7301;p1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02" name="Google Shape;7302;p12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03" name="Google Shape;7303;p12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04" name="Google Shape;7304;p1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05" name="Google Shape;7305;p1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Comparison">
  <p:cSld name="Comparison 8 2">
    <p:spTree>
      <p:nvGrpSpPr>
        <p:cNvPr id="1" name="Shape 7306"/>
        <p:cNvGrpSpPr/>
        <p:nvPr/>
      </p:nvGrpSpPr>
      <p:grpSpPr>
        <a:xfrm>
          <a:off x="0" y="0"/>
          <a:ext cx="0" cy="0"/>
          <a:chOff x="0" y="0"/>
          <a:chExt cx="0" cy="0"/>
        </a:xfrm>
      </p:grpSpPr>
      <p:grpSp>
        <p:nvGrpSpPr>
          <p:cNvPr id="7307" name="Google Shape;7307;p1273"/>
          <p:cNvGrpSpPr/>
          <p:nvPr/>
        </p:nvGrpSpPr>
        <p:grpSpPr>
          <a:xfrm>
            <a:off x="7191542" y="1"/>
            <a:ext cx="5000459" cy="1425992"/>
            <a:chOff x="7191542" y="1"/>
            <a:chExt cx="5000459" cy="1425992"/>
          </a:xfrm>
        </p:grpSpPr>
        <p:pic>
          <p:nvPicPr>
            <p:cNvPr id="7308" name="Google Shape;7308;p1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09" name="Google Shape;7309;p1273"/>
            <p:cNvGrpSpPr/>
            <p:nvPr/>
          </p:nvGrpSpPr>
          <p:grpSpPr>
            <a:xfrm>
              <a:off x="7191542" y="1"/>
              <a:ext cx="5000459" cy="1425992"/>
              <a:chOff x="7186272" y="0"/>
              <a:chExt cx="5005729" cy="1427495"/>
            </a:xfrm>
          </p:grpSpPr>
          <p:sp>
            <p:nvSpPr>
              <p:cNvPr id="7310" name="Google Shape;7310;p1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1" name="Google Shape;7311;p1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12" name="Google Shape;7312;p1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13" name="Google Shape;7313;p127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14" name="Google Shape;7314;p127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5" name="Google Shape;7315;p127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316" name="Google Shape;7316;p127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7" name="Google Shape;7317;p1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18" name="Google Shape;7318;p1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19" name="Google Shape;7319;p1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Title Only">
  <p:cSld name="Title Only 8 2">
    <p:spTree>
      <p:nvGrpSpPr>
        <p:cNvPr id="1" name="Shape 7320"/>
        <p:cNvGrpSpPr/>
        <p:nvPr/>
      </p:nvGrpSpPr>
      <p:grpSpPr>
        <a:xfrm>
          <a:off x="0" y="0"/>
          <a:ext cx="0" cy="0"/>
          <a:chOff x="0" y="0"/>
          <a:chExt cx="0" cy="0"/>
        </a:xfrm>
      </p:grpSpPr>
      <p:grpSp>
        <p:nvGrpSpPr>
          <p:cNvPr id="7321" name="Google Shape;7321;p1274"/>
          <p:cNvGrpSpPr/>
          <p:nvPr/>
        </p:nvGrpSpPr>
        <p:grpSpPr>
          <a:xfrm>
            <a:off x="7191542" y="1"/>
            <a:ext cx="5000459" cy="1425992"/>
            <a:chOff x="7191542" y="1"/>
            <a:chExt cx="5000459" cy="1425992"/>
          </a:xfrm>
        </p:grpSpPr>
        <p:pic>
          <p:nvPicPr>
            <p:cNvPr id="7322" name="Google Shape;7322;p1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23" name="Google Shape;7323;p1274"/>
            <p:cNvGrpSpPr/>
            <p:nvPr/>
          </p:nvGrpSpPr>
          <p:grpSpPr>
            <a:xfrm>
              <a:off x="7191542" y="1"/>
              <a:ext cx="5000459" cy="1425992"/>
              <a:chOff x="7186272" y="0"/>
              <a:chExt cx="5005729" cy="1427495"/>
            </a:xfrm>
          </p:grpSpPr>
          <p:sp>
            <p:nvSpPr>
              <p:cNvPr id="7324" name="Google Shape;7324;p1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25" name="Google Shape;7325;p1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6" name="Google Shape;7326;p1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27" name="Google Shape;7327;p12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8" name="Google Shape;7328;p1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29" name="Google Shape;7329;p1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End">
  <p:cSld name="End 9 2">
    <p:spTree>
      <p:nvGrpSpPr>
        <p:cNvPr id="1" name="Shape 7330"/>
        <p:cNvGrpSpPr/>
        <p:nvPr/>
      </p:nvGrpSpPr>
      <p:grpSpPr>
        <a:xfrm>
          <a:off x="0" y="0"/>
          <a:ext cx="0" cy="0"/>
          <a:chOff x="0" y="0"/>
          <a:chExt cx="0" cy="0"/>
        </a:xfrm>
      </p:grpSpPr>
      <p:grpSp>
        <p:nvGrpSpPr>
          <p:cNvPr id="7331" name="Google Shape;7331;p1275"/>
          <p:cNvGrpSpPr/>
          <p:nvPr/>
        </p:nvGrpSpPr>
        <p:grpSpPr>
          <a:xfrm>
            <a:off x="0" y="0"/>
            <a:ext cx="12192000" cy="2148830"/>
            <a:chOff x="0" y="0"/>
            <a:chExt cx="12192000" cy="2148830"/>
          </a:xfrm>
        </p:grpSpPr>
        <p:sp>
          <p:nvSpPr>
            <p:cNvPr id="7332" name="Google Shape;7332;p127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33" name="Google Shape;7333;p127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334" name="Google Shape;7334;p127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35" name="Google Shape;7335;p127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36" name="Google Shape;7336;p127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337" name="Google Shape;7337;p127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338" name="Google Shape;7338;p127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Blank">
  <p:cSld name="Blank 7 2">
    <p:spTree>
      <p:nvGrpSpPr>
        <p:cNvPr id="1" name="Shape 7339"/>
        <p:cNvGrpSpPr/>
        <p:nvPr/>
      </p:nvGrpSpPr>
      <p:grpSpPr>
        <a:xfrm>
          <a:off x="0" y="0"/>
          <a:ext cx="0" cy="0"/>
          <a:chOff x="0" y="0"/>
          <a:chExt cx="0" cy="0"/>
        </a:xfrm>
      </p:grpSpPr>
      <p:sp>
        <p:nvSpPr>
          <p:cNvPr id="7340" name="Google Shape;7340;p1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41" name="Google Shape;7341;p1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42" name="Google Shape;7342;p1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343" name="Google Shape;7343;p1276"/>
          <p:cNvGrpSpPr/>
          <p:nvPr/>
        </p:nvGrpSpPr>
        <p:grpSpPr>
          <a:xfrm>
            <a:off x="7191542" y="1"/>
            <a:ext cx="5000459" cy="1425992"/>
            <a:chOff x="7191542" y="1"/>
            <a:chExt cx="5000459" cy="1425992"/>
          </a:xfrm>
        </p:grpSpPr>
        <p:pic>
          <p:nvPicPr>
            <p:cNvPr id="7344" name="Google Shape;7344;p1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45" name="Google Shape;7345;p1276"/>
            <p:cNvGrpSpPr/>
            <p:nvPr/>
          </p:nvGrpSpPr>
          <p:grpSpPr>
            <a:xfrm>
              <a:off x="7191542" y="1"/>
              <a:ext cx="5000459" cy="1425992"/>
              <a:chOff x="7186272" y="0"/>
              <a:chExt cx="5005729" cy="1427495"/>
            </a:xfrm>
          </p:grpSpPr>
          <p:sp>
            <p:nvSpPr>
              <p:cNvPr id="7346" name="Google Shape;7346;p1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47" name="Google Shape;7347;p1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55"/>
        <p:cNvGrpSpPr/>
        <p:nvPr/>
      </p:nvGrpSpPr>
      <p:grpSpPr>
        <a:xfrm>
          <a:off x="0" y="0"/>
          <a:ext cx="0" cy="0"/>
          <a:chOff x="0" y="0"/>
          <a:chExt cx="0" cy="0"/>
        </a:xfrm>
      </p:grpSpPr>
      <p:sp>
        <p:nvSpPr>
          <p:cNvPr id="756" name="Google Shape;756;p12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7" name="Google Shape;757;p12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8" name="Google Shape;758;p12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 name="Google Shape;759;p1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0" name="Google Shape;760;p1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1" name="Google Shape;761;p1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62" name="Google Shape;762;p1210"/>
          <p:cNvGrpSpPr/>
          <p:nvPr/>
        </p:nvGrpSpPr>
        <p:grpSpPr>
          <a:xfrm>
            <a:off x="7191542" y="1"/>
            <a:ext cx="5000459" cy="1425992"/>
            <a:chOff x="7191542" y="1"/>
            <a:chExt cx="5000459" cy="1425992"/>
          </a:xfrm>
        </p:grpSpPr>
        <p:pic>
          <p:nvPicPr>
            <p:cNvPr id="763" name="Google Shape;763;p1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4" name="Google Shape;764;p1210"/>
            <p:cNvGrpSpPr/>
            <p:nvPr/>
          </p:nvGrpSpPr>
          <p:grpSpPr>
            <a:xfrm>
              <a:off x="7191542" y="1"/>
              <a:ext cx="5000459" cy="1425992"/>
              <a:chOff x="7186272" y="0"/>
              <a:chExt cx="5005729" cy="1427495"/>
            </a:xfrm>
          </p:grpSpPr>
          <p:sp>
            <p:nvSpPr>
              <p:cNvPr id="765" name="Google Shape;765;p1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6" name="Google Shape;766;p1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67" name="Google Shape;767;p12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3_Quotation">
  <p:cSld name="3_Quotation 3 4">
    <p:spTree>
      <p:nvGrpSpPr>
        <p:cNvPr id="1" name="Shape 7348"/>
        <p:cNvGrpSpPr/>
        <p:nvPr/>
      </p:nvGrpSpPr>
      <p:grpSpPr>
        <a:xfrm>
          <a:off x="0" y="0"/>
          <a:ext cx="0" cy="0"/>
          <a:chOff x="0" y="0"/>
          <a:chExt cx="0" cy="0"/>
        </a:xfrm>
      </p:grpSpPr>
      <p:sp>
        <p:nvSpPr>
          <p:cNvPr id="7349" name="Google Shape;7349;p12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50" name="Google Shape;7350;p12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51" name="Google Shape;7351;p12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52" name="Google Shape;7352;p12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3" name="Google Shape;7353;p12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54" name="Google Shape;7354;p12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355" name="Google Shape;7355;p1277"/>
          <p:cNvGrpSpPr/>
          <p:nvPr/>
        </p:nvGrpSpPr>
        <p:grpSpPr>
          <a:xfrm>
            <a:off x="7191542" y="1"/>
            <a:ext cx="5000459" cy="1425992"/>
            <a:chOff x="7191542" y="1"/>
            <a:chExt cx="5000459" cy="1425992"/>
          </a:xfrm>
        </p:grpSpPr>
        <p:pic>
          <p:nvPicPr>
            <p:cNvPr id="7356" name="Google Shape;7356;p12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57" name="Google Shape;7357;p1277"/>
            <p:cNvGrpSpPr/>
            <p:nvPr/>
          </p:nvGrpSpPr>
          <p:grpSpPr>
            <a:xfrm>
              <a:off x="7191542" y="1"/>
              <a:ext cx="5000459" cy="1425992"/>
              <a:chOff x="7186272" y="0"/>
              <a:chExt cx="5005729" cy="1427495"/>
            </a:xfrm>
          </p:grpSpPr>
          <p:sp>
            <p:nvSpPr>
              <p:cNvPr id="7358" name="Google Shape;7358;p12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59" name="Google Shape;7359;p12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360" name="Google Shape;7360;p12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Cover">
  <p:cSld name="Cover 10 3">
    <p:spTree>
      <p:nvGrpSpPr>
        <p:cNvPr id="1" name="Shape 7361"/>
        <p:cNvGrpSpPr/>
        <p:nvPr/>
      </p:nvGrpSpPr>
      <p:grpSpPr>
        <a:xfrm>
          <a:off x="0" y="0"/>
          <a:ext cx="0" cy="0"/>
          <a:chOff x="0" y="0"/>
          <a:chExt cx="0" cy="0"/>
        </a:xfrm>
      </p:grpSpPr>
      <p:sp>
        <p:nvSpPr>
          <p:cNvPr id="7362" name="Google Shape;7362;p12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63" name="Google Shape;7363;p12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64" name="Google Shape;7364;p12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365" name="Google Shape;7365;p1278"/>
          <p:cNvSpPr>
            <a:spLocks noGrp="1"/>
          </p:cNvSpPr>
          <p:nvPr>
            <p:ph type="pic" idx="2"/>
          </p:nvPr>
        </p:nvSpPr>
        <p:spPr>
          <a:xfrm>
            <a:off x="7118684" y="233915"/>
            <a:ext cx="5073316" cy="5943600"/>
          </a:xfrm>
          <a:prstGeom prst="rect">
            <a:avLst/>
          </a:prstGeom>
          <a:noFill/>
          <a:ln>
            <a:noFill/>
          </a:ln>
        </p:spPr>
      </p:sp>
      <p:grpSp>
        <p:nvGrpSpPr>
          <p:cNvPr id="7366" name="Google Shape;7366;p1278"/>
          <p:cNvGrpSpPr/>
          <p:nvPr/>
        </p:nvGrpSpPr>
        <p:grpSpPr>
          <a:xfrm>
            <a:off x="0" y="5020348"/>
            <a:ext cx="12192000" cy="1837653"/>
            <a:chOff x="0" y="5020348"/>
            <a:chExt cx="12192000" cy="1837653"/>
          </a:xfrm>
        </p:grpSpPr>
        <p:sp>
          <p:nvSpPr>
            <p:cNvPr id="7367" name="Google Shape;7367;p12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68" name="Google Shape;7368;p12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369" name="Google Shape;7369;p12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Divider">
  <p:cSld name="Divider 11 3">
    <p:bg>
      <p:bgPr>
        <a:solidFill>
          <a:schemeClr val="lt2"/>
        </a:solidFill>
        <a:effectLst/>
      </p:bgPr>
    </p:bg>
    <p:spTree>
      <p:nvGrpSpPr>
        <p:cNvPr id="1" name="Shape 7370"/>
        <p:cNvGrpSpPr/>
        <p:nvPr/>
      </p:nvGrpSpPr>
      <p:grpSpPr>
        <a:xfrm>
          <a:off x="0" y="0"/>
          <a:ext cx="0" cy="0"/>
          <a:chOff x="0" y="0"/>
          <a:chExt cx="0" cy="0"/>
        </a:xfrm>
      </p:grpSpPr>
      <p:grpSp>
        <p:nvGrpSpPr>
          <p:cNvPr id="7371" name="Google Shape;7371;p1279"/>
          <p:cNvGrpSpPr/>
          <p:nvPr/>
        </p:nvGrpSpPr>
        <p:grpSpPr>
          <a:xfrm>
            <a:off x="0" y="5020347"/>
            <a:ext cx="12192000" cy="1837653"/>
            <a:chOff x="0" y="5020347"/>
            <a:chExt cx="12192000" cy="1837653"/>
          </a:xfrm>
        </p:grpSpPr>
        <p:sp>
          <p:nvSpPr>
            <p:cNvPr id="7372" name="Google Shape;7372;p12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73" name="Google Shape;7373;p12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74" name="Google Shape;7374;p12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375" name="Google Shape;7375;p12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376" name="Google Shape;7376;p12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77" name="Google Shape;7377;p12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Photo Slide">
  <p:cSld name="Photo Slide 10 3">
    <p:spTree>
      <p:nvGrpSpPr>
        <p:cNvPr id="1" name="Shape 7378"/>
        <p:cNvGrpSpPr/>
        <p:nvPr/>
      </p:nvGrpSpPr>
      <p:grpSpPr>
        <a:xfrm>
          <a:off x="0" y="0"/>
          <a:ext cx="0" cy="0"/>
          <a:chOff x="0" y="0"/>
          <a:chExt cx="0" cy="0"/>
        </a:xfrm>
      </p:grpSpPr>
      <p:sp>
        <p:nvSpPr>
          <p:cNvPr id="7379" name="Google Shape;7379;p12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380" name="Google Shape;7380;p12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381" name="Google Shape;7381;p1280"/>
          <p:cNvGrpSpPr/>
          <p:nvPr/>
        </p:nvGrpSpPr>
        <p:grpSpPr>
          <a:xfrm>
            <a:off x="0" y="5379426"/>
            <a:ext cx="2807368" cy="753891"/>
            <a:chOff x="0" y="5379426"/>
            <a:chExt cx="2807368" cy="753891"/>
          </a:xfrm>
        </p:grpSpPr>
        <p:sp>
          <p:nvSpPr>
            <p:cNvPr id="7382" name="Google Shape;7382;p12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83" name="Google Shape;7383;p12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384" name="Google Shape;7384;p1280"/>
          <p:cNvSpPr>
            <a:spLocks noGrp="1"/>
          </p:cNvSpPr>
          <p:nvPr>
            <p:ph type="pic" idx="2"/>
          </p:nvPr>
        </p:nvSpPr>
        <p:spPr>
          <a:xfrm>
            <a:off x="2807368" y="457202"/>
            <a:ext cx="8915400" cy="5943598"/>
          </a:xfrm>
          <a:prstGeom prst="rect">
            <a:avLst/>
          </a:prstGeom>
          <a:noFill/>
          <a:ln>
            <a:noFill/>
          </a:ln>
        </p:spPr>
      </p:sp>
      <p:pic>
        <p:nvPicPr>
          <p:cNvPr id="7385" name="Google Shape;7385;p12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Quotation">
  <p:cSld name="Quotation 15 4">
    <p:spTree>
      <p:nvGrpSpPr>
        <p:cNvPr id="1" name="Shape 7386"/>
        <p:cNvGrpSpPr/>
        <p:nvPr/>
      </p:nvGrpSpPr>
      <p:grpSpPr>
        <a:xfrm>
          <a:off x="0" y="0"/>
          <a:ext cx="0" cy="0"/>
          <a:chOff x="0" y="0"/>
          <a:chExt cx="0" cy="0"/>
        </a:xfrm>
      </p:grpSpPr>
      <p:sp>
        <p:nvSpPr>
          <p:cNvPr id="7387" name="Google Shape;7387;p12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88" name="Google Shape;7388;p12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89" name="Google Shape;7389;p12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90" name="Google Shape;7390;p1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91" name="Google Shape;7391;p1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92" name="Google Shape;7392;p1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393" name="Google Shape;7393;p1281"/>
          <p:cNvGrpSpPr/>
          <p:nvPr/>
        </p:nvGrpSpPr>
        <p:grpSpPr>
          <a:xfrm>
            <a:off x="7191542" y="1"/>
            <a:ext cx="5000459" cy="1425992"/>
            <a:chOff x="7191542" y="1"/>
            <a:chExt cx="5000459" cy="1425992"/>
          </a:xfrm>
        </p:grpSpPr>
        <p:pic>
          <p:nvPicPr>
            <p:cNvPr id="7394" name="Google Shape;7394;p1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95" name="Google Shape;7395;p1281"/>
            <p:cNvGrpSpPr/>
            <p:nvPr/>
          </p:nvGrpSpPr>
          <p:grpSpPr>
            <a:xfrm>
              <a:off x="7191542" y="1"/>
              <a:ext cx="5000459" cy="1425992"/>
              <a:chOff x="7186272" y="0"/>
              <a:chExt cx="5005729" cy="1427495"/>
            </a:xfrm>
          </p:grpSpPr>
          <p:sp>
            <p:nvSpPr>
              <p:cNvPr id="7396" name="Google Shape;7396;p1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97" name="Google Shape;7397;p1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398" name="Google Shape;7398;p128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Title and Content">
  <p:cSld name="Title and Content 13 3">
    <p:spTree>
      <p:nvGrpSpPr>
        <p:cNvPr id="1" name="Shape 7399"/>
        <p:cNvGrpSpPr/>
        <p:nvPr/>
      </p:nvGrpSpPr>
      <p:grpSpPr>
        <a:xfrm>
          <a:off x="0" y="0"/>
          <a:ext cx="0" cy="0"/>
          <a:chOff x="0" y="0"/>
          <a:chExt cx="0" cy="0"/>
        </a:xfrm>
      </p:grpSpPr>
      <p:grpSp>
        <p:nvGrpSpPr>
          <p:cNvPr id="7400" name="Google Shape;7400;p1282"/>
          <p:cNvGrpSpPr/>
          <p:nvPr/>
        </p:nvGrpSpPr>
        <p:grpSpPr>
          <a:xfrm>
            <a:off x="7191542" y="1"/>
            <a:ext cx="5000459" cy="1425992"/>
            <a:chOff x="7191542" y="1"/>
            <a:chExt cx="5000459" cy="1425992"/>
          </a:xfrm>
        </p:grpSpPr>
        <p:pic>
          <p:nvPicPr>
            <p:cNvPr id="7401" name="Google Shape;7401;p12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02" name="Google Shape;7402;p1282"/>
            <p:cNvGrpSpPr/>
            <p:nvPr/>
          </p:nvGrpSpPr>
          <p:grpSpPr>
            <a:xfrm>
              <a:off x="7191542" y="1"/>
              <a:ext cx="5000459" cy="1425992"/>
              <a:chOff x="7186272" y="0"/>
              <a:chExt cx="5005729" cy="1427495"/>
            </a:xfrm>
          </p:grpSpPr>
          <p:sp>
            <p:nvSpPr>
              <p:cNvPr id="7403" name="Google Shape;7403;p12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04" name="Google Shape;7404;p12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05" name="Google Shape;7405;p12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06" name="Google Shape;7406;p12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07" name="Google Shape;7407;p12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08" name="Google Shape;7408;p12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09" name="Google Shape;7409;p12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Two Content">
  <p:cSld name="Two Content 9 3">
    <p:spTree>
      <p:nvGrpSpPr>
        <p:cNvPr id="1" name="Shape 7410"/>
        <p:cNvGrpSpPr/>
        <p:nvPr/>
      </p:nvGrpSpPr>
      <p:grpSpPr>
        <a:xfrm>
          <a:off x="0" y="0"/>
          <a:ext cx="0" cy="0"/>
          <a:chOff x="0" y="0"/>
          <a:chExt cx="0" cy="0"/>
        </a:xfrm>
      </p:grpSpPr>
      <p:sp>
        <p:nvSpPr>
          <p:cNvPr id="7411" name="Google Shape;7411;p9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2" name="Google Shape;7412;p9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13" name="Google Shape;7413;p916"/>
          <p:cNvGrpSpPr/>
          <p:nvPr/>
        </p:nvGrpSpPr>
        <p:grpSpPr>
          <a:xfrm>
            <a:off x="7191542" y="1"/>
            <a:ext cx="5000459" cy="1425992"/>
            <a:chOff x="7191542" y="1"/>
            <a:chExt cx="5000459" cy="1425992"/>
          </a:xfrm>
        </p:grpSpPr>
        <p:pic>
          <p:nvPicPr>
            <p:cNvPr id="7414" name="Google Shape;7414;p9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15" name="Google Shape;7415;p916"/>
            <p:cNvGrpSpPr/>
            <p:nvPr/>
          </p:nvGrpSpPr>
          <p:grpSpPr>
            <a:xfrm>
              <a:off x="7191542" y="1"/>
              <a:ext cx="5000459" cy="1425992"/>
              <a:chOff x="7186272" y="0"/>
              <a:chExt cx="5005729" cy="1427495"/>
            </a:xfrm>
          </p:grpSpPr>
          <p:sp>
            <p:nvSpPr>
              <p:cNvPr id="7416" name="Google Shape;7416;p9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17" name="Google Shape;7417;p9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18" name="Google Shape;7418;p9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19" name="Google Shape;7419;p9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20" name="Google Shape;7420;p9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21" name="Google Shape;7421;p9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Comparison">
  <p:cSld name="Comparison 8 3">
    <p:spTree>
      <p:nvGrpSpPr>
        <p:cNvPr id="1" name="Shape 7422"/>
        <p:cNvGrpSpPr/>
        <p:nvPr/>
      </p:nvGrpSpPr>
      <p:grpSpPr>
        <a:xfrm>
          <a:off x="0" y="0"/>
          <a:ext cx="0" cy="0"/>
          <a:chOff x="0" y="0"/>
          <a:chExt cx="0" cy="0"/>
        </a:xfrm>
      </p:grpSpPr>
      <p:grpSp>
        <p:nvGrpSpPr>
          <p:cNvPr id="7423" name="Google Shape;7423;p917"/>
          <p:cNvGrpSpPr/>
          <p:nvPr/>
        </p:nvGrpSpPr>
        <p:grpSpPr>
          <a:xfrm>
            <a:off x="7191542" y="1"/>
            <a:ext cx="5000459" cy="1425992"/>
            <a:chOff x="7191542" y="1"/>
            <a:chExt cx="5000459" cy="1425992"/>
          </a:xfrm>
        </p:grpSpPr>
        <p:pic>
          <p:nvPicPr>
            <p:cNvPr id="7424" name="Google Shape;7424;p9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5" name="Google Shape;7425;p917"/>
            <p:cNvGrpSpPr/>
            <p:nvPr/>
          </p:nvGrpSpPr>
          <p:grpSpPr>
            <a:xfrm>
              <a:off x="7191542" y="1"/>
              <a:ext cx="5000459" cy="1425992"/>
              <a:chOff x="7186272" y="0"/>
              <a:chExt cx="5005729" cy="1427495"/>
            </a:xfrm>
          </p:grpSpPr>
          <p:sp>
            <p:nvSpPr>
              <p:cNvPr id="7426" name="Google Shape;7426;p9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27" name="Google Shape;7427;p9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28" name="Google Shape;7428;p9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29" name="Google Shape;7429;p9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30" name="Google Shape;7430;p9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1" name="Google Shape;7431;p9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432" name="Google Shape;7432;p9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33" name="Google Shape;7433;p9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34" name="Google Shape;7434;p9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5" name="Google Shape;7435;p9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Title Only">
  <p:cSld name="Title Only 8 3">
    <p:spTree>
      <p:nvGrpSpPr>
        <p:cNvPr id="1" name="Shape 7436"/>
        <p:cNvGrpSpPr/>
        <p:nvPr/>
      </p:nvGrpSpPr>
      <p:grpSpPr>
        <a:xfrm>
          <a:off x="0" y="0"/>
          <a:ext cx="0" cy="0"/>
          <a:chOff x="0" y="0"/>
          <a:chExt cx="0" cy="0"/>
        </a:xfrm>
      </p:grpSpPr>
      <p:grpSp>
        <p:nvGrpSpPr>
          <p:cNvPr id="7437" name="Google Shape;7437;p918"/>
          <p:cNvGrpSpPr/>
          <p:nvPr/>
        </p:nvGrpSpPr>
        <p:grpSpPr>
          <a:xfrm>
            <a:off x="7191542" y="1"/>
            <a:ext cx="5000459" cy="1425992"/>
            <a:chOff x="7191542" y="1"/>
            <a:chExt cx="5000459" cy="1425992"/>
          </a:xfrm>
        </p:grpSpPr>
        <p:pic>
          <p:nvPicPr>
            <p:cNvPr id="7438" name="Google Shape;7438;p9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9" name="Google Shape;7439;p918"/>
            <p:cNvGrpSpPr/>
            <p:nvPr/>
          </p:nvGrpSpPr>
          <p:grpSpPr>
            <a:xfrm>
              <a:off x="7191542" y="1"/>
              <a:ext cx="5000459" cy="1425992"/>
              <a:chOff x="7186272" y="0"/>
              <a:chExt cx="5005729" cy="1427495"/>
            </a:xfrm>
          </p:grpSpPr>
          <p:sp>
            <p:nvSpPr>
              <p:cNvPr id="7440" name="Google Shape;7440;p9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1" name="Google Shape;7441;p9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42" name="Google Shape;7442;p9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43" name="Google Shape;7443;p9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44" name="Google Shape;7444;p9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45" name="Google Shape;7445;p9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End">
  <p:cSld name="End 9 3">
    <p:spTree>
      <p:nvGrpSpPr>
        <p:cNvPr id="1" name="Shape 7446"/>
        <p:cNvGrpSpPr/>
        <p:nvPr/>
      </p:nvGrpSpPr>
      <p:grpSpPr>
        <a:xfrm>
          <a:off x="0" y="0"/>
          <a:ext cx="0" cy="0"/>
          <a:chOff x="0" y="0"/>
          <a:chExt cx="0" cy="0"/>
        </a:xfrm>
      </p:grpSpPr>
      <p:grpSp>
        <p:nvGrpSpPr>
          <p:cNvPr id="7447" name="Google Shape;7447;p919"/>
          <p:cNvGrpSpPr/>
          <p:nvPr/>
        </p:nvGrpSpPr>
        <p:grpSpPr>
          <a:xfrm>
            <a:off x="0" y="0"/>
            <a:ext cx="12192000" cy="2148830"/>
            <a:chOff x="0" y="0"/>
            <a:chExt cx="12192000" cy="2148830"/>
          </a:xfrm>
        </p:grpSpPr>
        <p:sp>
          <p:nvSpPr>
            <p:cNvPr id="7448" name="Google Shape;7448;p9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9" name="Google Shape;7449;p9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450" name="Google Shape;7450;p9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51" name="Google Shape;7451;p9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52" name="Google Shape;7452;p9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453" name="Google Shape;7453;p9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454" name="Google Shape;7454;p91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68"/>
        <p:cNvGrpSpPr/>
        <p:nvPr/>
      </p:nvGrpSpPr>
      <p:grpSpPr>
        <a:xfrm>
          <a:off x="0" y="0"/>
          <a:ext cx="0" cy="0"/>
          <a:chOff x="0" y="0"/>
          <a:chExt cx="0" cy="0"/>
        </a:xfrm>
      </p:grpSpPr>
      <p:grpSp>
        <p:nvGrpSpPr>
          <p:cNvPr id="769" name="Google Shape;769;p129"/>
          <p:cNvGrpSpPr/>
          <p:nvPr/>
        </p:nvGrpSpPr>
        <p:grpSpPr>
          <a:xfrm>
            <a:off x="7191542" y="1"/>
            <a:ext cx="5000459" cy="1425992"/>
            <a:chOff x="7191542" y="1"/>
            <a:chExt cx="5000459" cy="1425992"/>
          </a:xfrm>
        </p:grpSpPr>
        <p:pic>
          <p:nvPicPr>
            <p:cNvPr id="770" name="Google Shape;770;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1" name="Google Shape;771;p129"/>
            <p:cNvGrpSpPr/>
            <p:nvPr/>
          </p:nvGrpSpPr>
          <p:grpSpPr>
            <a:xfrm>
              <a:off x="7191542" y="1"/>
              <a:ext cx="5000459" cy="1425992"/>
              <a:chOff x="7186272" y="0"/>
              <a:chExt cx="5005729" cy="1427495"/>
            </a:xfrm>
          </p:grpSpPr>
          <p:sp>
            <p:nvSpPr>
              <p:cNvPr id="772" name="Google Shape;772;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3" name="Google Shape;773;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4" name="Google Shape;774;p1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5" name="Google Shape;775;p1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6" name="Google Shape;776;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7" name="Google Shape;777;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8" name="Google Shape;77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Blank">
  <p:cSld name="Blank 7 3">
    <p:spTree>
      <p:nvGrpSpPr>
        <p:cNvPr id="1" name="Shape 7455"/>
        <p:cNvGrpSpPr/>
        <p:nvPr/>
      </p:nvGrpSpPr>
      <p:grpSpPr>
        <a:xfrm>
          <a:off x="0" y="0"/>
          <a:ext cx="0" cy="0"/>
          <a:chOff x="0" y="0"/>
          <a:chExt cx="0" cy="0"/>
        </a:xfrm>
      </p:grpSpPr>
      <p:sp>
        <p:nvSpPr>
          <p:cNvPr id="7456" name="Google Shape;7456;p9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57" name="Google Shape;7457;p9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58" name="Google Shape;7458;p9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459" name="Google Shape;7459;p920"/>
          <p:cNvGrpSpPr/>
          <p:nvPr/>
        </p:nvGrpSpPr>
        <p:grpSpPr>
          <a:xfrm>
            <a:off x="7191542" y="1"/>
            <a:ext cx="5000459" cy="1425992"/>
            <a:chOff x="7191542" y="1"/>
            <a:chExt cx="5000459" cy="1425992"/>
          </a:xfrm>
        </p:grpSpPr>
        <p:pic>
          <p:nvPicPr>
            <p:cNvPr id="7460" name="Google Shape;7460;p9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61" name="Google Shape;7461;p920"/>
            <p:cNvGrpSpPr/>
            <p:nvPr/>
          </p:nvGrpSpPr>
          <p:grpSpPr>
            <a:xfrm>
              <a:off x="7191542" y="1"/>
              <a:ext cx="5000459" cy="1425992"/>
              <a:chOff x="7186272" y="0"/>
              <a:chExt cx="5005729" cy="1427495"/>
            </a:xfrm>
          </p:grpSpPr>
          <p:sp>
            <p:nvSpPr>
              <p:cNvPr id="7462" name="Google Shape;7462;p9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63" name="Google Shape;7463;p9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3_Quotation">
  <p:cSld name="3_Quotation 3 5">
    <p:spTree>
      <p:nvGrpSpPr>
        <p:cNvPr id="1" name="Shape 7464"/>
        <p:cNvGrpSpPr/>
        <p:nvPr/>
      </p:nvGrpSpPr>
      <p:grpSpPr>
        <a:xfrm>
          <a:off x="0" y="0"/>
          <a:ext cx="0" cy="0"/>
          <a:chOff x="0" y="0"/>
          <a:chExt cx="0" cy="0"/>
        </a:xfrm>
      </p:grpSpPr>
      <p:sp>
        <p:nvSpPr>
          <p:cNvPr id="7465" name="Google Shape;7465;p9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66" name="Google Shape;7466;p9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67" name="Google Shape;7467;p9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8" name="Google Shape;7468;p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69" name="Google Shape;7469;p9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70" name="Google Shape;7470;p9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471" name="Google Shape;7471;p921"/>
          <p:cNvGrpSpPr/>
          <p:nvPr/>
        </p:nvGrpSpPr>
        <p:grpSpPr>
          <a:xfrm>
            <a:off x="7191542" y="1"/>
            <a:ext cx="5000459" cy="1425992"/>
            <a:chOff x="7191542" y="1"/>
            <a:chExt cx="5000459" cy="1425992"/>
          </a:xfrm>
        </p:grpSpPr>
        <p:pic>
          <p:nvPicPr>
            <p:cNvPr id="7472" name="Google Shape;7472;p9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73" name="Google Shape;7473;p921"/>
            <p:cNvGrpSpPr/>
            <p:nvPr/>
          </p:nvGrpSpPr>
          <p:grpSpPr>
            <a:xfrm>
              <a:off x="7191542" y="1"/>
              <a:ext cx="5000459" cy="1425992"/>
              <a:chOff x="7186272" y="0"/>
              <a:chExt cx="5005729" cy="1427495"/>
            </a:xfrm>
          </p:grpSpPr>
          <p:sp>
            <p:nvSpPr>
              <p:cNvPr id="7474" name="Google Shape;7474;p9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75" name="Google Shape;7475;p9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476" name="Google Shape;7476;p9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7477"/>
        <p:cNvGrpSpPr/>
        <p:nvPr/>
      </p:nvGrpSpPr>
      <p:grpSpPr>
        <a:xfrm>
          <a:off x="0" y="0"/>
          <a:ext cx="0" cy="0"/>
          <a:chOff x="0" y="0"/>
          <a:chExt cx="0" cy="0"/>
        </a:xfrm>
      </p:grpSpPr>
      <p:sp>
        <p:nvSpPr>
          <p:cNvPr id="7478" name="Google Shape;7478;p92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79" name="Google Shape;7479;p92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480" name="Google Shape;7480;p92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481" name="Google Shape;7481;p9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482" name="Google Shape;7482;p9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7483"/>
        <p:cNvGrpSpPr/>
        <p:nvPr/>
      </p:nvGrpSpPr>
      <p:grpSpPr>
        <a:xfrm>
          <a:off x="0" y="0"/>
          <a:ext cx="0" cy="0"/>
          <a:chOff x="0" y="0"/>
          <a:chExt cx="0" cy="0"/>
        </a:xfrm>
      </p:grpSpPr>
      <p:sp>
        <p:nvSpPr>
          <p:cNvPr id="7484" name="Google Shape;7484;p92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5" name="Google Shape;7485;p92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86" name="Google Shape;7486;p92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487" name="Google Shape;7487;p9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488" name="Google Shape;7488;p9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89" name="Google Shape;7489;p92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490" name="Google Shape;7490;p92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491" name="Google Shape;7491;p92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492" name="Google Shape;7492;p92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7493"/>
        <p:cNvGrpSpPr/>
        <p:nvPr/>
      </p:nvGrpSpPr>
      <p:grpSpPr>
        <a:xfrm>
          <a:off x="0" y="0"/>
          <a:ext cx="0" cy="0"/>
          <a:chOff x="0" y="0"/>
          <a:chExt cx="0" cy="0"/>
        </a:xfrm>
      </p:grpSpPr>
      <p:sp>
        <p:nvSpPr>
          <p:cNvPr id="7494" name="Google Shape;7494;p128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95" name="Google Shape;7495;p128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96" name="Google Shape;7496;p12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497" name="Google Shape;7497;p12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498" name="Google Shape;7498;p12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99" name="Google Shape;7499;p128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00" name="Google Shape;7500;p128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01" name="Google Shape;7501;p128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02" name="Google Shape;7502;p128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7503"/>
        <p:cNvGrpSpPr/>
        <p:nvPr/>
      </p:nvGrpSpPr>
      <p:grpSpPr>
        <a:xfrm>
          <a:off x="0" y="0"/>
          <a:ext cx="0" cy="0"/>
          <a:chOff x="0" y="0"/>
          <a:chExt cx="0" cy="0"/>
        </a:xfrm>
      </p:grpSpPr>
      <p:sp>
        <p:nvSpPr>
          <p:cNvPr id="7504" name="Google Shape;7504;p128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05" name="Google Shape;7505;p128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06" name="Google Shape;7506;p128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507" name="Google Shape;7507;p12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508" name="Google Shape;7508;p12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509" name="Google Shape;7509;p128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10" name="Google Shape;7510;p128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11" name="Google Shape;7511;p128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12" name="Google Shape;7512;p128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2">
    <p:spTree>
      <p:nvGrpSpPr>
        <p:cNvPr id="1" name="Shape 7513"/>
        <p:cNvGrpSpPr/>
        <p:nvPr/>
      </p:nvGrpSpPr>
      <p:grpSpPr>
        <a:xfrm>
          <a:off x="0" y="0"/>
          <a:ext cx="0" cy="0"/>
          <a:chOff x="0" y="0"/>
          <a:chExt cx="0" cy="0"/>
        </a:xfrm>
      </p:grpSpPr>
      <p:sp>
        <p:nvSpPr>
          <p:cNvPr id="7514" name="Google Shape;7514;p128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5" name="Google Shape;7515;p128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16" name="Google Shape;7516;p128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517" name="Google Shape;7517;p12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518" name="Google Shape;7518;p1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519" name="Google Shape;7519;p128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20" name="Google Shape;7520;p128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21" name="Google Shape;7521;p128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22" name="Google Shape;7522;p128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523"/>
        <p:cNvGrpSpPr/>
        <p:nvPr/>
      </p:nvGrpSpPr>
      <p:grpSpPr>
        <a:xfrm>
          <a:off x="0" y="0"/>
          <a:ext cx="0" cy="0"/>
          <a:chOff x="0" y="0"/>
          <a:chExt cx="0" cy="0"/>
        </a:xfrm>
      </p:grpSpPr>
      <p:sp>
        <p:nvSpPr>
          <p:cNvPr id="7524" name="Google Shape;7524;p12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25" name="Google Shape;7525;p12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26" name="Google Shape;7526;p12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27" name="Google Shape;7527;p12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28" name="Google Shape;7528;p12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529"/>
        <p:cNvGrpSpPr/>
        <p:nvPr/>
      </p:nvGrpSpPr>
      <p:grpSpPr>
        <a:xfrm>
          <a:off x="0" y="0"/>
          <a:ext cx="0" cy="0"/>
          <a:chOff x="0" y="0"/>
          <a:chExt cx="0" cy="0"/>
        </a:xfrm>
      </p:grpSpPr>
      <p:sp>
        <p:nvSpPr>
          <p:cNvPr id="7530" name="Google Shape;7530;p9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531" name="Google Shape;7531;p9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7532" name="Google Shape;7532;p9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33" name="Google Shape;7533;p92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34" name="Google Shape;7534;p92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535"/>
        <p:cNvGrpSpPr/>
        <p:nvPr/>
      </p:nvGrpSpPr>
      <p:grpSpPr>
        <a:xfrm>
          <a:off x="0" y="0"/>
          <a:ext cx="0" cy="0"/>
          <a:chOff x="0" y="0"/>
          <a:chExt cx="0" cy="0"/>
        </a:xfrm>
      </p:grpSpPr>
      <p:sp>
        <p:nvSpPr>
          <p:cNvPr id="7536" name="Google Shape;7536;p92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37" name="Google Shape;7537;p92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38" name="Google Shape;7538;p92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39" name="Google Shape;7539;p92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0" name="Google Shape;7540;p92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541" name="Google Shape;7541;p9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79"/>
        <p:cNvGrpSpPr/>
        <p:nvPr/>
      </p:nvGrpSpPr>
      <p:grpSpPr>
        <a:xfrm>
          <a:off x="0" y="0"/>
          <a:ext cx="0" cy="0"/>
          <a:chOff x="0" y="0"/>
          <a:chExt cx="0" cy="0"/>
        </a:xfrm>
      </p:grpSpPr>
      <p:sp>
        <p:nvSpPr>
          <p:cNvPr id="780" name="Google Shape;780;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1" name="Google Shape;781;p1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2" name="Google Shape;782;p130"/>
          <p:cNvGrpSpPr/>
          <p:nvPr/>
        </p:nvGrpSpPr>
        <p:grpSpPr>
          <a:xfrm>
            <a:off x="7191542" y="1"/>
            <a:ext cx="5000459" cy="1425992"/>
            <a:chOff x="7191542" y="1"/>
            <a:chExt cx="5000459" cy="1425992"/>
          </a:xfrm>
        </p:grpSpPr>
        <p:pic>
          <p:nvPicPr>
            <p:cNvPr id="783" name="Google Shape;783;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4" name="Google Shape;784;p130"/>
            <p:cNvGrpSpPr/>
            <p:nvPr/>
          </p:nvGrpSpPr>
          <p:grpSpPr>
            <a:xfrm>
              <a:off x="7191542" y="1"/>
              <a:ext cx="5000459" cy="1425992"/>
              <a:chOff x="7186272" y="0"/>
              <a:chExt cx="5005729" cy="1427495"/>
            </a:xfrm>
          </p:grpSpPr>
          <p:sp>
            <p:nvSpPr>
              <p:cNvPr id="785" name="Google Shape;785;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6" name="Google Shape;786;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87" name="Google Shape;787;p1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8" name="Google Shape;788;p1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9" name="Google Shape;789;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0" name="Google Shape;790;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2">
    <p:spTree>
      <p:nvGrpSpPr>
        <p:cNvPr id="1" name="Shape 7542"/>
        <p:cNvGrpSpPr/>
        <p:nvPr/>
      </p:nvGrpSpPr>
      <p:grpSpPr>
        <a:xfrm>
          <a:off x="0" y="0"/>
          <a:ext cx="0" cy="0"/>
          <a:chOff x="0" y="0"/>
          <a:chExt cx="0" cy="0"/>
        </a:xfrm>
      </p:grpSpPr>
      <p:sp>
        <p:nvSpPr>
          <p:cNvPr id="7543" name="Google Shape;7543;p9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44" name="Google Shape;7544;p9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45" name="Google Shape;7545;p9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546" name="Google Shape;7546;p9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547" name="Google Shape;7547;p9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548" name="Google Shape;7548;p9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49" name="Google Shape;7549;p9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50" name="Google Shape;7550;p9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51" name="Google Shape;7551;p9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7552"/>
        <p:cNvGrpSpPr/>
        <p:nvPr/>
      </p:nvGrpSpPr>
      <p:grpSpPr>
        <a:xfrm>
          <a:off x="0" y="0"/>
          <a:ext cx="0" cy="0"/>
          <a:chOff x="0" y="0"/>
          <a:chExt cx="0" cy="0"/>
        </a:xfrm>
      </p:grpSpPr>
      <p:sp>
        <p:nvSpPr>
          <p:cNvPr id="7553" name="Google Shape;7553;p9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54" name="Google Shape;7554;p9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55" name="Google Shape;7555;p9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56" name="Google Shape;7556;p9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57" name="Google Shape;7557;p93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7558"/>
        <p:cNvGrpSpPr/>
        <p:nvPr/>
      </p:nvGrpSpPr>
      <p:grpSpPr>
        <a:xfrm>
          <a:off x="0" y="0"/>
          <a:ext cx="0" cy="0"/>
          <a:chOff x="0" y="0"/>
          <a:chExt cx="0" cy="0"/>
        </a:xfrm>
      </p:grpSpPr>
      <p:sp>
        <p:nvSpPr>
          <p:cNvPr id="7559" name="Google Shape;7559;p12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560" name="Google Shape;7560;p128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61" name="Google Shape;7561;p12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62" name="Google Shape;7562;p12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3" name="Google Shape;7563;p12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7564"/>
        <p:cNvGrpSpPr/>
        <p:nvPr/>
      </p:nvGrpSpPr>
      <p:grpSpPr>
        <a:xfrm>
          <a:off x="0" y="0"/>
          <a:ext cx="0" cy="0"/>
          <a:chOff x="0" y="0"/>
          <a:chExt cx="0" cy="0"/>
        </a:xfrm>
      </p:grpSpPr>
      <p:sp>
        <p:nvSpPr>
          <p:cNvPr id="7565" name="Google Shape;7565;p12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66" name="Google Shape;7566;p12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67" name="Google Shape;7567;p12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8" name="Google Shape;7568;p12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69" name="Google Shape;7569;p12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570" name="Google Shape;7570;p128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7571"/>
        <p:cNvGrpSpPr/>
        <p:nvPr/>
      </p:nvGrpSpPr>
      <p:grpSpPr>
        <a:xfrm>
          <a:off x="0" y="0"/>
          <a:ext cx="0" cy="0"/>
          <a:chOff x="0" y="0"/>
          <a:chExt cx="0" cy="0"/>
        </a:xfrm>
      </p:grpSpPr>
      <p:sp>
        <p:nvSpPr>
          <p:cNvPr id="7572" name="Google Shape;7572;p128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73" name="Google Shape;7573;p128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74" name="Google Shape;7574;p128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575" name="Google Shape;7575;p12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576" name="Google Shape;7576;p12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577" name="Google Shape;7577;p128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78" name="Google Shape;7578;p128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579" name="Google Shape;7579;p128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80" name="Google Shape;7580;p128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7581"/>
        <p:cNvGrpSpPr/>
        <p:nvPr/>
      </p:nvGrpSpPr>
      <p:grpSpPr>
        <a:xfrm>
          <a:off x="0" y="0"/>
          <a:ext cx="0" cy="0"/>
          <a:chOff x="0" y="0"/>
          <a:chExt cx="0" cy="0"/>
        </a:xfrm>
      </p:grpSpPr>
      <p:sp>
        <p:nvSpPr>
          <p:cNvPr id="7582" name="Google Shape;7582;p129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83" name="Google Shape;7583;p12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84" name="Google Shape;7584;p12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85" name="Google Shape;7585;p129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86" name="Google Shape;7586;p129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7587"/>
        <p:cNvGrpSpPr/>
        <p:nvPr/>
      </p:nvGrpSpPr>
      <p:grpSpPr>
        <a:xfrm>
          <a:off x="0" y="0"/>
          <a:ext cx="0" cy="0"/>
          <a:chOff x="0" y="0"/>
          <a:chExt cx="0" cy="0"/>
        </a:xfrm>
      </p:grpSpPr>
      <p:sp>
        <p:nvSpPr>
          <p:cNvPr id="7588" name="Google Shape;7588;p12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589" name="Google Shape;7589;p129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90" name="Google Shape;7590;p12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91" name="Google Shape;7591;p129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92" name="Google Shape;7592;p129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7593"/>
        <p:cNvGrpSpPr/>
        <p:nvPr/>
      </p:nvGrpSpPr>
      <p:grpSpPr>
        <a:xfrm>
          <a:off x="0" y="0"/>
          <a:ext cx="0" cy="0"/>
          <a:chOff x="0" y="0"/>
          <a:chExt cx="0" cy="0"/>
        </a:xfrm>
      </p:grpSpPr>
      <p:sp>
        <p:nvSpPr>
          <p:cNvPr id="7594" name="Google Shape;7594;p129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95" name="Google Shape;7595;p129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596" name="Google Shape;7596;p129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7" name="Google Shape;7597;p129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98" name="Google Shape;7598;p129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599" name="Google Shape;7599;p129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3">
    <p:spTree>
      <p:nvGrpSpPr>
        <p:cNvPr id="1" name="Shape 7600"/>
        <p:cNvGrpSpPr/>
        <p:nvPr/>
      </p:nvGrpSpPr>
      <p:grpSpPr>
        <a:xfrm>
          <a:off x="0" y="0"/>
          <a:ext cx="0" cy="0"/>
          <a:chOff x="0" y="0"/>
          <a:chExt cx="0" cy="0"/>
        </a:xfrm>
      </p:grpSpPr>
      <p:sp>
        <p:nvSpPr>
          <p:cNvPr id="7601" name="Google Shape;7601;p129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2" name="Google Shape;7602;p129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03" name="Google Shape;7603;p129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604" name="Google Shape;7604;p12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605" name="Google Shape;7605;p1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606" name="Google Shape;7606;p129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07" name="Google Shape;7607;p129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08" name="Google Shape;7608;p129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09" name="Google Shape;7609;p129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2">
    <p:spTree>
      <p:nvGrpSpPr>
        <p:cNvPr id="1" name="Shape 7610"/>
        <p:cNvGrpSpPr/>
        <p:nvPr/>
      </p:nvGrpSpPr>
      <p:grpSpPr>
        <a:xfrm>
          <a:off x="0" y="0"/>
          <a:ext cx="0" cy="0"/>
          <a:chOff x="0" y="0"/>
          <a:chExt cx="0" cy="0"/>
        </a:xfrm>
      </p:grpSpPr>
      <p:sp>
        <p:nvSpPr>
          <p:cNvPr id="7611" name="Google Shape;7611;p129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12" name="Google Shape;7612;p12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13" name="Google Shape;7613;p12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14" name="Google Shape;7614;p129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15" name="Google Shape;7615;p129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91"/>
        <p:cNvGrpSpPr/>
        <p:nvPr/>
      </p:nvGrpSpPr>
      <p:grpSpPr>
        <a:xfrm>
          <a:off x="0" y="0"/>
          <a:ext cx="0" cy="0"/>
          <a:chOff x="0" y="0"/>
          <a:chExt cx="0" cy="0"/>
        </a:xfrm>
      </p:grpSpPr>
      <p:grpSp>
        <p:nvGrpSpPr>
          <p:cNvPr id="792" name="Google Shape;792;p131"/>
          <p:cNvGrpSpPr/>
          <p:nvPr/>
        </p:nvGrpSpPr>
        <p:grpSpPr>
          <a:xfrm>
            <a:off x="7191542" y="1"/>
            <a:ext cx="5000459" cy="1425992"/>
            <a:chOff x="7191542" y="1"/>
            <a:chExt cx="5000459" cy="1425992"/>
          </a:xfrm>
        </p:grpSpPr>
        <p:pic>
          <p:nvPicPr>
            <p:cNvPr id="793" name="Google Shape;793;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 name="Google Shape;794;p131"/>
            <p:cNvGrpSpPr/>
            <p:nvPr/>
          </p:nvGrpSpPr>
          <p:grpSpPr>
            <a:xfrm>
              <a:off x="7191542" y="1"/>
              <a:ext cx="5000459" cy="1425992"/>
              <a:chOff x="7186272" y="0"/>
              <a:chExt cx="5005729" cy="1427495"/>
            </a:xfrm>
          </p:grpSpPr>
          <p:sp>
            <p:nvSpPr>
              <p:cNvPr id="795" name="Google Shape;795;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6" name="Google Shape;796;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7" name="Google Shape;797;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9" name="Google Shape;799;p1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0" name="Google Shape;800;p1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1" name="Google Shape;801;p1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 name="Google Shape;802;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3" name="Google Shape;803;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 name="Google Shape;804;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2">
    <p:spTree>
      <p:nvGrpSpPr>
        <p:cNvPr id="1" name="Shape 7616"/>
        <p:cNvGrpSpPr/>
        <p:nvPr/>
      </p:nvGrpSpPr>
      <p:grpSpPr>
        <a:xfrm>
          <a:off x="0" y="0"/>
          <a:ext cx="0" cy="0"/>
          <a:chOff x="0" y="0"/>
          <a:chExt cx="0" cy="0"/>
        </a:xfrm>
      </p:grpSpPr>
      <p:sp>
        <p:nvSpPr>
          <p:cNvPr id="7617" name="Google Shape;7617;p12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618" name="Google Shape;7618;p129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619" name="Google Shape;7619;p12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20" name="Google Shape;7620;p129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21" name="Google Shape;7621;p129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2">
    <p:spTree>
      <p:nvGrpSpPr>
        <p:cNvPr id="1" name="Shape 7622"/>
        <p:cNvGrpSpPr/>
        <p:nvPr/>
      </p:nvGrpSpPr>
      <p:grpSpPr>
        <a:xfrm>
          <a:off x="0" y="0"/>
          <a:ext cx="0" cy="0"/>
          <a:chOff x="0" y="0"/>
          <a:chExt cx="0" cy="0"/>
        </a:xfrm>
      </p:grpSpPr>
      <p:sp>
        <p:nvSpPr>
          <p:cNvPr id="7623" name="Google Shape;7623;p12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24" name="Google Shape;7624;p12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25" name="Google Shape;7625;p129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6" name="Google Shape;7626;p129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7" name="Google Shape;7627;p129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628" name="Google Shape;7628;p12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2">
    <p:spTree>
      <p:nvGrpSpPr>
        <p:cNvPr id="1" name="Shape 7629"/>
        <p:cNvGrpSpPr/>
        <p:nvPr/>
      </p:nvGrpSpPr>
      <p:grpSpPr>
        <a:xfrm>
          <a:off x="0" y="0"/>
          <a:ext cx="0" cy="0"/>
          <a:chOff x="0" y="0"/>
          <a:chExt cx="0" cy="0"/>
        </a:xfrm>
      </p:grpSpPr>
      <p:sp>
        <p:nvSpPr>
          <p:cNvPr id="7630" name="Google Shape;7630;p129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1" name="Google Shape;7631;p129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32" name="Google Shape;7632;p129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633" name="Google Shape;7633;p12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634" name="Google Shape;7634;p12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635" name="Google Shape;7635;p129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36" name="Google Shape;7636;p129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37" name="Google Shape;7637;p129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38" name="Google Shape;7638;p129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2">
    <p:spTree>
      <p:nvGrpSpPr>
        <p:cNvPr id="1" name="Shape 7639"/>
        <p:cNvGrpSpPr/>
        <p:nvPr/>
      </p:nvGrpSpPr>
      <p:grpSpPr>
        <a:xfrm>
          <a:off x="0" y="0"/>
          <a:ext cx="0" cy="0"/>
          <a:chOff x="0" y="0"/>
          <a:chExt cx="0" cy="0"/>
        </a:xfrm>
      </p:grpSpPr>
      <p:sp>
        <p:nvSpPr>
          <p:cNvPr id="7640" name="Google Shape;7640;p94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41" name="Google Shape;7641;p9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42" name="Google Shape;7642;p9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43" name="Google Shape;7643;p94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44" name="Google Shape;7644;p9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2">
    <p:spTree>
      <p:nvGrpSpPr>
        <p:cNvPr id="1" name="Shape 7645"/>
        <p:cNvGrpSpPr/>
        <p:nvPr/>
      </p:nvGrpSpPr>
      <p:grpSpPr>
        <a:xfrm>
          <a:off x="0" y="0"/>
          <a:ext cx="0" cy="0"/>
          <a:chOff x="0" y="0"/>
          <a:chExt cx="0" cy="0"/>
        </a:xfrm>
      </p:grpSpPr>
      <p:sp>
        <p:nvSpPr>
          <p:cNvPr id="7646" name="Google Shape;7646;p94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647" name="Google Shape;7647;p94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648" name="Google Shape;7648;p94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49" name="Google Shape;7649;p94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50" name="Google Shape;7650;p94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2">
    <p:spTree>
      <p:nvGrpSpPr>
        <p:cNvPr id="1" name="Shape 7651"/>
        <p:cNvGrpSpPr/>
        <p:nvPr/>
      </p:nvGrpSpPr>
      <p:grpSpPr>
        <a:xfrm>
          <a:off x="0" y="0"/>
          <a:ext cx="0" cy="0"/>
          <a:chOff x="0" y="0"/>
          <a:chExt cx="0" cy="0"/>
        </a:xfrm>
      </p:grpSpPr>
      <p:sp>
        <p:nvSpPr>
          <p:cNvPr id="7652" name="Google Shape;7652;p9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53" name="Google Shape;7653;p9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54" name="Google Shape;7654;p94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5" name="Google Shape;7655;p94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56" name="Google Shape;7656;p94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657" name="Google Shape;7657;p9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7658"/>
        <p:cNvGrpSpPr/>
        <p:nvPr/>
      </p:nvGrpSpPr>
      <p:grpSpPr>
        <a:xfrm>
          <a:off x="0" y="0"/>
          <a:ext cx="0" cy="0"/>
          <a:chOff x="0" y="0"/>
          <a:chExt cx="0" cy="0"/>
        </a:xfrm>
      </p:grpSpPr>
      <p:sp>
        <p:nvSpPr>
          <p:cNvPr id="7659" name="Google Shape;7659;p94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60" name="Google Shape;7660;p94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61" name="Google Shape;7661;p94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662" name="Google Shape;7662;p9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663" name="Google Shape;7663;p9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664" name="Google Shape;7664;p94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65" name="Google Shape;7665;p94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66" name="Google Shape;7666;p94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67" name="Google Shape;7667;p94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7668"/>
        <p:cNvGrpSpPr/>
        <p:nvPr/>
      </p:nvGrpSpPr>
      <p:grpSpPr>
        <a:xfrm>
          <a:off x="0" y="0"/>
          <a:ext cx="0" cy="0"/>
          <a:chOff x="0" y="0"/>
          <a:chExt cx="0" cy="0"/>
        </a:xfrm>
      </p:grpSpPr>
      <p:sp>
        <p:nvSpPr>
          <p:cNvPr id="7669" name="Google Shape;7669;p94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70" name="Google Shape;7670;p94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71" name="Google Shape;7671;p94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672" name="Google Shape;7672;p9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673" name="Google Shape;7673;p9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674" name="Google Shape;7674;p94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75" name="Google Shape;7675;p94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676" name="Google Shape;7676;p94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77" name="Google Shape;7677;p94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7678"/>
        <p:cNvGrpSpPr/>
        <p:nvPr/>
      </p:nvGrpSpPr>
      <p:grpSpPr>
        <a:xfrm>
          <a:off x="0" y="0"/>
          <a:ext cx="0" cy="0"/>
          <a:chOff x="0" y="0"/>
          <a:chExt cx="0" cy="0"/>
        </a:xfrm>
      </p:grpSpPr>
      <p:sp>
        <p:nvSpPr>
          <p:cNvPr id="7679" name="Google Shape;7679;p129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80" name="Google Shape;7680;p12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81" name="Google Shape;7681;p12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82" name="Google Shape;7682;p129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683" name="Google Shape;7683;p12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7684"/>
        <p:cNvGrpSpPr/>
        <p:nvPr/>
      </p:nvGrpSpPr>
      <p:grpSpPr>
        <a:xfrm>
          <a:off x="0" y="0"/>
          <a:ext cx="0" cy="0"/>
          <a:chOff x="0" y="0"/>
          <a:chExt cx="0" cy="0"/>
        </a:xfrm>
      </p:grpSpPr>
      <p:sp>
        <p:nvSpPr>
          <p:cNvPr id="7685" name="Google Shape;7685;p129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686" name="Google Shape;7686;p129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687" name="Google Shape;7687;p129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88" name="Google Shape;7688;p129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89" name="Google Shape;7689;p129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805"/>
        <p:cNvGrpSpPr/>
        <p:nvPr/>
      </p:nvGrpSpPr>
      <p:grpSpPr>
        <a:xfrm>
          <a:off x="0" y="0"/>
          <a:ext cx="0" cy="0"/>
          <a:chOff x="0" y="0"/>
          <a:chExt cx="0" cy="0"/>
        </a:xfrm>
      </p:grpSpPr>
      <p:sp>
        <p:nvSpPr>
          <p:cNvPr id="806" name="Google Shape;806;p13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7" name="Google Shape;807;p1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8" name="Google Shape;808;p132"/>
          <p:cNvGrpSpPr/>
          <p:nvPr/>
        </p:nvGrpSpPr>
        <p:grpSpPr>
          <a:xfrm>
            <a:off x="0" y="5379426"/>
            <a:ext cx="2807368" cy="753891"/>
            <a:chOff x="0" y="5379426"/>
            <a:chExt cx="2807368" cy="753891"/>
          </a:xfrm>
        </p:grpSpPr>
        <p:sp>
          <p:nvSpPr>
            <p:cNvPr id="809" name="Google Shape;809;p1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0" name="Google Shape;810;p1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11" name="Google Shape;811;p132"/>
          <p:cNvSpPr>
            <a:spLocks noGrp="1"/>
          </p:cNvSpPr>
          <p:nvPr>
            <p:ph type="pic" idx="2"/>
          </p:nvPr>
        </p:nvSpPr>
        <p:spPr>
          <a:xfrm>
            <a:off x="2807368" y="457202"/>
            <a:ext cx="8915400" cy="5943598"/>
          </a:xfrm>
          <a:prstGeom prst="rect">
            <a:avLst/>
          </a:prstGeom>
          <a:noFill/>
          <a:ln>
            <a:noFill/>
          </a:ln>
        </p:spPr>
      </p:sp>
      <p:pic>
        <p:nvPicPr>
          <p:cNvPr id="812" name="Google Shape;812;p13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7690"/>
        <p:cNvGrpSpPr/>
        <p:nvPr/>
      </p:nvGrpSpPr>
      <p:grpSpPr>
        <a:xfrm>
          <a:off x="0" y="0"/>
          <a:ext cx="0" cy="0"/>
          <a:chOff x="0" y="0"/>
          <a:chExt cx="0" cy="0"/>
        </a:xfrm>
      </p:grpSpPr>
      <p:sp>
        <p:nvSpPr>
          <p:cNvPr id="7691" name="Google Shape;7691;p1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92" name="Google Shape;7692;p1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693" name="Google Shape;7693;p130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4" name="Google Shape;7694;p130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5" name="Google Shape;7695;p130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696" name="Google Shape;7696;p1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7697"/>
        <p:cNvGrpSpPr/>
        <p:nvPr/>
      </p:nvGrpSpPr>
      <p:grpSpPr>
        <a:xfrm>
          <a:off x="0" y="0"/>
          <a:ext cx="0" cy="0"/>
          <a:chOff x="0" y="0"/>
          <a:chExt cx="0" cy="0"/>
        </a:xfrm>
      </p:grpSpPr>
      <p:sp>
        <p:nvSpPr>
          <p:cNvPr id="7698" name="Google Shape;7698;p9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99" name="Google Shape;7699;p9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0" name="Google Shape;7700;p9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701" name="Google Shape;7701;p9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702" name="Google Shape;7702;p9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703" name="Google Shape;7703;p9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04" name="Google Shape;7704;p9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05" name="Google Shape;7705;p9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06" name="Google Shape;7706;p95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7707"/>
        <p:cNvGrpSpPr/>
        <p:nvPr/>
      </p:nvGrpSpPr>
      <p:grpSpPr>
        <a:xfrm>
          <a:off x="0" y="0"/>
          <a:ext cx="0" cy="0"/>
          <a:chOff x="0" y="0"/>
          <a:chExt cx="0" cy="0"/>
        </a:xfrm>
      </p:grpSpPr>
      <p:sp>
        <p:nvSpPr>
          <p:cNvPr id="7708" name="Google Shape;7708;p95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9" name="Google Shape;7709;p95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10" name="Google Shape;7710;p95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11" name="Google Shape;7711;p95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12" name="Google Shape;7712;p9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7713"/>
        <p:cNvGrpSpPr/>
        <p:nvPr/>
      </p:nvGrpSpPr>
      <p:grpSpPr>
        <a:xfrm>
          <a:off x="0" y="0"/>
          <a:ext cx="0" cy="0"/>
          <a:chOff x="0" y="0"/>
          <a:chExt cx="0" cy="0"/>
        </a:xfrm>
      </p:grpSpPr>
      <p:sp>
        <p:nvSpPr>
          <p:cNvPr id="7714" name="Google Shape;7714;p9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715" name="Google Shape;7715;p95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716" name="Google Shape;7716;p9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17" name="Google Shape;7717;p95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18" name="Google Shape;7718;p95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7719"/>
        <p:cNvGrpSpPr/>
        <p:nvPr/>
      </p:nvGrpSpPr>
      <p:grpSpPr>
        <a:xfrm>
          <a:off x="0" y="0"/>
          <a:ext cx="0" cy="0"/>
          <a:chOff x="0" y="0"/>
          <a:chExt cx="0" cy="0"/>
        </a:xfrm>
      </p:grpSpPr>
      <p:sp>
        <p:nvSpPr>
          <p:cNvPr id="7720" name="Google Shape;7720;p9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21" name="Google Shape;7721;p9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22" name="Google Shape;7722;p95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23" name="Google Shape;7723;p95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24" name="Google Shape;7724;p95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725" name="Google Shape;7725;p95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7726"/>
        <p:cNvGrpSpPr/>
        <p:nvPr/>
      </p:nvGrpSpPr>
      <p:grpSpPr>
        <a:xfrm>
          <a:off x="0" y="0"/>
          <a:ext cx="0" cy="0"/>
          <a:chOff x="0" y="0"/>
          <a:chExt cx="0" cy="0"/>
        </a:xfrm>
      </p:grpSpPr>
      <p:sp>
        <p:nvSpPr>
          <p:cNvPr id="7727" name="Google Shape;7727;p95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28" name="Google Shape;7728;p9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29" name="Google Shape;7729;p9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30" name="Google Shape;7730;p95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31" name="Google Shape;7731;p9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7732"/>
        <p:cNvGrpSpPr/>
        <p:nvPr/>
      </p:nvGrpSpPr>
      <p:grpSpPr>
        <a:xfrm>
          <a:off x="0" y="0"/>
          <a:ext cx="0" cy="0"/>
          <a:chOff x="0" y="0"/>
          <a:chExt cx="0" cy="0"/>
        </a:xfrm>
      </p:grpSpPr>
      <p:sp>
        <p:nvSpPr>
          <p:cNvPr id="7733" name="Google Shape;7733;p9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734" name="Google Shape;7734;p95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735" name="Google Shape;7735;p95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36" name="Google Shape;7736;p95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37" name="Google Shape;7737;p95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7738"/>
        <p:cNvGrpSpPr/>
        <p:nvPr/>
      </p:nvGrpSpPr>
      <p:grpSpPr>
        <a:xfrm>
          <a:off x="0" y="0"/>
          <a:ext cx="0" cy="0"/>
          <a:chOff x="0" y="0"/>
          <a:chExt cx="0" cy="0"/>
        </a:xfrm>
      </p:grpSpPr>
      <p:sp>
        <p:nvSpPr>
          <p:cNvPr id="7739" name="Google Shape;7739;p9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40" name="Google Shape;7740;p9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41" name="Google Shape;7741;p95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2" name="Google Shape;7742;p95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3" name="Google Shape;7743;p95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744" name="Google Shape;7744;p9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2">
    <p:spTree>
      <p:nvGrpSpPr>
        <p:cNvPr id="1" name="Shape 7745"/>
        <p:cNvGrpSpPr/>
        <p:nvPr/>
      </p:nvGrpSpPr>
      <p:grpSpPr>
        <a:xfrm>
          <a:off x="0" y="0"/>
          <a:ext cx="0" cy="0"/>
          <a:chOff x="0" y="0"/>
          <a:chExt cx="0" cy="0"/>
        </a:xfrm>
      </p:grpSpPr>
      <p:sp>
        <p:nvSpPr>
          <p:cNvPr id="7746" name="Google Shape;7746;p95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7" name="Google Shape;7747;p95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48" name="Google Shape;7748;p95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749" name="Google Shape;7749;p9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750" name="Google Shape;7750;p9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751" name="Google Shape;7751;p95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52" name="Google Shape;7752;p95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53" name="Google Shape;7753;p95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54" name="Google Shape;7754;p95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2">
    <p:spTree>
      <p:nvGrpSpPr>
        <p:cNvPr id="1" name="Shape 7755"/>
        <p:cNvGrpSpPr/>
        <p:nvPr/>
      </p:nvGrpSpPr>
      <p:grpSpPr>
        <a:xfrm>
          <a:off x="0" y="0"/>
          <a:ext cx="0" cy="0"/>
          <a:chOff x="0" y="0"/>
          <a:chExt cx="0" cy="0"/>
        </a:xfrm>
      </p:grpSpPr>
      <p:sp>
        <p:nvSpPr>
          <p:cNvPr id="7756" name="Google Shape;7756;p95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7" name="Google Shape;7757;p95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58" name="Google Shape;7758;p95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759" name="Google Shape;7759;p9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760" name="Google Shape;7760;p9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761" name="Google Shape;7761;p95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62" name="Google Shape;7762;p95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63" name="Google Shape;7763;p95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64" name="Google Shape;7764;p95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13"/>
        <p:cNvGrpSpPr/>
        <p:nvPr/>
      </p:nvGrpSpPr>
      <p:grpSpPr>
        <a:xfrm>
          <a:off x="0" y="0"/>
          <a:ext cx="0" cy="0"/>
          <a:chOff x="0" y="0"/>
          <a:chExt cx="0" cy="0"/>
        </a:xfrm>
      </p:grpSpPr>
      <p:grpSp>
        <p:nvGrpSpPr>
          <p:cNvPr id="814" name="Google Shape;814;p133"/>
          <p:cNvGrpSpPr/>
          <p:nvPr/>
        </p:nvGrpSpPr>
        <p:grpSpPr>
          <a:xfrm>
            <a:off x="0" y="0"/>
            <a:ext cx="12192000" cy="2148830"/>
            <a:chOff x="0" y="0"/>
            <a:chExt cx="12192000" cy="2148830"/>
          </a:xfrm>
        </p:grpSpPr>
        <p:sp>
          <p:nvSpPr>
            <p:cNvPr id="815" name="Google Shape;815;p1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6" name="Google Shape;816;p1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17" name="Google Shape;817;p1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8" name="Google Shape;818;p1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 name="Google Shape;819;p1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20" name="Google Shape;820;p1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21" name="Google Shape;821;p1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2">
    <p:spTree>
      <p:nvGrpSpPr>
        <p:cNvPr id="1" name="Shape 7765"/>
        <p:cNvGrpSpPr/>
        <p:nvPr/>
      </p:nvGrpSpPr>
      <p:grpSpPr>
        <a:xfrm>
          <a:off x="0" y="0"/>
          <a:ext cx="0" cy="0"/>
          <a:chOff x="0" y="0"/>
          <a:chExt cx="0" cy="0"/>
        </a:xfrm>
      </p:grpSpPr>
      <p:sp>
        <p:nvSpPr>
          <p:cNvPr id="7766" name="Google Shape;7766;p96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7" name="Google Shape;7767;p96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68" name="Google Shape;7768;p96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69" name="Google Shape;7769;p96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70" name="Google Shape;7770;p96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2">
    <p:spTree>
      <p:nvGrpSpPr>
        <p:cNvPr id="1" name="Shape 7771"/>
        <p:cNvGrpSpPr/>
        <p:nvPr/>
      </p:nvGrpSpPr>
      <p:grpSpPr>
        <a:xfrm>
          <a:off x="0" y="0"/>
          <a:ext cx="0" cy="0"/>
          <a:chOff x="0" y="0"/>
          <a:chExt cx="0" cy="0"/>
        </a:xfrm>
      </p:grpSpPr>
      <p:sp>
        <p:nvSpPr>
          <p:cNvPr id="7772" name="Google Shape;7772;p9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773" name="Google Shape;7773;p96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774" name="Google Shape;7774;p9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75" name="Google Shape;7775;p96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76" name="Google Shape;7776;p96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2">
    <p:spTree>
      <p:nvGrpSpPr>
        <p:cNvPr id="1" name="Shape 7777"/>
        <p:cNvGrpSpPr/>
        <p:nvPr/>
      </p:nvGrpSpPr>
      <p:grpSpPr>
        <a:xfrm>
          <a:off x="0" y="0"/>
          <a:ext cx="0" cy="0"/>
          <a:chOff x="0" y="0"/>
          <a:chExt cx="0" cy="0"/>
        </a:xfrm>
      </p:grpSpPr>
      <p:sp>
        <p:nvSpPr>
          <p:cNvPr id="7778" name="Google Shape;7778;p9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79" name="Google Shape;7779;p9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80" name="Google Shape;7780;p96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81" name="Google Shape;7781;p96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82" name="Google Shape;7782;p96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783" name="Google Shape;7783;p96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2">
    <p:spTree>
      <p:nvGrpSpPr>
        <p:cNvPr id="1" name="Shape 7784"/>
        <p:cNvGrpSpPr/>
        <p:nvPr/>
      </p:nvGrpSpPr>
      <p:grpSpPr>
        <a:xfrm>
          <a:off x="0" y="0"/>
          <a:ext cx="0" cy="0"/>
          <a:chOff x="0" y="0"/>
          <a:chExt cx="0" cy="0"/>
        </a:xfrm>
      </p:grpSpPr>
      <p:sp>
        <p:nvSpPr>
          <p:cNvPr id="7785" name="Google Shape;7785;p96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86" name="Google Shape;7786;p96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87" name="Google Shape;7787;p96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788" name="Google Shape;7788;p9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789" name="Google Shape;7789;p9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790" name="Google Shape;7790;p96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91" name="Google Shape;7791;p96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792" name="Google Shape;7792;p96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93" name="Google Shape;7793;p96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2">
    <p:spTree>
      <p:nvGrpSpPr>
        <p:cNvPr id="1" name="Shape 7794"/>
        <p:cNvGrpSpPr/>
        <p:nvPr/>
      </p:nvGrpSpPr>
      <p:grpSpPr>
        <a:xfrm>
          <a:off x="0" y="0"/>
          <a:ext cx="0" cy="0"/>
          <a:chOff x="0" y="0"/>
          <a:chExt cx="0" cy="0"/>
        </a:xfrm>
      </p:grpSpPr>
      <p:sp>
        <p:nvSpPr>
          <p:cNvPr id="7795" name="Google Shape;7795;p96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96" name="Google Shape;7796;p96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97" name="Google Shape;7797;p96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798" name="Google Shape;7798;p96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99" name="Google Shape;7799;p96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2">
    <p:spTree>
      <p:nvGrpSpPr>
        <p:cNvPr id="1" name="Shape 7800"/>
        <p:cNvGrpSpPr/>
        <p:nvPr/>
      </p:nvGrpSpPr>
      <p:grpSpPr>
        <a:xfrm>
          <a:off x="0" y="0"/>
          <a:ext cx="0" cy="0"/>
          <a:chOff x="0" y="0"/>
          <a:chExt cx="0" cy="0"/>
        </a:xfrm>
      </p:grpSpPr>
      <p:sp>
        <p:nvSpPr>
          <p:cNvPr id="7801" name="Google Shape;7801;p9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802" name="Google Shape;7802;p96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03" name="Google Shape;7803;p9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04" name="Google Shape;7804;p96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05" name="Google Shape;7805;p96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2">
    <p:spTree>
      <p:nvGrpSpPr>
        <p:cNvPr id="1" name="Shape 7806"/>
        <p:cNvGrpSpPr/>
        <p:nvPr/>
      </p:nvGrpSpPr>
      <p:grpSpPr>
        <a:xfrm>
          <a:off x="0" y="0"/>
          <a:ext cx="0" cy="0"/>
          <a:chOff x="0" y="0"/>
          <a:chExt cx="0" cy="0"/>
        </a:xfrm>
      </p:grpSpPr>
      <p:sp>
        <p:nvSpPr>
          <p:cNvPr id="7807" name="Google Shape;7807;p9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08" name="Google Shape;7808;p9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09" name="Google Shape;7809;p96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0" name="Google Shape;7810;p96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1" name="Google Shape;7811;p96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812" name="Google Shape;7812;p96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3">
    <p:spTree>
      <p:nvGrpSpPr>
        <p:cNvPr id="1" name="Shape 7813"/>
        <p:cNvGrpSpPr/>
        <p:nvPr/>
      </p:nvGrpSpPr>
      <p:grpSpPr>
        <a:xfrm>
          <a:off x="0" y="0"/>
          <a:ext cx="0" cy="0"/>
          <a:chOff x="0" y="0"/>
          <a:chExt cx="0" cy="0"/>
        </a:xfrm>
      </p:grpSpPr>
      <p:sp>
        <p:nvSpPr>
          <p:cNvPr id="7814" name="Google Shape;7814;p96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15" name="Google Shape;7815;p96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16" name="Google Shape;7816;p9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817" name="Google Shape;7817;p9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818" name="Google Shape;7818;p9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819" name="Google Shape;7819;p96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20" name="Google Shape;7820;p96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21" name="Google Shape;7821;p96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22" name="Google Shape;7822;p96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3">
    <p:spTree>
      <p:nvGrpSpPr>
        <p:cNvPr id="1" name="Shape 7823"/>
        <p:cNvGrpSpPr/>
        <p:nvPr/>
      </p:nvGrpSpPr>
      <p:grpSpPr>
        <a:xfrm>
          <a:off x="0" y="0"/>
          <a:ext cx="0" cy="0"/>
          <a:chOff x="0" y="0"/>
          <a:chExt cx="0" cy="0"/>
        </a:xfrm>
      </p:grpSpPr>
      <p:sp>
        <p:nvSpPr>
          <p:cNvPr id="7824" name="Google Shape;7824;p9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25" name="Google Shape;7825;p9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26" name="Google Shape;7826;p9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827" name="Google Shape;7827;p9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828" name="Google Shape;7828;p9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829" name="Google Shape;7829;p9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30" name="Google Shape;7830;p9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31" name="Google Shape;7831;p9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32" name="Google Shape;7832;p96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3">
    <p:spTree>
      <p:nvGrpSpPr>
        <p:cNvPr id="1" name="Shape 7833"/>
        <p:cNvGrpSpPr/>
        <p:nvPr/>
      </p:nvGrpSpPr>
      <p:grpSpPr>
        <a:xfrm>
          <a:off x="0" y="0"/>
          <a:ext cx="0" cy="0"/>
          <a:chOff x="0" y="0"/>
          <a:chExt cx="0" cy="0"/>
        </a:xfrm>
      </p:grpSpPr>
      <p:sp>
        <p:nvSpPr>
          <p:cNvPr id="7834" name="Google Shape;7834;p96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35" name="Google Shape;7835;p9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36" name="Google Shape;7836;p96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37" name="Google Shape;7837;p96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38" name="Google Shape;7838;p9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822"/>
        <p:cNvGrpSpPr/>
        <p:nvPr/>
      </p:nvGrpSpPr>
      <p:grpSpPr>
        <a:xfrm>
          <a:off x="0" y="0"/>
          <a:ext cx="0" cy="0"/>
          <a:chOff x="0" y="0"/>
          <a:chExt cx="0" cy="0"/>
        </a:xfrm>
      </p:grpSpPr>
      <p:sp>
        <p:nvSpPr>
          <p:cNvPr id="823" name="Google Shape;823;p1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4" name="Google Shape;824;p1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5" name="Google Shape;825;p1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26" name="Google Shape;826;p1211"/>
          <p:cNvGrpSpPr/>
          <p:nvPr/>
        </p:nvGrpSpPr>
        <p:grpSpPr>
          <a:xfrm>
            <a:off x="7191542" y="1"/>
            <a:ext cx="5000459" cy="1425992"/>
            <a:chOff x="7191542" y="1"/>
            <a:chExt cx="5000459" cy="1425992"/>
          </a:xfrm>
        </p:grpSpPr>
        <p:pic>
          <p:nvPicPr>
            <p:cNvPr id="827" name="Google Shape;827;p1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8" name="Google Shape;828;p1211"/>
            <p:cNvGrpSpPr/>
            <p:nvPr/>
          </p:nvGrpSpPr>
          <p:grpSpPr>
            <a:xfrm>
              <a:off x="7191542" y="1"/>
              <a:ext cx="5000459" cy="1425992"/>
              <a:chOff x="7186272" y="0"/>
              <a:chExt cx="5005729" cy="1427495"/>
            </a:xfrm>
          </p:grpSpPr>
          <p:sp>
            <p:nvSpPr>
              <p:cNvPr id="829" name="Google Shape;829;p1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0" name="Google Shape;830;p1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3">
    <p:spTree>
      <p:nvGrpSpPr>
        <p:cNvPr id="1" name="Shape 7839"/>
        <p:cNvGrpSpPr/>
        <p:nvPr/>
      </p:nvGrpSpPr>
      <p:grpSpPr>
        <a:xfrm>
          <a:off x="0" y="0"/>
          <a:ext cx="0" cy="0"/>
          <a:chOff x="0" y="0"/>
          <a:chExt cx="0" cy="0"/>
        </a:xfrm>
      </p:grpSpPr>
      <p:sp>
        <p:nvSpPr>
          <p:cNvPr id="7840" name="Google Shape;7840;p9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841" name="Google Shape;7841;p97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42" name="Google Shape;7842;p9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43" name="Google Shape;7843;p97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44" name="Google Shape;7844;p97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3">
    <p:spTree>
      <p:nvGrpSpPr>
        <p:cNvPr id="1" name="Shape 7845"/>
        <p:cNvGrpSpPr/>
        <p:nvPr/>
      </p:nvGrpSpPr>
      <p:grpSpPr>
        <a:xfrm>
          <a:off x="0" y="0"/>
          <a:ext cx="0" cy="0"/>
          <a:chOff x="0" y="0"/>
          <a:chExt cx="0" cy="0"/>
        </a:xfrm>
      </p:grpSpPr>
      <p:sp>
        <p:nvSpPr>
          <p:cNvPr id="7846" name="Google Shape;7846;p9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47" name="Google Shape;7847;p9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48" name="Google Shape;7848;p97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49" name="Google Shape;7849;p97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0" name="Google Shape;7850;p97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851" name="Google Shape;7851;p9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3">
    <p:spTree>
      <p:nvGrpSpPr>
        <p:cNvPr id="1" name="Shape 7852"/>
        <p:cNvGrpSpPr/>
        <p:nvPr/>
      </p:nvGrpSpPr>
      <p:grpSpPr>
        <a:xfrm>
          <a:off x="0" y="0"/>
          <a:ext cx="0" cy="0"/>
          <a:chOff x="0" y="0"/>
          <a:chExt cx="0" cy="0"/>
        </a:xfrm>
      </p:grpSpPr>
      <p:sp>
        <p:nvSpPr>
          <p:cNvPr id="7853" name="Google Shape;7853;p97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54" name="Google Shape;7854;p97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55" name="Google Shape;7855;p9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7856" name="Google Shape;7856;p9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7857" name="Google Shape;7857;p9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858" name="Google Shape;7858;p97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59" name="Google Shape;7859;p97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7860" name="Google Shape;7860;p97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61" name="Google Shape;7861;p97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3">
    <p:spTree>
      <p:nvGrpSpPr>
        <p:cNvPr id="1" name="Shape 7862"/>
        <p:cNvGrpSpPr/>
        <p:nvPr/>
      </p:nvGrpSpPr>
      <p:grpSpPr>
        <a:xfrm>
          <a:off x="0" y="0"/>
          <a:ext cx="0" cy="0"/>
          <a:chOff x="0" y="0"/>
          <a:chExt cx="0" cy="0"/>
        </a:xfrm>
      </p:grpSpPr>
      <p:sp>
        <p:nvSpPr>
          <p:cNvPr id="7863" name="Google Shape;7863;p97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64" name="Google Shape;7864;p9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65" name="Google Shape;7865;p97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66" name="Google Shape;7866;p97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67" name="Google Shape;7867;p9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3">
    <p:spTree>
      <p:nvGrpSpPr>
        <p:cNvPr id="1" name="Shape 7868"/>
        <p:cNvGrpSpPr/>
        <p:nvPr/>
      </p:nvGrpSpPr>
      <p:grpSpPr>
        <a:xfrm>
          <a:off x="0" y="0"/>
          <a:ext cx="0" cy="0"/>
          <a:chOff x="0" y="0"/>
          <a:chExt cx="0" cy="0"/>
        </a:xfrm>
      </p:grpSpPr>
      <p:sp>
        <p:nvSpPr>
          <p:cNvPr id="7869" name="Google Shape;7869;p9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7870" name="Google Shape;7870;p9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71" name="Google Shape;7871;p97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72" name="Google Shape;7872;p97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73" name="Google Shape;7873;p97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3">
    <p:spTree>
      <p:nvGrpSpPr>
        <p:cNvPr id="1" name="Shape 7874"/>
        <p:cNvGrpSpPr/>
        <p:nvPr/>
      </p:nvGrpSpPr>
      <p:grpSpPr>
        <a:xfrm>
          <a:off x="0" y="0"/>
          <a:ext cx="0" cy="0"/>
          <a:chOff x="0" y="0"/>
          <a:chExt cx="0" cy="0"/>
        </a:xfrm>
      </p:grpSpPr>
      <p:sp>
        <p:nvSpPr>
          <p:cNvPr id="7875" name="Google Shape;7875;p9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76" name="Google Shape;7876;p97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7877" name="Google Shape;7877;p97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78" name="Google Shape;7878;p97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79" name="Google Shape;7879;p97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880" name="Google Shape;7880;p9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7881"/>
        <p:cNvGrpSpPr/>
        <p:nvPr/>
      </p:nvGrpSpPr>
      <p:grpSpPr>
        <a:xfrm>
          <a:off x="0" y="0"/>
          <a:ext cx="0" cy="0"/>
          <a:chOff x="0" y="0"/>
          <a:chExt cx="0" cy="0"/>
        </a:xfrm>
      </p:grpSpPr>
      <p:sp>
        <p:nvSpPr>
          <p:cNvPr id="7882" name="Google Shape;7882;p97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83" name="Google Shape;7883;p97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84" name="Google Shape;7884;p97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885" name="Google Shape;7885;p976"/>
          <p:cNvSpPr>
            <a:spLocks noGrp="1"/>
          </p:cNvSpPr>
          <p:nvPr>
            <p:ph type="pic" idx="2"/>
          </p:nvPr>
        </p:nvSpPr>
        <p:spPr>
          <a:xfrm>
            <a:off x="7118684" y="233915"/>
            <a:ext cx="5073316" cy="5943600"/>
          </a:xfrm>
          <a:prstGeom prst="rect">
            <a:avLst/>
          </a:prstGeom>
          <a:noFill/>
          <a:ln>
            <a:noFill/>
          </a:ln>
        </p:spPr>
      </p:sp>
      <p:grpSp>
        <p:nvGrpSpPr>
          <p:cNvPr id="7886" name="Google Shape;7886;p976"/>
          <p:cNvGrpSpPr/>
          <p:nvPr/>
        </p:nvGrpSpPr>
        <p:grpSpPr>
          <a:xfrm>
            <a:off x="0" y="5020348"/>
            <a:ext cx="12192000" cy="1837653"/>
            <a:chOff x="0" y="5020348"/>
            <a:chExt cx="12192000" cy="1837653"/>
          </a:xfrm>
        </p:grpSpPr>
        <p:sp>
          <p:nvSpPr>
            <p:cNvPr id="7887" name="Google Shape;7887;p9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88" name="Google Shape;7888;p9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889" name="Google Shape;7889;p9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7890"/>
        <p:cNvGrpSpPr/>
        <p:nvPr/>
      </p:nvGrpSpPr>
      <p:grpSpPr>
        <a:xfrm>
          <a:off x="0" y="0"/>
          <a:ext cx="0" cy="0"/>
          <a:chOff x="0" y="0"/>
          <a:chExt cx="0" cy="0"/>
        </a:xfrm>
      </p:grpSpPr>
      <p:grpSp>
        <p:nvGrpSpPr>
          <p:cNvPr id="7891" name="Google Shape;7891;p977"/>
          <p:cNvGrpSpPr/>
          <p:nvPr/>
        </p:nvGrpSpPr>
        <p:grpSpPr>
          <a:xfrm>
            <a:off x="0" y="5020347"/>
            <a:ext cx="12192000" cy="1837653"/>
            <a:chOff x="0" y="5020347"/>
            <a:chExt cx="12192000" cy="1837653"/>
          </a:xfrm>
        </p:grpSpPr>
        <p:sp>
          <p:nvSpPr>
            <p:cNvPr id="7892" name="Google Shape;7892;p97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93" name="Google Shape;7893;p9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94" name="Google Shape;7894;p97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895" name="Google Shape;7895;p9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896" name="Google Shape;7896;p97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97" name="Google Shape;7897;p97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7898"/>
        <p:cNvGrpSpPr/>
        <p:nvPr/>
      </p:nvGrpSpPr>
      <p:grpSpPr>
        <a:xfrm>
          <a:off x="0" y="0"/>
          <a:ext cx="0" cy="0"/>
          <a:chOff x="0" y="0"/>
          <a:chExt cx="0" cy="0"/>
        </a:xfrm>
      </p:grpSpPr>
      <p:sp>
        <p:nvSpPr>
          <p:cNvPr id="7899" name="Google Shape;7899;p9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900" name="Google Shape;7900;p9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901" name="Google Shape;7901;p978"/>
          <p:cNvGrpSpPr/>
          <p:nvPr/>
        </p:nvGrpSpPr>
        <p:grpSpPr>
          <a:xfrm>
            <a:off x="0" y="5379426"/>
            <a:ext cx="2807368" cy="753891"/>
            <a:chOff x="0" y="5379426"/>
            <a:chExt cx="2807368" cy="753891"/>
          </a:xfrm>
        </p:grpSpPr>
        <p:sp>
          <p:nvSpPr>
            <p:cNvPr id="7902" name="Google Shape;7902;p9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03" name="Google Shape;7903;p9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904" name="Google Shape;7904;p978"/>
          <p:cNvSpPr>
            <a:spLocks noGrp="1"/>
          </p:cNvSpPr>
          <p:nvPr>
            <p:ph type="pic" idx="2"/>
          </p:nvPr>
        </p:nvSpPr>
        <p:spPr>
          <a:xfrm>
            <a:off x="2807368" y="457202"/>
            <a:ext cx="8915400" cy="5943598"/>
          </a:xfrm>
          <a:prstGeom prst="rect">
            <a:avLst/>
          </a:prstGeom>
          <a:noFill/>
          <a:ln>
            <a:noFill/>
          </a:ln>
        </p:spPr>
      </p:sp>
      <p:pic>
        <p:nvPicPr>
          <p:cNvPr id="7905" name="Google Shape;7905;p9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7906"/>
        <p:cNvGrpSpPr/>
        <p:nvPr/>
      </p:nvGrpSpPr>
      <p:grpSpPr>
        <a:xfrm>
          <a:off x="0" y="0"/>
          <a:ext cx="0" cy="0"/>
          <a:chOff x="0" y="0"/>
          <a:chExt cx="0" cy="0"/>
        </a:xfrm>
      </p:grpSpPr>
      <p:sp>
        <p:nvSpPr>
          <p:cNvPr id="7907" name="Google Shape;7907;p9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08" name="Google Shape;7908;p9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09" name="Google Shape;7909;p9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0" name="Google Shape;7910;p9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11" name="Google Shape;7911;p9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2" name="Google Shape;7912;p9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913" name="Google Shape;7913;p979"/>
          <p:cNvGrpSpPr/>
          <p:nvPr/>
        </p:nvGrpSpPr>
        <p:grpSpPr>
          <a:xfrm>
            <a:off x="7191542" y="1"/>
            <a:ext cx="5000459" cy="1425992"/>
            <a:chOff x="7191542" y="1"/>
            <a:chExt cx="5000459" cy="1425992"/>
          </a:xfrm>
        </p:grpSpPr>
        <p:pic>
          <p:nvPicPr>
            <p:cNvPr id="7914" name="Google Shape;7914;p9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15" name="Google Shape;7915;p979"/>
            <p:cNvGrpSpPr/>
            <p:nvPr/>
          </p:nvGrpSpPr>
          <p:grpSpPr>
            <a:xfrm>
              <a:off x="7191542" y="1"/>
              <a:ext cx="5000459" cy="1425992"/>
              <a:chOff x="7186272" y="0"/>
              <a:chExt cx="5005729" cy="1427495"/>
            </a:xfrm>
          </p:grpSpPr>
          <p:sp>
            <p:nvSpPr>
              <p:cNvPr id="7916" name="Google Shape;7916;p9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17" name="Google Shape;7917;p9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918" name="Google Shape;7918;p9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831"/>
        <p:cNvGrpSpPr/>
        <p:nvPr/>
      </p:nvGrpSpPr>
      <p:grpSpPr>
        <a:xfrm>
          <a:off x="0" y="0"/>
          <a:ext cx="0" cy="0"/>
          <a:chOff x="0" y="0"/>
          <a:chExt cx="0" cy="0"/>
        </a:xfrm>
      </p:grpSpPr>
      <p:grpSp>
        <p:nvGrpSpPr>
          <p:cNvPr id="832" name="Google Shape;832;p135"/>
          <p:cNvGrpSpPr/>
          <p:nvPr/>
        </p:nvGrpSpPr>
        <p:grpSpPr>
          <a:xfrm>
            <a:off x="7191542" y="1"/>
            <a:ext cx="5000459" cy="1425992"/>
            <a:chOff x="7191542" y="1"/>
            <a:chExt cx="5000459" cy="1425992"/>
          </a:xfrm>
        </p:grpSpPr>
        <p:pic>
          <p:nvPicPr>
            <p:cNvPr id="833" name="Google Shape;833;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4" name="Google Shape;834;p135"/>
            <p:cNvGrpSpPr/>
            <p:nvPr/>
          </p:nvGrpSpPr>
          <p:grpSpPr>
            <a:xfrm>
              <a:off x="7191542" y="1"/>
              <a:ext cx="5000459" cy="1425992"/>
              <a:chOff x="7186272" y="0"/>
              <a:chExt cx="5005729" cy="1427495"/>
            </a:xfrm>
          </p:grpSpPr>
          <p:sp>
            <p:nvSpPr>
              <p:cNvPr id="835" name="Google Shape;835;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6" name="Google Shape;836;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7" name="Google Shape;837;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8" name="Google Shape;838;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9" name="Google Shape;839;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0" name="Google Shape;840;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Quotation">
  <p:cSld name="Quotation 16 2">
    <p:spTree>
      <p:nvGrpSpPr>
        <p:cNvPr id="1" name="Shape 7919"/>
        <p:cNvGrpSpPr/>
        <p:nvPr/>
      </p:nvGrpSpPr>
      <p:grpSpPr>
        <a:xfrm>
          <a:off x="0" y="0"/>
          <a:ext cx="0" cy="0"/>
          <a:chOff x="0" y="0"/>
          <a:chExt cx="0" cy="0"/>
        </a:xfrm>
      </p:grpSpPr>
      <p:sp>
        <p:nvSpPr>
          <p:cNvPr id="7920" name="Google Shape;7920;p9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21" name="Google Shape;7921;p9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22" name="Google Shape;7922;p9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3" name="Google Shape;7923;p9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24" name="Google Shape;7924;p9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25" name="Google Shape;7925;p9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926" name="Google Shape;7926;p980"/>
          <p:cNvGrpSpPr/>
          <p:nvPr/>
        </p:nvGrpSpPr>
        <p:grpSpPr>
          <a:xfrm>
            <a:off x="7191542" y="1"/>
            <a:ext cx="5000459" cy="1425992"/>
            <a:chOff x="7191542" y="1"/>
            <a:chExt cx="5000459" cy="1425992"/>
          </a:xfrm>
        </p:grpSpPr>
        <p:pic>
          <p:nvPicPr>
            <p:cNvPr id="7927" name="Google Shape;7927;p9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28" name="Google Shape;7928;p980"/>
            <p:cNvGrpSpPr/>
            <p:nvPr/>
          </p:nvGrpSpPr>
          <p:grpSpPr>
            <a:xfrm>
              <a:off x="7191542" y="1"/>
              <a:ext cx="5000459" cy="1425992"/>
              <a:chOff x="7186272" y="0"/>
              <a:chExt cx="5005729" cy="1427495"/>
            </a:xfrm>
          </p:grpSpPr>
          <p:sp>
            <p:nvSpPr>
              <p:cNvPr id="7929" name="Google Shape;7929;p9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30" name="Google Shape;7930;p9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931" name="Google Shape;7931;p98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7932"/>
        <p:cNvGrpSpPr/>
        <p:nvPr/>
      </p:nvGrpSpPr>
      <p:grpSpPr>
        <a:xfrm>
          <a:off x="0" y="0"/>
          <a:ext cx="0" cy="0"/>
          <a:chOff x="0" y="0"/>
          <a:chExt cx="0" cy="0"/>
        </a:xfrm>
      </p:grpSpPr>
      <p:sp>
        <p:nvSpPr>
          <p:cNvPr id="7933" name="Google Shape;7933;p9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34" name="Google Shape;7934;p9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935" name="Google Shape;7935;p981"/>
          <p:cNvGrpSpPr/>
          <p:nvPr/>
        </p:nvGrpSpPr>
        <p:grpSpPr>
          <a:xfrm>
            <a:off x="7191542" y="1"/>
            <a:ext cx="5000459" cy="1425992"/>
            <a:chOff x="7191542" y="1"/>
            <a:chExt cx="5000459" cy="1425992"/>
          </a:xfrm>
        </p:grpSpPr>
        <p:pic>
          <p:nvPicPr>
            <p:cNvPr id="7936" name="Google Shape;7936;p9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37" name="Google Shape;7937;p981"/>
            <p:cNvGrpSpPr/>
            <p:nvPr/>
          </p:nvGrpSpPr>
          <p:grpSpPr>
            <a:xfrm>
              <a:off x="7191542" y="1"/>
              <a:ext cx="5000459" cy="1425992"/>
              <a:chOff x="7186272" y="0"/>
              <a:chExt cx="5005729" cy="1427495"/>
            </a:xfrm>
          </p:grpSpPr>
          <p:sp>
            <p:nvSpPr>
              <p:cNvPr id="7938" name="Google Shape;7938;p9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39" name="Google Shape;7939;p9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40" name="Google Shape;7940;p9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41" name="Google Shape;7941;p9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42" name="Google Shape;7942;p9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43" name="Google Shape;7943;p9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7944"/>
        <p:cNvGrpSpPr/>
        <p:nvPr/>
      </p:nvGrpSpPr>
      <p:grpSpPr>
        <a:xfrm>
          <a:off x="0" y="0"/>
          <a:ext cx="0" cy="0"/>
          <a:chOff x="0" y="0"/>
          <a:chExt cx="0" cy="0"/>
        </a:xfrm>
      </p:grpSpPr>
      <p:grpSp>
        <p:nvGrpSpPr>
          <p:cNvPr id="7945" name="Google Shape;7945;p982"/>
          <p:cNvGrpSpPr/>
          <p:nvPr/>
        </p:nvGrpSpPr>
        <p:grpSpPr>
          <a:xfrm>
            <a:off x="7191542" y="1"/>
            <a:ext cx="5000459" cy="1425992"/>
            <a:chOff x="7191542" y="1"/>
            <a:chExt cx="5000459" cy="1425992"/>
          </a:xfrm>
        </p:grpSpPr>
        <p:pic>
          <p:nvPicPr>
            <p:cNvPr id="7946" name="Google Shape;7946;p9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47" name="Google Shape;7947;p982"/>
            <p:cNvGrpSpPr/>
            <p:nvPr/>
          </p:nvGrpSpPr>
          <p:grpSpPr>
            <a:xfrm>
              <a:off x="7191542" y="1"/>
              <a:ext cx="5000459" cy="1425992"/>
              <a:chOff x="7186272" y="0"/>
              <a:chExt cx="5005729" cy="1427495"/>
            </a:xfrm>
          </p:grpSpPr>
          <p:sp>
            <p:nvSpPr>
              <p:cNvPr id="7948" name="Google Shape;7948;p9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49" name="Google Shape;7949;p9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50" name="Google Shape;7950;p9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51" name="Google Shape;7951;p9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52" name="Google Shape;7952;p9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53" name="Google Shape;7953;p9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954" name="Google Shape;7954;p9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55" name="Google Shape;7955;p9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56" name="Google Shape;7956;p9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57" name="Google Shape;7957;p9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7958"/>
        <p:cNvGrpSpPr/>
        <p:nvPr/>
      </p:nvGrpSpPr>
      <p:grpSpPr>
        <a:xfrm>
          <a:off x="0" y="0"/>
          <a:ext cx="0" cy="0"/>
          <a:chOff x="0" y="0"/>
          <a:chExt cx="0" cy="0"/>
        </a:xfrm>
      </p:grpSpPr>
      <p:grpSp>
        <p:nvGrpSpPr>
          <p:cNvPr id="7959" name="Google Shape;7959;p983"/>
          <p:cNvGrpSpPr/>
          <p:nvPr/>
        </p:nvGrpSpPr>
        <p:grpSpPr>
          <a:xfrm>
            <a:off x="7191542" y="1"/>
            <a:ext cx="5000459" cy="1425992"/>
            <a:chOff x="7191542" y="1"/>
            <a:chExt cx="5000459" cy="1425992"/>
          </a:xfrm>
        </p:grpSpPr>
        <p:pic>
          <p:nvPicPr>
            <p:cNvPr id="7960" name="Google Shape;7960;p9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61" name="Google Shape;7961;p983"/>
            <p:cNvGrpSpPr/>
            <p:nvPr/>
          </p:nvGrpSpPr>
          <p:grpSpPr>
            <a:xfrm>
              <a:off x="7191542" y="1"/>
              <a:ext cx="5000459" cy="1425992"/>
              <a:chOff x="7186272" y="0"/>
              <a:chExt cx="5005729" cy="1427495"/>
            </a:xfrm>
          </p:grpSpPr>
          <p:sp>
            <p:nvSpPr>
              <p:cNvPr id="7962" name="Google Shape;7962;p9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63" name="Google Shape;7963;p9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64" name="Google Shape;7964;p9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65" name="Google Shape;7965;p9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66" name="Google Shape;7966;p9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67" name="Google Shape;7967;p9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7968"/>
        <p:cNvGrpSpPr/>
        <p:nvPr/>
      </p:nvGrpSpPr>
      <p:grpSpPr>
        <a:xfrm>
          <a:off x="0" y="0"/>
          <a:ext cx="0" cy="0"/>
          <a:chOff x="0" y="0"/>
          <a:chExt cx="0" cy="0"/>
        </a:xfrm>
      </p:grpSpPr>
      <p:grpSp>
        <p:nvGrpSpPr>
          <p:cNvPr id="7969" name="Google Shape;7969;p984"/>
          <p:cNvGrpSpPr/>
          <p:nvPr/>
        </p:nvGrpSpPr>
        <p:grpSpPr>
          <a:xfrm>
            <a:off x="0" y="0"/>
            <a:ext cx="12192000" cy="2148830"/>
            <a:chOff x="0" y="0"/>
            <a:chExt cx="12192000" cy="2148830"/>
          </a:xfrm>
        </p:grpSpPr>
        <p:sp>
          <p:nvSpPr>
            <p:cNvPr id="7970" name="Google Shape;7970;p9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71" name="Google Shape;7971;p9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72" name="Google Shape;7972;p9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3" name="Google Shape;7973;p9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74" name="Google Shape;7974;p9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75" name="Google Shape;7975;p9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76" name="Google Shape;7976;p9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7977"/>
        <p:cNvGrpSpPr/>
        <p:nvPr/>
      </p:nvGrpSpPr>
      <p:grpSpPr>
        <a:xfrm>
          <a:off x="0" y="0"/>
          <a:ext cx="0" cy="0"/>
          <a:chOff x="0" y="0"/>
          <a:chExt cx="0" cy="0"/>
        </a:xfrm>
      </p:grpSpPr>
      <p:sp>
        <p:nvSpPr>
          <p:cNvPr id="7978" name="Google Shape;7978;p9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79" name="Google Shape;7979;p9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80" name="Google Shape;7980;p9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7981" name="Google Shape;7981;p985"/>
          <p:cNvGrpSpPr/>
          <p:nvPr/>
        </p:nvGrpSpPr>
        <p:grpSpPr>
          <a:xfrm>
            <a:off x="7191542" y="1"/>
            <a:ext cx="5000459" cy="1425992"/>
            <a:chOff x="7191542" y="1"/>
            <a:chExt cx="5000459" cy="1425992"/>
          </a:xfrm>
        </p:grpSpPr>
        <p:pic>
          <p:nvPicPr>
            <p:cNvPr id="7982" name="Google Shape;7982;p9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83" name="Google Shape;7983;p985"/>
            <p:cNvGrpSpPr/>
            <p:nvPr/>
          </p:nvGrpSpPr>
          <p:grpSpPr>
            <a:xfrm>
              <a:off x="7191542" y="1"/>
              <a:ext cx="5000459" cy="1425992"/>
              <a:chOff x="7186272" y="0"/>
              <a:chExt cx="5005729" cy="1427495"/>
            </a:xfrm>
          </p:grpSpPr>
          <p:sp>
            <p:nvSpPr>
              <p:cNvPr id="7984" name="Google Shape;7984;p9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85" name="Google Shape;7985;p9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7986"/>
        <p:cNvGrpSpPr/>
        <p:nvPr/>
      </p:nvGrpSpPr>
      <p:grpSpPr>
        <a:xfrm>
          <a:off x="0" y="0"/>
          <a:ext cx="0" cy="0"/>
          <a:chOff x="0" y="0"/>
          <a:chExt cx="0" cy="0"/>
        </a:xfrm>
      </p:grpSpPr>
      <p:sp>
        <p:nvSpPr>
          <p:cNvPr id="7987" name="Google Shape;7987;p9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88" name="Google Shape;7988;p9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9" name="Google Shape;7989;p9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0" name="Google Shape;7990;p986"/>
          <p:cNvSpPr>
            <a:spLocks noGrp="1"/>
          </p:cNvSpPr>
          <p:nvPr>
            <p:ph type="pic" idx="2"/>
          </p:nvPr>
        </p:nvSpPr>
        <p:spPr>
          <a:xfrm>
            <a:off x="7118684" y="233915"/>
            <a:ext cx="5073316" cy="5943600"/>
          </a:xfrm>
          <a:prstGeom prst="rect">
            <a:avLst/>
          </a:prstGeom>
          <a:noFill/>
          <a:ln>
            <a:noFill/>
          </a:ln>
        </p:spPr>
      </p:sp>
      <p:grpSp>
        <p:nvGrpSpPr>
          <p:cNvPr id="7991" name="Google Shape;7991;p986"/>
          <p:cNvGrpSpPr/>
          <p:nvPr/>
        </p:nvGrpSpPr>
        <p:grpSpPr>
          <a:xfrm>
            <a:off x="0" y="5020348"/>
            <a:ext cx="12192000" cy="1837653"/>
            <a:chOff x="0" y="5020348"/>
            <a:chExt cx="12192000" cy="1837653"/>
          </a:xfrm>
        </p:grpSpPr>
        <p:sp>
          <p:nvSpPr>
            <p:cNvPr id="7992" name="Google Shape;7992;p9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93" name="Google Shape;7993;p9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994" name="Google Shape;7994;p9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7995"/>
        <p:cNvGrpSpPr/>
        <p:nvPr/>
      </p:nvGrpSpPr>
      <p:grpSpPr>
        <a:xfrm>
          <a:off x="0" y="0"/>
          <a:ext cx="0" cy="0"/>
          <a:chOff x="0" y="0"/>
          <a:chExt cx="0" cy="0"/>
        </a:xfrm>
      </p:grpSpPr>
      <p:grpSp>
        <p:nvGrpSpPr>
          <p:cNvPr id="7996" name="Google Shape;7996;p987"/>
          <p:cNvGrpSpPr/>
          <p:nvPr/>
        </p:nvGrpSpPr>
        <p:grpSpPr>
          <a:xfrm>
            <a:off x="0" y="5020347"/>
            <a:ext cx="12192000" cy="1837653"/>
            <a:chOff x="0" y="5020347"/>
            <a:chExt cx="12192000" cy="1837653"/>
          </a:xfrm>
        </p:grpSpPr>
        <p:sp>
          <p:nvSpPr>
            <p:cNvPr id="7997" name="Google Shape;7997;p9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98" name="Google Shape;7998;p9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99" name="Google Shape;7999;p9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00" name="Google Shape;8000;p9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001" name="Google Shape;8001;p9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02" name="Google Shape;8002;p9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8003"/>
        <p:cNvGrpSpPr/>
        <p:nvPr/>
      </p:nvGrpSpPr>
      <p:grpSpPr>
        <a:xfrm>
          <a:off x="0" y="0"/>
          <a:ext cx="0" cy="0"/>
          <a:chOff x="0" y="0"/>
          <a:chExt cx="0" cy="0"/>
        </a:xfrm>
      </p:grpSpPr>
      <p:sp>
        <p:nvSpPr>
          <p:cNvPr id="8004" name="Google Shape;8004;p9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005" name="Google Shape;8005;p9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006" name="Google Shape;8006;p988"/>
          <p:cNvGrpSpPr/>
          <p:nvPr/>
        </p:nvGrpSpPr>
        <p:grpSpPr>
          <a:xfrm>
            <a:off x="0" y="5379426"/>
            <a:ext cx="2807368" cy="753891"/>
            <a:chOff x="0" y="5379426"/>
            <a:chExt cx="2807368" cy="753891"/>
          </a:xfrm>
        </p:grpSpPr>
        <p:sp>
          <p:nvSpPr>
            <p:cNvPr id="8007" name="Google Shape;8007;p9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08" name="Google Shape;8008;p9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009" name="Google Shape;8009;p988"/>
          <p:cNvSpPr>
            <a:spLocks noGrp="1"/>
          </p:cNvSpPr>
          <p:nvPr>
            <p:ph type="pic" idx="2"/>
          </p:nvPr>
        </p:nvSpPr>
        <p:spPr>
          <a:xfrm>
            <a:off x="2807368" y="457202"/>
            <a:ext cx="8915400" cy="5943598"/>
          </a:xfrm>
          <a:prstGeom prst="rect">
            <a:avLst/>
          </a:prstGeom>
          <a:noFill/>
          <a:ln>
            <a:noFill/>
          </a:ln>
        </p:spPr>
      </p:sp>
      <p:pic>
        <p:nvPicPr>
          <p:cNvPr id="8010" name="Google Shape;8010;p9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8011"/>
        <p:cNvGrpSpPr/>
        <p:nvPr/>
      </p:nvGrpSpPr>
      <p:grpSpPr>
        <a:xfrm>
          <a:off x="0" y="0"/>
          <a:ext cx="0" cy="0"/>
          <a:chOff x="0" y="0"/>
          <a:chExt cx="0" cy="0"/>
        </a:xfrm>
      </p:grpSpPr>
      <p:sp>
        <p:nvSpPr>
          <p:cNvPr id="8012" name="Google Shape;8012;p9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13" name="Google Shape;8013;p9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14" name="Google Shape;8014;p9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5" name="Google Shape;8015;p9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16" name="Google Shape;8016;p9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17" name="Google Shape;8017;p9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018" name="Google Shape;8018;p989"/>
          <p:cNvGrpSpPr/>
          <p:nvPr/>
        </p:nvGrpSpPr>
        <p:grpSpPr>
          <a:xfrm>
            <a:off x="7191542" y="1"/>
            <a:ext cx="5000459" cy="1425992"/>
            <a:chOff x="7191542" y="1"/>
            <a:chExt cx="5000459" cy="1425992"/>
          </a:xfrm>
        </p:grpSpPr>
        <p:pic>
          <p:nvPicPr>
            <p:cNvPr id="8019" name="Google Shape;8019;p9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20" name="Google Shape;8020;p989"/>
            <p:cNvGrpSpPr/>
            <p:nvPr/>
          </p:nvGrpSpPr>
          <p:grpSpPr>
            <a:xfrm>
              <a:off x="7191542" y="1"/>
              <a:ext cx="5000459" cy="1425992"/>
              <a:chOff x="7186272" y="0"/>
              <a:chExt cx="5005729" cy="1427495"/>
            </a:xfrm>
          </p:grpSpPr>
          <p:sp>
            <p:nvSpPr>
              <p:cNvPr id="8021" name="Google Shape;8021;p9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22" name="Google Shape;8022;p9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023" name="Google Shape;8023;p9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41"/>
        <p:cNvGrpSpPr/>
        <p:nvPr/>
      </p:nvGrpSpPr>
      <p:grpSpPr>
        <a:xfrm>
          <a:off x="0" y="0"/>
          <a:ext cx="0" cy="0"/>
          <a:chOff x="0" y="0"/>
          <a:chExt cx="0" cy="0"/>
        </a:xfrm>
      </p:grpSpPr>
      <p:sp>
        <p:nvSpPr>
          <p:cNvPr id="842" name="Google Shape;842;p1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3" name="Google Shape;843;p1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4" name="Google Shape;844;p1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5" name="Google Shape;845;p136"/>
          <p:cNvSpPr>
            <a:spLocks noGrp="1"/>
          </p:cNvSpPr>
          <p:nvPr>
            <p:ph type="pic" idx="2"/>
          </p:nvPr>
        </p:nvSpPr>
        <p:spPr>
          <a:xfrm>
            <a:off x="7118684" y="233915"/>
            <a:ext cx="5073316" cy="5943600"/>
          </a:xfrm>
          <a:prstGeom prst="rect">
            <a:avLst/>
          </a:prstGeom>
          <a:noFill/>
          <a:ln>
            <a:noFill/>
          </a:ln>
        </p:spPr>
      </p:sp>
      <p:grpSp>
        <p:nvGrpSpPr>
          <p:cNvPr id="846" name="Google Shape;846;p136"/>
          <p:cNvGrpSpPr/>
          <p:nvPr/>
        </p:nvGrpSpPr>
        <p:grpSpPr>
          <a:xfrm>
            <a:off x="0" y="5020348"/>
            <a:ext cx="12192000" cy="1837653"/>
            <a:chOff x="0" y="5020348"/>
            <a:chExt cx="12192000" cy="1837653"/>
          </a:xfrm>
        </p:grpSpPr>
        <p:sp>
          <p:nvSpPr>
            <p:cNvPr id="847" name="Google Shape;847;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8" name="Google Shape;848;p1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9" name="Google Shape;849;p1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Quotation">
  <p:cSld name="Quotation 17 2">
    <p:spTree>
      <p:nvGrpSpPr>
        <p:cNvPr id="1" name="Shape 8024"/>
        <p:cNvGrpSpPr/>
        <p:nvPr/>
      </p:nvGrpSpPr>
      <p:grpSpPr>
        <a:xfrm>
          <a:off x="0" y="0"/>
          <a:ext cx="0" cy="0"/>
          <a:chOff x="0" y="0"/>
          <a:chExt cx="0" cy="0"/>
        </a:xfrm>
      </p:grpSpPr>
      <p:sp>
        <p:nvSpPr>
          <p:cNvPr id="8025" name="Google Shape;8025;p9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6" name="Google Shape;8026;p9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27" name="Google Shape;8027;p9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28" name="Google Shape;8028;p9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29" name="Google Shape;8029;p9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30" name="Google Shape;8030;p9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031" name="Google Shape;8031;p990"/>
          <p:cNvGrpSpPr/>
          <p:nvPr/>
        </p:nvGrpSpPr>
        <p:grpSpPr>
          <a:xfrm>
            <a:off x="7191542" y="1"/>
            <a:ext cx="5000459" cy="1425992"/>
            <a:chOff x="7191542" y="1"/>
            <a:chExt cx="5000459" cy="1425992"/>
          </a:xfrm>
        </p:grpSpPr>
        <p:pic>
          <p:nvPicPr>
            <p:cNvPr id="8032" name="Google Shape;8032;p9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33" name="Google Shape;8033;p990"/>
            <p:cNvGrpSpPr/>
            <p:nvPr/>
          </p:nvGrpSpPr>
          <p:grpSpPr>
            <a:xfrm>
              <a:off x="7191542" y="1"/>
              <a:ext cx="5000459" cy="1425992"/>
              <a:chOff x="7186272" y="0"/>
              <a:chExt cx="5005729" cy="1427495"/>
            </a:xfrm>
          </p:grpSpPr>
          <p:sp>
            <p:nvSpPr>
              <p:cNvPr id="8034" name="Google Shape;8034;p9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35" name="Google Shape;8035;p9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036" name="Google Shape;8036;p9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8037"/>
        <p:cNvGrpSpPr/>
        <p:nvPr/>
      </p:nvGrpSpPr>
      <p:grpSpPr>
        <a:xfrm>
          <a:off x="0" y="0"/>
          <a:ext cx="0" cy="0"/>
          <a:chOff x="0" y="0"/>
          <a:chExt cx="0" cy="0"/>
        </a:xfrm>
      </p:grpSpPr>
      <p:grpSp>
        <p:nvGrpSpPr>
          <p:cNvPr id="8038" name="Google Shape;8038;p991"/>
          <p:cNvGrpSpPr/>
          <p:nvPr/>
        </p:nvGrpSpPr>
        <p:grpSpPr>
          <a:xfrm>
            <a:off x="7191542" y="1"/>
            <a:ext cx="5000459" cy="1425992"/>
            <a:chOff x="7191542" y="1"/>
            <a:chExt cx="5000459" cy="1425992"/>
          </a:xfrm>
        </p:grpSpPr>
        <p:pic>
          <p:nvPicPr>
            <p:cNvPr id="8039" name="Google Shape;8039;p9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40" name="Google Shape;8040;p991"/>
            <p:cNvGrpSpPr/>
            <p:nvPr/>
          </p:nvGrpSpPr>
          <p:grpSpPr>
            <a:xfrm>
              <a:off x="7191542" y="1"/>
              <a:ext cx="5000459" cy="1425992"/>
              <a:chOff x="7186272" y="0"/>
              <a:chExt cx="5005729" cy="1427495"/>
            </a:xfrm>
          </p:grpSpPr>
          <p:sp>
            <p:nvSpPr>
              <p:cNvPr id="8041" name="Google Shape;8041;p9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42" name="Google Shape;8042;p9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43" name="Google Shape;8043;p9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44" name="Google Shape;8044;p9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45" name="Google Shape;8045;p9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46" name="Google Shape;8046;p9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47" name="Google Shape;8047;p9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8048"/>
        <p:cNvGrpSpPr/>
        <p:nvPr/>
      </p:nvGrpSpPr>
      <p:grpSpPr>
        <a:xfrm>
          <a:off x="0" y="0"/>
          <a:ext cx="0" cy="0"/>
          <a:chOff x="0" y="0"/>
          <a:chExt cx="0" cy="0"/>
        </a:xfrm>
      </p:grpSpPr>
      <p:sp>
        <p:nvSpPr>
          <p:cNvPr id="8049" name="Google Shape;8049;p9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50" name="Google Shape;8050;p9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051" name="Google Shape;8051;p992"/>
          <p:cNvGrpSpPr/>
          <p:nvPr/>
        </p:nvGrpSpPr>
        <p:grpSpPr>
          <a:xfrm>
            <a:off x="7191542" y="1"/>
            <a:ext cx="5000459" cy="1425992"/>
            <a:chOff x="7191542" y="1"/>
            <a:chExt cx="5000459" cy="1425992"/>
          </a:xfrm>
        </p:grpSpPr>
        <p:pic>
          <p:nvPicPr>
            <p:cNvPr id="8052" name="Google Shape;8052;p9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53" name="Google Shape;8053;p992"/>
            <p:cNvGrpSpPr/>
            <p:nvPr/>
          </p:nvGrpSpPr>
          <p:grpSpPr>
            <a:xfrm>
              <a:off x="7191542" y="1"/>
              <a:ext cx="5000459" cy="1425992"/>
              <a:chOff x="7186272" y="0"/>
              <a:chExt cx="5005729" cy="1427495"/>
            </a:xfrm>
          </p:grpSpPr>
          <p:sp>
            <p:nvSpPr>
              <p:cNvPr id="8054" name="Google Shape;8054;p9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55" name="Google Shape;8055;p9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56" name="Google Shape;8056;p9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57" name="Google Shape;8057;p9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58" name="Google Shape;8058;p9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9" name="Google Shape;8059;p9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8060"/>
        <p:cNvGrpSpPr/>
        <p:nvPr/>
      </p:nvGrpSpPr>
      <p:grpSpPr>
        <a:xfrm>
          <a:off x="0" y="0"/>
          <a:ext cx="0" cy="0"/>
          <a:chOff x="0" y="0"/>
          <a:chExt cx="0" cy="0"/>
        </a:xfrm>
      </p:grpSpPr>
      <p:grpSp>
        <p:nvGrpSpPr>
          <p:cNvPr id="8061" name="Google Shape;8061;p993"/>
          <p:cNvGrpSpPr/>
          <p:nvPr/>
        </p:nvGrpSpPr>
        <p:grpSpPr>
          <a:xfrm>
            <a:off x="7191542" y="1"/>
            <a:ext cx="5000459" cy="1425992"/>
            <a:chOff x="7191542" y="1"/>
            <a:chExt cx="5000459" cy="1425992"/>
          </a:xfrm>
        </p:grpSpPr>
        <p:pic>
          <p:nvPicPr>
            <p:cNvPr id="8062" name="Google Shape;8062;p9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3" name="Google Shape;8063;p993"/>
            <p:cNvGrpSpPr/>
            <p:nvPr/>
          </p:nvGrpSpPr>
          <p:grpSpPr>
            <a:xfrm>
              <a:off x="7191542" y="1"/>
              <a:ext cx="5000459" cy="1425992"/>
              <a:chOff x="7186272" y="0"/>
              <a:chExt cx="5005729" cy="1427495"/>
            </a:xfrm>
          </p:grpSpPr>
          <p:sp>
            <p:nvSpPr>
              <p:cNvPr id="8064" name="Google Shape;8064;p9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65" name="Google Shape;8065;p9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66" name="Google Shape;8066;p9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67" name="Google Shape;8067;p9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68" name="Google Shape;8068;p9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69" name="Google Shape;8069;p9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70" name="Google Shape;8070;p9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71" name="Google Shape;8071;p9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72" name="Google Shape;8072;p9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73" name="Google Shape;8073;p9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8074"/>
        <p:cNvGrpSpPr/>
        <p:nvPr/>
      </p:nvGrpSpPr>
      <p:grpSpPr>
        <a:xfrm>
          <a:off x="0" y="0"/>
          <a:ext cx="0" cy="0"/>
          <a:chOff x="0" y="0"/>
          <a:chExt cx="0" cy="0"/>
        </a:xfrm>
      </p:grpSpPr>
      <p:grpSp>
        <p:nvGrpSpPr>
          <p:cNvPr id="8075" name="Google Shape;8075;p994"/>
          <p:cNvGrpSpPr/>
          <p:nvPr/>
        </p:nvGrpSpPr>
        <p:grpSpPr>
          <a:xfrm>
            <a:off x="7191542" y="1"/>
            <a:ext cx="5000459" cy="1425992"/>
            <a:chOff x="7191542" y="1"/>
            <a:chExt cx="5000459" cy="1425992"/>
          </a:xfrm>
        </p:grpSpPr>
        <p:pic>
          <p:nvPicPr>
            <p:cNvPr id="8076" name="Google Shape;8076;p9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77" name="Google Shape;8077;p994"/>
            <p:cNvGrpSpPr/>
            <p:nvPr/>
          </p:nvGrpSpPr>
          <p:grpSpPr>
            <a:xfrm>
              <a:off x="7191542" y="1"/>
              <a:ext cx="5000459" cy="1425992"/>
              <a:chOff x="7186272" y="0"/>
              <a:chExt cx="5005729" cy="1427495"/>
            </a:xfrm>
          </p:grpSpPr>
          <p:sp>
            <p:nvSpPr>
              <p:cNvPr id="8078" name="Google Shape;8078;p9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79" name="Google Shape;8079;p9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80" name="Google Shape;8080;p9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81" name="Google Shape;8081;p9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82" name="Google Shape;8082;p9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83" name="Google Shape;8083;p9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8084"/>
        <p:cNvGrpSpPr/>
        <p:nvPr/>
      </p:nvGrpSpPr>
      <p:grpSpPr>
        <a:xfrm>
          <a:off x="0" y="0"/>
          <a:ext cx="0" cy="0"/>
          <a:chOff x="0" y="0"/>
          <a:chExt cx="0" cy="0"/>
        </a:xfrm>
      </p:grpSpPr>
      <p:grpSp>
        <p:nvGrpSpPr>
          <p:cNvPr id="8085" name="Google Shape;8085;p995"/>
          <p:cNvGrpSpPr/>
          <p:nvPr/>
        </p:nvGrpSpPr>
        <p:grpSpPr>
          <a:xfrm>
            <a:off x="0" y="0"/>
            <a:ext cx="12192000" cy="2148830"/>
            <a:chOff x="0" y="0"/>
            <a:chExt cx="12192000" cy="2148830"/>
          </a:xfrm>
        </p:grpSpPr>
        <p:sp>
          <p:nvSpPr>
            <p:cNvPr id="8086" name="Google Shape;8086;p9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87" name="Google Shape;8087;p9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088" name="Google Shape;8088;p9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89" name="Google Shape;8089;p9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90" name="Google Shape;8090;p9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091" name="Google Shape;8091;p9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092" name="Google Shape;8092;p9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8093"/>
        <p:cNvGrpSpPr/>
        <p:nvPr/>
      </p:nvGrpSpPr>
      <p:grpSpPr>
        <a:xfrm>
          <a:off x="0" y="0"/>
          <a:ext cx="0" cy="0"/>
          <a:chOff x="0" y="0"/>
          <a:chExt cx="0" cy="0"/>
        </a:xfrm>
      </p:grpSpPr>
      <p:sp>
        <p:nvSpPr>
          <p:cNvPr id="8094" name="Google Shape;8094;p9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5" name="Google Shape;8095;p9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96" name="Google Shape;8096;p9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097" name="Google Shape;8097;p996"/>
          <p:cNvGrpSpPr/>
          <p:nvPr/>
        </p:nvGrpSpPr>
        <p:grpSpPr>
          <a:xfrm>
            <a:off x="7191542" y="1"/>
            <a:ext cx="5000459" cy="1425992"/>
            <a:chOff x="7191542" y="1"/>
            <a:chExt cx="5000459" cy="1425992"/>
          </a:xfrm>
        </p:grpSpPr>
        <p:pic>
          <p:nvPicPr>
            <p:cNvPr id="8098" name="Google Shape;8098;p9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9" name="Google Shape;8099;p996"/>
            <p:cNvGrpSpPr/>
            <p:nvPr/>
          </p:nvGrpSpPr>
          <p:grpSpPr>
            <a:xfrm>
              <a:off x="7191542" y="1"/>
              <a:ext cx="5000459" cy="1425992"/>
              <a:chOff x="7186272" y="0"/>
              <a:chExt cx="5005729" cy="1427495"/>
            </a:xfrm>
          </p:grpSpPr>
          <p:sp>
            <p:nvSpPr>
              <p:cNvPr id="8100" name="Google Shape;8100;p9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01" name="Google Shape;8101;p9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8102"/>
        <p:cNvGrpSpPr/>
        <p:nvPr/>
      </p:nvGrpSpPr>
      <p:grpSpPr>
        <a:xfrm>
          <a:off x="0" y="0"/>
          <a:ext cx="0" cy="0"/>
          <a:chOff x="0" y="0"/>
          <a:chExt cx="0" cy="0"/>
        </a:xfrm>
      </p:grpSpPr>
      <p:sp>
        <p:nvSpPr>
          <p:cNvPr id="8103" name="Google Shape;8103;p997"/>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104" name="Google Shape;8104;p997"/>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105" name="Google Shape;8105;p997"/>
          <p:cNvGrpSpPr/>
          <p:nvPr/>
        </p:nvGrpSpPr>
        <p:grpSpPr>
          <a:xfrm>
            <a:off x="0" y="0"/>
            <a:ext cx="1862667" cy="6629400"/>
            <a:chOff x="-15876" y="0"/>
            <a:chExt cx="1927803" cy="6858000"/>
          </a:xfrm>
        </p:grpSpPr>
        <p:sp>
          <p:nvSpPr>
            <p:cNvPr id="8106" name="Google Shape;8106;p997"/>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107" name="Google Shape;8107;p997"/>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108" name="Google Shape;8108;p997"/>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109" name="Google Shape;8109;p997"/>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10" name="Google Shape;8110;p997"/>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1" name="Google Shape;8111;p997"/>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Cover">
  <p:cSld name="Cover 11 2">
    <p:spTree>
      <p:nvGrpSpPr>
        <p:cNvPr id="1" name="Shape 8112"/>
        <p:cNvGrpSpPr/>
        <p:nvPr/>
      </p:nvGrpSpPr>
      <p:grpSpPr>
        <a:xfrm>
          <a:off x="0" y="0"/>
          <a:ext cx="0" cy="0"/>
          <a:chOff x="0" y="0"/>
          <a:chExt cx="0" cy="0"/>
        </a:xfrm>
      </p:grpSpPr>
      <p:sp>
        <p:nvSpPr>
          <p:cNvPr id="8113" name="Google Shape;8113;p9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14" name="Google Shape;8114;p9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15" name="Google Shape;8115;p9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16" name="Google Shape;8116;p998"/>
          <p:cNvSpPr>
            <a:spLocks noGrp="1"/>
          </p:cNvSpPr>
          <p:nvPr>
            <p:ph type="pic" idx="2"/>
          </p:nvPr>
        </p:nvSpPr>
        <p:spPr>
          <a:xfrm>
            <a:off x="7118684" y="233915"/>
            <a:ext cx="5073316" cy="5943600"/>
          </a:xfrm>
          <a:prstGeom prst="rect">
            <a:avLst/>
          </a:prstGeom>
          <a:noFill/>
          <a:ln>
            <a:noFill/>
          </a:ln>
        </p:spPr>
      </p:sp>
      <p:grpSp>
        <p:nvGrpSpPr>
          <p:cNvPr id="8117" name="Google Shape;8117;p998"/>
          <p:cNvGrpSpPr/>
          <p:nvPr/>
        </p:nvGrpSpPr>
        <p:grpSpPr>
          <a:xfrm>
            <a:off x="0" y="5020348"/>
            <a:ext cx="12192000" cy="1837653"/>
            <a:chOff x="0" y="5020348"/>
            <a:chExt cx="12192000" cy="1837653"/>
          </a:xfrm>
        </p:grpSpPr>
        <p:sp>
          <p:nvSpPr>
            <p:cNvPr id="8118" name="Google Shape;8118;p9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19" name="Google Shape;8119;p9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120" name="Google Shape;8120;p9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Divider">
  <p:cSld name="Divider 12 2">
    <p:bg>
      <p:bgPr>
        <a:solidFill>
          <a:schemeClr val="lt2"/>
        </a:solidFill>
        <a:effectLst/>
      </p:bgPr>
    </p:bg>
    <p:spTree>
      <p:nvGrpSpPr>
        <p:cNvPr id="1" name="Shape 8121"/>
        <p:cNvGrpSpPr/>
        <p:nvPr/>
      </p:nvGrpSpPr>
      <p:grpSpPr>
        <a:xfrm>
          <a:off x="0" y="0"/>
          <a:ext cx="0" cy="0"/>
          <a:chOff x="0" y="0"/>
          <a:chExt cx="0" cy="0"/>
        </a:xfrm>
      </p:grpSpPr>
      <p:grpSp>
        <p:nvGrpSpPr>
          <p:cNvPr id="8122" name="Google Shape;8122;p999"/>
          <p:cNvGrpSpPr/>
          <p:nvPr/>
        </p:nvGrpSpPr>
        <p:grpSpPr>
          <a:xfrm>
            <a:off x="0" y="5020347"/>
            <a:ext cx="12192000" cy="1837653"/>
            <a:chOff x="0" y="5020347"/>
            <a:chExt cx="12192000" cy="1837653"/>
          </a:xfrm>
        </p:grpSpPr>
        <p:sp>
          <p:nvSpPr>
            <p:cNvPr id="8123" name="Google Shape;8123;p9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24" name="Google Shape;8124;p9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25" name="Google Shape;8125;p9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126" name="Google Shape;8126;p9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127" name="Google Shape;8127;p9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28" name="Google Shape;8128;p9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89"/>
        <p:cNvGrpSpPr/>
        <p:nvPr/>
      </p:nvGrpSpPr>
      <p:grpSpPr>
        <a:xfrm>
          <a:off x="0" y="0"/>
          <a:ext cx="0" cy="0"/>
          <a:chOff x="0" y="0"/>
          <a:chExt cx="0" cy="0"/>
        </a:xfrm>
      </p:grpSpPr>
      <p:grpSp>
        <p:nvGrpSpPr>
          <p:cNvPr id="90" name="Google Shape;90;p58"/>
          <p:cNvGrpSpPr/>
          <p:nvPr/>
        </p:nvGrpSpPr>
        <p:grpSpPr>
          <a:xfrm>
            <a:off x="7191542" y="1"/>
            <a:ext cx="5000459" cy="1425992"/>
            <a:chOff x="7191542" y="1"/>
            <a:chExt cx="5000459" cy="1425992"/>
          </a:xfrm>
        </p:grpSpPr>
        <p:pic>
          <p:nvPicPr>
            <p:cNvPr id="91" name="Google Shape;91;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 name="Google Shape;92;p58"/>
            <p:cNvGrpSpPr/>
            <p:nvPr/>
          </p:nvGrpSpPr>
          <p:grpSpPr>
            <a:xfrm>
              <a:off x="7191542" y="1"/>
              <a:ext cx="5000459" cy="1425992"/>
              <a:chOff x="7186272" y="0"/>
              <a:chExt cx="5005729" cy="1427495"/>
            </a:xfrm>
          </p:grpSpPr>
          <p:sp>
            <p:nvSpPr>
              <p:cNvPr id="93" name="Google Shape;93;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 name="Google Shape;94;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 name="Google Shape;95;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 name="Google Shape;96;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 name="Google Shape;97;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 name="Google Shape;98;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 name="Google Shape;99;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850"/>
        <p:cNvGrpSpPr/>
        <p:nvPr/>
      </p:nvGrpSpPr>
      <p:grpSpPr>
        <a:xfrm>
          <a:off x="0" y="0"/>
          <a:ext cx="0" cy="0"/>
          <a:chOff x="0" y="0"/>
          <a:chExt cx="0" cy="0"/>
        </a:xfrm>
      </p:grpSpPr>
      <p:grpSp>
        <p:nvGrpSpPr>
          <p:cNvPr id="851" name="Google Shape;851;p137"/>
          <p:cNvGrpSpPr/>
          <p:nvPr/>
        </p:nvGrpSpPr>
        <p:grpSpPr>
          <a:xfrm>
            <a:off x="0" y="5020347"/>
            <a:ext cx="12192000" cy="1837653"/>
            <a:chOff x="0" y="5020347"/>
            <a:chExt cx="12192000" cy="1837653"/>
          </a:xfrm>
        </p:grpSpPr>
        <p:sp>
          <p:nvSpPr>
            <p:cNvPr id="852" name="Google Shape;852;p1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3" name="Google Shape;853;p1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4" name="Google Shape;854;p1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55" name="Google Shape;855;p1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56" name="Google Shape;856;p1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7" name="Google Shape;857;p1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Photo Slide">
  <p:cSld name="Photo Slide 11 2">
    <p:spTree>
      <p:nvGrpSpPr>
        <p:cNvPr id="1" name="Shape 8129"/>
        <p:cNvGrpSpPr/>
        <p:nvPr/>
      </p:nvGrpSpPr>
      <p:grpSpPr>
        <a:xfrm>
          <a:off x="0" y="0"/>
          <a:ext cx="0" cy="0"/>
          <a:chOff x="0" y="0"/>
          <a:chExt cx="0" cy="0"/>
        </a:xfrm>
      </p:grpSpPr>
      <p:sp>
        <p:nvSpPr>
          <p:cNvPr id="8130" name="Google Shape;8130;p10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131" name="Google Shape;8131;p10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132" name="Google Shape;8132;p1000"/>
          <p:cNvGrpSpPr/>
          <p:nvPr/>
        </p:nvGrpSpPr>
        <p:grpSpPr>
          <a:xfrm>
            <a:off x="0" y="5379426"/>
            <a:ext cx="2807368" cy="753891"/>
            <a:chOff x="0" y="5379426"/>
            <a:chExt cx="2807368" cy="753891"/>
          </a:xfrm>
        </p:grpSpPr>
        <p:sp>
          <p:nvSpPr>
            <p:cNvPr id="8133" name="Google Shape;8133;p10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34" name="Google Shape;8134;p10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135" name="Google Shape;8135;p1000"/>
          <p:cNvSpPr>
            <a:spLocks noGrp="1"/>
          </p:cNvSpPr>
          <p:nvPr>
            <p:ph type="pic" idx="2"/>
          </p:nvPr>
        </p:nvSpPr>
        <p:spPr>
          <a:xfrm>
            <a:off x="2807368" y="457202"/>
            <a:ext cx="8915400" cy="5943598"/>
          </a:xfrm>
          <a:prstGeom prst="rect">
            <a:avLst/>
          </a:prstGeom>
          <a:noFill/>
          <a:ln>
            <a:noFill/>
          </a:ln>
        </p:spPr>
      </p:sp>
      <p:pic>
        <p:nvPicPr>
          <p:cNvPr id="8136" name="Google Shape;8136;p10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Quotation">
  <p:cSld name="Quotation 16 3">
    <p:spTree>
      <p:nvGrpSpPr>
        <p:cNvPr id="1" name="Shape 8137"/>
        <p:cNvGrpSpPr/>
        <p:nvPr/>
      </p:nvGrpSpPr>
      <p:grpSpPr>
        <a:xfrm>
          <a:off x="0" y="0"/>
          <a:ext cx="0" cy="0"/>
          <a:chOff x="0" y="0"/>
          <a:chExt cx="0" cy="0"/>
        </a:xfrm>
      </p:grpSpPr>
      <p:sp>
        <p:nvSpPr>
          <p:cNvPr id="8138" name="Google Shape;8138;p10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39" name="Google Shape;8139;p10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40" name="Google Shape;8140;p10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41" name="Google Shape;8141;p10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42" name="Google Shape;8142;p10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43" name="Google Shape;8143;p10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144" name="Google Shape;8144;p1001"/>
          <p:cNvGrpSpPr/>
          <p:nvPr/>
        </p:nvGrpSpPr>
        <p:grpSpPr>
          <a:xfrm>
            <a:off x="7191542" y="1"/>
            <a:ext cx="5000459" cy="1425992"/>
            <a:chOff x="7191542" y="1"/>
            <a:chExt cx="5000459" cy="1425992"/>
          </a:xfrm>
        </p:grpSpPr>
        <p:pic>
          <p:nvPicPr>
            <p:cNvPr id="8145" name="Google Shape;8145;p10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46" name="Google Shape;8146;p1001"/>
            <p:cNvGrpSpPr/>
            <p:nvPr/>
          </p:nvGrpSpPr>
          <p:grpSpPr>
            <a:xfrm>
              <a:off x="7191542" y="1"/>
              <a:ext cx="5000459" cy="1425992"/>
              <a:chOff x="7186272" y="0"/>
              <a:chExt cx="5005729" cy="1427495"/>
            </a:xfrm>
          </p:grpSpPr>
          <p:sp>
            <p:nvSpPr>
              <p:cNvPr id="8147" name="Google Shape;8147;p10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48" name="Google Shape;8148;p10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49" name="Google Shape;8149;p10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Quotation">
  <p:cSld name="Quotation 16 4">
    <p:spTree>
      <p:nvGrpSpPr>
        <p:cNvPr id="1" name="Shape 8150"/>
        <p:cNvGrpSpPr/>
        <p:nvPr/>
      </p:nvGrpSpPr>
      <p:grpSpPr>
        <a:xfrm>
          <a:off x="0" y="0"/>
          <a:ext cx="0" cy="0"/>
          <a:chOff x="0" y="0"/>
          <a:chExt cx="0" cy="0"/>
        </a:xfrm>
      </p:grpSpPr>
      <p:sp>
        <p:nvSpPr>
          <p:cNvPr id="8151" name="Google Shape;8151;p10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52" name="Google Shape;8152;p10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53" name="Google Shape;8153;p10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54" name="Google Shape;8154;p10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55" name="Google Shape;8155;p10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6" name="Google Shape;8156;p10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157" name="Google Shape;8157;p1002"/>
          <p:cNvGrpSpPr/>
          <p:nvPr/>
        </p:nvGrpSpPr>
        <p:grpSpPr>
          <a:xfrm>
            <a:off x="7191542" y="1"/>
            <a:ext cx="5000459" cy="1425992"/>
            <a:chOff x="7191542" y="1"/>
            <a:chExt cx="5000459" cy="1425992"/>
          </a:xfrm>
        </p:grpSpPr>
        <p:pic>
          <p:nvPicPr>
            <p:cNvPr id="8158" name="Google Shape;8158;p10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59" name="Google Shape;8159;p1002"/>
            <p:cNvGrpSpPr/>
            <p:nvPr/>
          </p:nvGrpSpPr>
          <p:grpSpPr>
            <a:xfrm>
              <a:off x="7191542" y="1"/>
              <a:ext cx="5000459" cy="1425992"/>
              <a:chOff x="7186272" y="0"/>
              <a:chExt cx="5005729" cy="1427495"/>
            </a:xfrm>
          </p:grpSpPr>
          <p:sp>
            <p:nvSpPr>
              <p:cNvPr id="8160" name="Google Shape;8160;p10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61" name="Google Shape;8161;p10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2" name="Google Shape;8162;p10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Quotation">
  <p:cSld name="Quotation 16 5">
    <p:spTree>
      <p:nvGrpSpPr>
        <p:cNvPr id="1" name="Shape 8163"/>
        <p:cNvGrpSpPr/>
        <p:nvPr/>
      </p:nvGrpSpPr>
      <p:grpSpPr>
        <a:xfrm>
          <a:off x="0" y="0"/>
          <a:ext cx="0" cy="0"/>
          <a:chOff x="0" y="0"/>
          <a:chExt cx="0" cy="0"/>
        </a:xfrm>
      </p:grpSpPr>
      <p:sp>
        <p:nvSpPr>
          <p:cNvPr id="8164" name="Google Shape;8164;p10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65" name="Google Shape;8165;p10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66" name="Google Shape;8166;p10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67" name="Google Shape;8167;p10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68" name="Google Shape;8168;p10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69" name="Google Shape;8169;p10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170" name="Google Shape;8170;p1003"/>
          <p:cNvGrpSpPr/>
          <p:nvPr/>
        </p:nvGrpSpPr>
        <p:grpSpPr>
          <a:xfrm>
            <a:off x="7191542" y="1"/>
            <a:ext cx="5000459" cy="1425992"/>
            <a:chOff x="7191542" y="1"/>
            <a:chExt cx="5000459" cy="1425992"/>
          </a:xfrm>
        </p:grpSpPr>
        <p:pic>
          <p:nvPicPr>
            <p:cNvPr id="8171" name="Google Shape;8171;p10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72" name="Google Shape;8172;p1003"/>
            <p:cNvGrpSpPr/>
            <p:nvPr/>
          </p:nvGrpSpPr>
          <p:grpSpPr>
            <a:xfrm>
              <a:off x="7191542" y="1"/>
              <a:ext cx="5000459" cy="1425992"/>
              <a:chOff x="7186272" y="0"/>
              <a:chExt cx="5005729" cy="1427495"/>
            </a:xfrm>
          </p:grpSpPr>
          <p:sp>
            <p:nvSpPr>
              <p:cNvPr id="8173" name="Google Shape;8173;p10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74" name="Google Shape;8174;p10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75" name="Google Shape;8175;p10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Two Content">
  <p:cSld name="Two Content 10 2">
    <p:spTree>
      <p:nvGrpSpPr>
        <p:cNvPr id="1" name="Shape 8176"/>
        <p:cNvGrpSpPr/>
        <p:nvPr/>
      </p:nvGrpSpPr>
      <p:grpSpPr>
        <a:xfrm>
          <a:off x="0" y="0"/>
          <a:ext cx="0" cy="0"/>
          <a:chOff x="0" y="0"/>
          <a:chExt cx="0" cy="0"/>
        </a:xfrm>
      </p:grpSpPr>
      <p:sp>
        <p:nvSpPr>
          <p:cNvPr id="8177" name="Google Shape;8177;p10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78" name="Google Shape;8178;p10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179" name="Google Shape;8179;p1004"/>
          <p:cNvGrpSpPr/>
          <p:nvPr/>
        </p:nvGrpSpPr>
        <p:grpSpPr>
          <a:xfrm>
            <a:off x="7191542" y="1"/>
            <a:ext cx="5000459" cy="1425992"/>
            <a:chOff x="7191542" y="1"/>
            <a:chExt cx="5000459" cy="1425992"/>
          </a:xfrm>
        </p:grpSpPr>
        <p:pic>
          <p:nvPicPr>
            <p:cNvPr id="8180" name="Google Shape;8180;p10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81" name="Google Shape;8181;p1004"/>
            <p:cNvGrpSpPr/>
            <p:nvPr/>
          </p:nvGrpSpPr>
          <p:grpSpPr>
            <a:xfrm>
              <a:off x="7191542" y="1"/>
              <a:ext cx="5000459" cy="1425992"/>
              <a:chOff x="7186272" y="0"/>
              <a:chExt cx="5005729" cy="1427495"/>
            </a:xfrm>
          </p:grpSpPr>
          <p:sp>
            <p:nvSpPr>
              <p:cNvPr id="8182" name="Google Shape;8182;p10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83" name="Google Shape;8183;p10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84" name="Google Shape;8184;p10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85" name="Google Shape;8185;p10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86" name="Google Shape;8186;p10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87" name="Google Shape;8187;p10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Comparison">
  <p:cSld name="Comparison 9 2">
    <p:spTree>
      <p:nvGrpSpPr>
        <p:cNvPr id="1" name="Shape 8188"/>
        <p:cNvGrpSpPr/>
        <p:nvPr/>
      </p:nvGrpSpPr>
      <p:grpSpPr>
        <a:xfrm>
          <a:off x="0" y="0"/>
          <a:ext cx="0" cy="0"/>
          <a:chOff x="0" y="0"/>
          <a:chExt cx="0" cy="0"/>
        </a:xfrm>
      </p:grpSpPr>
      <p:grpSp>
        <p:nvGrpSpPr>
          <p:cNvPr id="8189" name="Google Shape;8189;p1005"/>
          <p:cNvGrpSpPr/>
          <p:nvPr/>
        </p:nvGrpSpPr>
        <p:grpSpPr>
          <a:xfrm>
            <a:off x="7191542" y="1"/>
            <a:ext cx="5000459" cy="1425992"/>
            <a:chOff x="7191542" y="1"/>
            <a:chExt cx="5000459" cy="1425992"/>
          </a:xfrm>
        </p:grpSpPr>
        <p:pic>
          <p:nvPicPr>
            <p:cNvPr id="8190" name="Google Shape;8190;p10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91" name="Google Shape;8191;p1005"/>
            <p:cNvGrpSpPr/>
            <p:nvPr/>
          </p:nvGrpSpPr>
          <p:grpSpPr>
            <a:xfrm>
              <a:off x="7191542" y="1"/>
              <a:ext cx="5000459" cy="1425992"/>
              <a:chOff x="7186272" y="0"/>
              <a:chExt cx="5005729" cy="1427495"/>
            </a:xfrm>
          </p:grpSpPr>
          <p:sp>
            <p:nvSpPr>
              <p:cNvPr id="8192" name="Google Shape;8192;p10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93" name="Google Shape;8193;p10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94" name="Google Shape;8194;p10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95" name="Google Shape;8195;p10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96" name="Google Shape;8196;p10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7" name="Google Shape;8197;p10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98" name="Google Shape;8198;p10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99" name="Google Shape;8199;p10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00" name="Google Shape;8200;p10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01" name="Google Shape;8201;p10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Title Only">
  <p:cSld name="Title Only 9 2">
    <p:spTree>
      <p:nvGrpSpPr>
        <p:cNvPr id="1" name="Shape 8202"/>
        <p:cNvGrpSpPr/>
        <p:nvPr/>
      </p:nvGrpSpPr>
      <p:grpSpPr>
        <a:xfrm>
          <a:off x="0" y="0"/>
          <a:ext cx="0" cy="0"/>
          <a:chOff x="0" y="0"/>
          <a:chExt cx="0" cy="0"/>
        </a:xfrm>
      </p:grpSpPr>
      <p:grpSp>
        <p:nvGrpSpPr>
          <p:cNvPr id="8203" name="Google Shape;8203;p1006"/>
          <p:cNvGrpSpPr/>
          <p:nvPr/>
        </p:nvGrpSpPr>
        <p:grpSpPr>
          <a:xfrm>
            <a:off x="7191542" y="1"/>
            <a:ext cx="5000459" cy="1425992"/>
            <a:chOff x="7191542" y="1"/>
            <a:chExt cx="5000459" cy="1425992"/>
          </a:xfrm>
        </p:grpSpPr>
        <p:pic>
          <p:nvPicPr>
            <p:cNvPr id="8204" name="Google Shape;8204;p10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05" name="Google Shape;8205;p1006"/>
            <p:cNvGrpSpPr/>
            <p:nvPr/>
          </p:nvGrpSpPr>
          <p:grpSpPr>
            <a:xfrm>
              <a:off x="7191542" y="1"/>
              <a:ext cx="5000459" cy="1425992"/>
              <a:chOff x="7186272" y="0"/>
              <a:chExt cx="5005729" cy="1427495"/>
            </a:xfrm>
          </p:grpSpPr>
          <p:sp>
            <p:nvSpPr>
              <p:cNvPr id="8206" name="Google Shape;8206;p10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07" name="Google Shape;8207;p10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208" name="Google Shape;8208;p10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09" name="Google Shape;8209;p10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10" name="Google Shape;8210;p10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11" name="Google Shape;8211;p10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End">
  <p:cSld name="End 10 2">
    <p:spTree>
      <p:nvGrpSpPr>
        <p:cNvPr id="1" name="Shape 8212"/>
        <p:cNvGrpSpPr/>
        <p:nvPr/>
      </p:nvGrpSpPr>
      <p:grpSpPr>
        <a:xfrm>
          <a:off x="0" y="0"/>
          <a:ext cx="0" cy="0"/>
          <a:chOff x="0" y="0"/>
          <a:chExt cx="0" cy="0"/>
        </a:xfrm>
      </p:grpSpPr>
      <p:grpSp>
        <p:nvGrpSpPr>
          <p:cNvPr id="8213" name="Google Shape;8213;p1007"/>
          <p:cNvGrpSpPr/>
          <p:nvPr/>
        </p:nvGrpSpPr>
        <p:grpSpPr>
          <a:xfrm>
            <a:off x="0" y="0"/>
            <a:ext cx="12192000" cy="2148830"/>
            <a:chOff x="0" y="0"/>
            <a:chExt cx="12192000" cy="2148830"/>
          </a:xfrm>
        </p:grpSpPr>
        <p:sp>
          <p:nvSpPr>
            <p:cNvPr id="8214" name="Google Shape;8214;p10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15" name="Google Shape;8215;p10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216" name="Google Shape;8216;p10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7" name="Google Shape;8217;p10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18" name="Google Shape;8218;p10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219" name="Google Shape;8219;p10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220" name="Google Shape;8220;p10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Blank">
  <p:cSld name="Blank 8 2">
    <p:spTree>
      <p:nvGrpSpPr>
        <p:cNvPr id="1" name="Shape 8221"/>
        <p:cNvGrpSpPr/>
        <p:nvPr/>
      </p:nvGrpSpPr>
      <p:grpSpPr>
        <a:xfrm>
          <a:off x="0" y="0"/>
          <a:ext cx="0" cy="0"/>
          <a:chOff x="0" y="0"/>
          <a:chExt cx="0" cy="0"/>
        </a:xfrm>
      </p:grpSpPr>
      <p:sp>
        <p:nvSpPr>
          <p:cNvPr id="8222" name="Google Shape;8222;p10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23" name="Google Shape;8223;p10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4" name="Google Shape;8224;p10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225" name="Google Shape;8225;p1008"/>
          <p:cNvGrpSpPr/>
          <p:nvPr/>
        </p:nvGrpSpPr>
        <p:grpSpPr>
          <a:xfrm>
            <a:off x="7191542" y="1"/>
            <a:ext cx="5000459" cy="1425992"/>
            <a:chOff x="7191542" y="1"/>
            <a:chExt cx="5000459" cy="1425992"/>
          </a:xfrm>
        </p:grpSpPr>
        <p:pic>
          <p:nvPicPr>
            <p:cNvPr id="8226" name="Google Shape;8226;p10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27" name="Google Shape;8227;p1008"/>
            <p:cNvGrpSpPr/>
            <p:nvPr/>
          </p:nvGrpSpPr>
          <p:grpSpPr>
            <a:xfrm>
              <a:off x="7191542" y="1"/>
              <a:ext cx="5000459" cy="1425992"/>
              <a:chOff x="7186272" y="0"/>
              <a:chExt cx="5005729" cy="1427495"/>
            </a:xfrm>
          </p:grpSpPr>
          <p:sp>
            <p:nvSpPr>
              <p:cNvPr id="8228" name="Google Shape;8228;p10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29" name="Google Shape;8229;p10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Cover">
  <p:cSld name="Cover 12 2">
    <p:spTree>
      <p:nvGrpSpPr>
        <p:cNvPr id="1" name="Shape 8230"/>
        <p:cNvGrpSpPr/>
        <p:nvPr/>
      </p:nvGrpSpPr>
      <p:grpSpPr>
        <a:xfrm>
          <a:off x="0" y="0"/>
          <a:ext cx="0" cy="0"/>
          <a:chOff x="0" y="0"/>
          <a:chExt cx="0" cy="0"/>
        </a:xfrm>
      </p:grpSpPr>
      <p:sp>
        <p:nvSpPr>
          <p:cNvPr id="8231" name="Google Shape;8231;p10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32" name="Google Shape;8232;p10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33" name="Google Shape;8233;p10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234" name="Google Shape;8234;p1009"/>
          <p:cNvSpPr>
            <a:spLocks noGrp="1"/>
          </p:cNvSpPr>
          <p:nvPr>
            <p:ph type="pic" idx="2"/>
          </p:nvPr>
        </p:nvSpPr>
        <p:spPr>
          <a:xfrm>
            <a:off x="7118684" y="233915"/>
            <a:ext cx="5073316" cy="5943600"/>
          </a:xfrm>
          <a:prstGeom prst="rect">
            <a:avLst/>
          </a:prstGeom>
          <a:noFill/>
          <a:ln>
            <a:noFill/>
          </a:ln>
        </p:spPr>
      </p:sp>
      <p:grpSp>
        <p:nvGrpSpPr>
          <p:cNvPr id="8235" name="Google Shape;8235;p1009"/>
          <p:cNvGrpSpPr/>
          <p:nvPr/>
        </p:nvGrpSpPr>
        <p:grpSpPr>
          <a:xfrm>
            <a:off x="0" y="5020348"/>
            <a:ext cx="12192000" cy="1837653"/>
            <a:chOff x="0" y="5020348"/>
            <a:chExt cx="12192000" cy="1837653"/>
          </a:xfrm>
        </p:grpSpPr>
        <p:sp>
          <p:nvSpPr>
            <p:cNvPr id="8236" name="Google Shape;8236;p10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37" name="Google Shape;8237;p10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38" name="Google Shape;8238;p10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58"/>
        <p:cNvGrpSpPr/>
        <p:nvPr/>
      </p:nvGrpSpPr>
      <p:grpSpPr>
        <a:xfrm>
          <a:off x="0" y="0"/>
          <a:ext cx="0" cy="0"/>
          <a:chOff x="0" y="0"/>
          <a:chExt cx="0" cy="0"/>
        </a:xfrm>
      </p:grpSpPr>
      <p:sp>
        <p:nvSpPr>
          <p:cNvPr id="859" name="Google Shape;859;p1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0" name="Google Shape;860;p1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1" name="Google Shape;861;p1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2" name="Google Shape;862;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3" name="Google Shape;863;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4" name="Google Shape;864;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5" name="Google Shape;865;p138"/>
          <p:cNvGrpSpPr/>
          <p:nvPr/>
        </p:nvGrpSpPr>
        <p:grpSpPr>
          <a:xfrm>
            <a:off x="7191542" y="1"/>
            <a:ext cx="5000459" cy="1425992"/>
            <a:chOff x="7191542" y="1"/>
            <a:chExt cx="5000459" cy="1425992"/>
          </a:xfrm>
        </p:grpSpPr>
        <p:pic>
          <p:nvPicPr>
            <p:cNvPr id="866" name="Google Shape;866;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138"/>
            <p:cNvGrpSpPr/>
            <p:nvPr/>
          </p:nvGrpSpPr>
          <p:grpSpPr>
            <a:xfrm>
              <a:off x="7191542" y="1"/>
              <a:ext cx="5000459" cy="1425992"/>
              <a:chOff x="7186272" y="0"/>
              <a:chExt cx="5005729" cy="1427495"/>
            </a:xfrm>
          </p:grpSpPr>
          <p:sp>
            <p:nvSpPr>
              <p:cNvPr id="868" name="Google Shape;868;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9" name="Google Shape;869;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70" name="Google Shape;870;p1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Divider">
  <p:cSld name="Divider 13 2">
    <p:bg>
      <p:bgPr>
        <a:solidFill>
          <a:schemeClr val="lt2"/>
        </a:solidFill>
        <a:effectLst/>
      </p:bgPr>
    </p:bg>
    <p:spTree>
      <p:nvGrpSpPr>
        <p:cNvPr id="1" name="Shape 8239"/>
        <p:cNvGrpSpPr/>
        <p:nvPr/>
      </p:nvGrpSpPr>
      <p:grpSpPr>
        <a:xfrm>
          <a:off x="0" y="0"/>
          <a:ext cx="0" cy="0"/>
          <a:chOff x="0" y="0"/>
          <a:chExt cx="0" cy="0"/>
        </a:xfrm>
      </p:grpSpPr>
      <p:grpSp>
        <p:nvGrpSpPr>
          <p:cNvPr id="8240" name="Google Shape;8240;p1010"/>
          <p:cNvGrpSpPr/>
          <p:nvPr/>
        </p:nvGrpSpPr>
        <p:grpSpPr>
          <a:xfrm>
            <a:off x="0" y="5020347"/>
            <a:ext cx="12192000" cy="1837653"/>
            <a:chOff x="0" y="5020347"/>
            <a:chExt cx="12192000" cy="1837653"/>
          </a:xfrm>
        </p:grpSpPr>
        <p:sp>
          <p:nvSpPr>
            <p:cNvPr id="8241" name="Google Shape;8241;p10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42" name="Google Shape;8242;p10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43" name="Google Shape;8243;p10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44" name="Google Shape;8244;p10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45" name="Google Shape;8245;p10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6" name="Google Shape;8246;p10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Photo Slide">
  <p:cSld name="Photo Slide 12 2">
    <p:spTree>
      <p:nvGrpSpPr>
        <p:cNvPr id="1" name="Shape 8247"/>
        <p:cNvGrpSpPr/>
        <p:nvPr/>
      </p:nvGrpSpPr>
      <p:grpSpPr>
        <a:xfrm>
          <a:off x="0" y="0"/>
          <a:ext cx="0" cy="0"/>
          <a:chOff x="0" y="0"/>
          <a:chExt cx="0" cy="0"/>
        </a:xfrm>
      </p:grpSpPr>
      <p:sp>
        <p:nvSpPr>
          <p:cNvPr id="8248" name="Google Shape;8248;p10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49" name="Google Shape;8249;p10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50" name="Google Shape;8250;p1011"/>
          <p:cNvGrpSpPr/>
          <p:nvPr/>
        </p:nvGrpSpPr>
        <p:grpSpPr>
          <a:xfrm>
            <a:off x="0" y="5379426"/>
            <a:ext cx="2807368" cy="753891"/>
            <a:chOff x="0" y="5379426"/>
            <a:chExt cx="2807368" cy="753891"/>
          </a:xfrm>
        </p:grpSpPr>
        <p:sp>
          <p:nvSpPr>
            <p:cNvPr id="8251" name="Google Shape;8251;p10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52" name="Google Shape;8252;p10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253" name="Google Shape;8253;p1011"/>
          <p:cNvSpPr>
            <a:spLocks noGrp="1"/>
          </p:cNvSpPr>
          <p:nvPr>
            <p:ph type="pic" idx="2"/>
          </p:nvPr>
        </p:nvSpPr>
        <p:spPr>
          <a:xfrm>
            <a:off x="2807368" y="457202"/>
            <a:ext cx="8915400" cy="5943598"/>
          </a:xfrm>
          <a:prstGeom prst="rect">
            <a:avLst/>
          </a:prstGeom>
          <a:noFill/>
          <a:ln>
            <a:noFill/>
          </a:ln>
        </p:spPr>
      </p:sp>
      <p:pic>
        <p:nvPicPr>
          <p:cNvPr id="8254" name="Google Shape;8254;p10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Quotation">
  <p:cSld name="Quotation 17 3">
    <p:spTree>
      <p:nvGrpSpPr>
        <p:cNvPr id="1" name="Shape 8255"/>
        <p:cNvGrpSpPr/>
        <p:nvPr/>
      </p:nvGrpSpPr>
      <p:grpSpPr>
        <a:xfrm>
          <a:off x="0" y="0"/>
          <a:ext cx="0" cy="0"/>
          <a:chOff x="0" y="0"/>
          <a:chExt cx="0" cy="0"/>
        </a:xfrm>
      </p:grpSpPr>
      <p:sp>
        <p:nvSpPr>
          <p:cNvPr id="8256" name="Google Shape;8256;p10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57" name="Google Shape;8257;p10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58" name="Google Shape;8258;p10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59" name="Google Shape;8259;p10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60" name="Google Shape;8260;p10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61" name="Google Shape;8261;p10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262" name="Google Shape;8262;p1012"/>
          <p:cNvGrpSpPr/>
          <p:nvPr/>
        </p:nvGrpSpPr>
        <p:grpSpPr>
          <a:xfrm>
            <a:off x="7191542" y="1"/>
            <a:ext cx="5000459" cy="1425992"/>
            <a:chOff x="7191542" y="1"/>
            <a:chExt cx="5000459" cy="1425992"/>
          </a:xfrm>
        </p:grpSpPr>
        <p:pic>
          <p:nvPicPr>
            <p:cNvPr id="8263" name="Google Shape;8263;p10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64" name="Google Shape;8264;p1012"/>
            <p:cNvGrpSpPr/>
            <p:nvPr/>
          </p:nvGrpSpPr>
          <p:grpSpPr>
            <a:xfrm>
              <a:off x="7191542" y="1"/>
              <a:ext cx="5000459" cy="1425992"/>
              <a:chOff x="7186272" y="0"/>
              <a:chExt cx="5005729" cy="1427495"/>
            </a:xfrm>
          </p:grpSpPr>
          <p:sp>
            <p:nvSpPr>
              <p:cNvPr id="8265" name="Google Shape;8265;p10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66" name="Google Shape;8266;p10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67" name="Google Shape;8267;p10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Quotation">
  <p:cSld name="Quotation 17 4">
    <p:spTree>
      <p:nvGrpSpPr>
        <p:cNvPr id="1" name="Shape 8268"/>
        <p:cNvGrpSpPr/>
        <p:nvPr/>
      </p:nvGrpSpPr>
      <p:grpSpPr>
        <a:xfrm>
          <a:off x="0" y="0"/>
          <a:ext cx="0" cy="0"/>
          <a:chOff x="0" y="0"/>
          <a:chExt cx="0" cy="0"/>
        </a:xfrm>
      </p:grpSpPr>
      <p:sp>
        <p:nvSpPr>
          <p:cNvPr id="8269" name="Google Shape;8269;p10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70" name="Google Shape;8270;p10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71" name="Google Shape;8271;p10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72" name="Google Shape;8272;p10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73" name="Google Shape;8273;p10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74" name="Google Shape;8274;p10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275" name="Google Shape;8275;p1013"/>
          <p:cNvGrpSpPr/>
          <p:nvPr/>
        </p:nvGrpSpPr>
        <p:grpSpPr>
          <a:xfrm>
            <a:off x="7191542" y="1"/>
            <a:ext cx="5000459" cy="1425992"/>
            <a:chOff x="7191542" y="1"/>
            <a:chExt cx="5000459" cy="1425992"/>
          </a:xfrm>
        </p:grpSpPr>
        <p:pic>
          <p:nvPicPr>
            <p:cNvPr id="8276" name="Google Shape;8276;p10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77" name="Google Shape;8277;p1013"/>
            <p:cNvGrpSpPr/>
            <p:nvPr/>
          </p:nvGrpSpPr>
          <p:grpSpPr>
            <a:xfrm>
              <a:off x="7191542" y="1"/>
              <a:ext cx="5000459" cy="1425992"/>
              <a:chOff x="7186272" y="0"/>
              <a:chExt cx="5005729" cy="1427495"/>
            </a:xfrm>
          </p:grpSpPr>
          <p:sp>
            <p:nvSpPr>
              <p:cNvPr id="8278" name="Google Shape;8278;p10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79" name="Google Shape;8279;p10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80" name="Google Shape;8280;p10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Quotation">
  <p:cSld name="Quotation 17 5">
    <p:spTree>
      <p:nvGrpSpPr>
        <p:cNvPr id="1" name="Shape 8281"/>
        <p:cNvGrpSpPr/>
        <p:nvPr/>
      </p:nvGrpSpPr>
      <p:grpSpPr>
        <a:xfrm>
          <a:off x="0" y="0"/>
          <a:ext cx="0" cy="0"/>
          <a:chOff x="0" y="0"/>
          <a:chExt cx="0" cy="0"/>
        </a:xfrm>
      </p:grpSpPr>
      <p:sp>
        <p:nvSpPr>
          <p:cNvPr id="8282" name="Google Shape;8282;p10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83" name="Google Shape;8283;p10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84" name="Google Shape;8284;p10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85" name="Google Shape;8285;p10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86" name="Google Shape;8286;p10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87" name="Google Shape;8287;p10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288" name="Google Shape;8288;p1014"/>
          <p:cNvGrpSpPr/>
          <p:nvPr/>
        </p:nvGrpSpPr>
        <p:grpSpPr>
          <a:xfrm>
            <a:off x="7191542" y="1"/>
            <a:ext cx="5000459" cy="1425992"/>
            <a:chOff x="7191542" y="1"/>
            <a:chExt cx="5000459" cy="1425992"/>
          </a:xfrm>
        </p:grpSpPr>
        <p:pic>
          <p:nvPicPr>
            <p:cNvPr id="8289" name="Google Shape;8289;p10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90" name="Google Shape;8290;p1014"/>
            <p:cNvGrpSpPr/>
            <p:nvPr/>
          </p:nvGrpSpPr>
          <p:grpSpPr>
            <a:xfrm>
              <a:off x="7191542" y="1"/>
              <a:ext cx="5000459" cy="1425992"/>
              <a:chOff x="7186272" y="0"/>
              <a:chExt cx="5005729" cy="1427495"/>
            </a:xfrm>
          </p:grpSpPr>
          <p:sp>
            <p:nvSpPr>
              <p:cNvPr id="8291" name="Google Shape;8291;p10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92" name="Google Shape;8292;p10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93" name="Google Shape;8293;p10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itle and Content">
  <p:cSld name="Title and Content 14 2">
    <p:spTree>
      <p:nvGrpSpPr>
        <p:cNvPr id="1" name="Shape 8294"/>
        <p:cNvGrpSpPr/>
        <p:nvPr/>
      </p:nvGrpSpPr>
      <p:grpSpPr>
        <a:xfrm>
          <a:off x="0" y="0"/>
          <a:ext cx="0" cy="0"/>
          <a:chOff x="0" y="0"/>
          <a:chExt cx="0" cy="0"/>
        </a:xfrm>
      </p:grpSpPr>
      <p:grpSp>
        <p:nvGrpSpPr>
          <p:cNvPr id="8295" name="Google Shape;8295;p1015"/>
          <p:cNvGrpSpPr/>
          <p:nvPr/>
        </p:nvGrpSpPr>
        <p:grpSpPr>
          <a:xfrm>
            <a:off x="7191542" y="1"/>
            <a:ext cx="5000459" cy="1425992"/>
            <a:chOff x="7191542" y="1"/>
            <a:chExt cx="5000459" cy="1425992"/>
          </a:xfrm>
        </p:grpSpPr>
        <p:pic>
          <p:nvPicPr>
            <p:cNvPr id="8296" name="Google Shape;8296;p10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97" name="Google Shape;8297;p1015"/>
            <p:cNvGrpSpPr/>
            <p:nvPr/>
          </p:nvGrpSpPr>
          <p:grpSpPr>
            <a:xfrm>
              <a:off x="7191542" y="1"/>
              <a:ext cx="5000459" cy="1425992"/>
              <a:chOff x="7186272" y="0"/>
              <a:chExt cx="5005729" cy="1427495"/>
            </a:xfrm>
          </p:grpSpPr>
          <p:sp>
            <p:nvSpPr>
              <p:cNvPr id="8298" name="Google Shape;8298;p10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99" name="Google Shape;8299;p10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00" name="Google Shape;8300;p10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01" name="Google Shape;8301;p10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02" name="Google Shape;8302;p10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3" name="Google Shape;8303;p10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04" name="Google Shape;8304;p10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Two Content">
  <p:cSld name="Two Content 11 2">
    <p:spTree>
      <p:nvGrpSpPr>
        <p:cNvPr id="1" name="Shape 8305"/>
        <p:cNvGrpSpPr/>
        <p:nvPr/>
      </p:nvGrpSpPr>
      <p:grpSpPr>
        <a:xfrm>
          <a:off x="0" y="0"/>
          <a:ext cx="0" cy="0"/>
          <a:chOff x="0" y="0"/>
          <a:chExt cx="0" cy="0"/>
        </a:xfrm>
      </p:grpSpPr>
      <p:sp>
        <p:nvSpPr>
          <p:cNvPr id="8306" name="Google Shape;8306;p10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07" name="Google Shape;8307;p101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308" name="Google Shape;8308;p1016"/>
          <p:cNvGrpSpPr/>
          <p:nvPr/>
        </p:nvGrpSpPr>
        <p:grpSpPr>
          <a:xfrm>
            <a:off x="7191542" y="1"/>
            <a:ext cx="5000459" cy="1425992"/>
            <a:chOff x="7191542" y="1"/>
            <a:chExt cx="5000459" cy="1425992"/>
          </a:xfrm>
        </p:grpSpPr>
        <p:pic>
          <p:nvPicPr>
            <p:cNvPr id="8309" name="Google Shape;8309;p10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10" name="Google Shape;8310;p1016"/>
            <p:cNvGrpSpPr/>
            <p:nvPr/>
          </p:nvGrpSpPr>
          <p:grpSpPr>
            <a:xfrm>
              <a:off x="7191542" y="1"/>
              <a:ext cx="5000459" cy="1425992"/>
              <a:chOff x="7186272" y="0"/>
              <a:chExt cx="5005729" cy="1427495"/>
            </a:xfrm>
          </p:grpSpPr>
          <p:sp>
            <p:nvSpPr>
              <p:cNvPr id="8311" name="Google Shape;8311;p10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12" name="Google Shape;8312;p10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13" name="Google Shape;8313;p101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14" name="Google Shape;8314;p101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15" name="Google Shape;8315;p10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6" name="Google Shape;8316;p10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Comparison">
  <p:cSld name="Comparison 10 2">
    <p:spTree>
      <p:nvGrpSpPr>
        <p:cNvPr id="1" name="Shape 8317"/>
        <p:cNvGrpSpPr/>
        <p:nvPr/>
      </p:nvGrpSpPr>
      <p:grpSpPr>
        <a:xfrm>
          <a:off x="0" y="0"/>
          <a:ext cx="0" cy="0"/>
          <a:chOff x="0" y="0"/>
          <a:chExt cx="0" cy="0"/>
        </a:xfrm>
      </p:grpSpPr>
      <p:grpSp>
        <p:nvGrpSpPr>
          <p:cNvPr id="8318" name="Google Shape;8318;p1017"/>
          <p:cNvGrpSpPr/>
          <p:nvPr/>
        </p:nvGrpSpPr>
        <p:grpSpPr>
          <a:xfrm>
            <a:off x="7191542" y="1"/>
            <a:ext cx="5000459" cy="1425992"/>
            <a:chOff x="7191542" y="1"/>
            <a:chExt cx="5000459" cy="1425992"/>
          </a:xfrm>
        </p:grpSpPr>
        <p:pic>
          <p:nvPicPr>
            <p:cNvPr id="8319" name="Google Shape;8319;p10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20" name="Google Shape;8320;p1017"/>
            <p:cNvGrpSpPr/>
            <p:nvPr/>
          </p:nvGrpSpPr>
          <p:grpSpPr>
            <a:xfrm>
              <a:off x="7191542" y="1"/>
              <a:ext cx="5000459" cy="1425992"/>
              <a:chOff x="7186272" y="0"/>
              <a:chExt cx="5005729" cy="1427495"/>
            </a:xfrm>
          </p:grpSpPr>
          <p:sp>
            <p:nvSpPr>
              <p:cNvPr id="8321" name="Google Shape;8321;p10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2" name="Google Shape;8322;p10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23" name="Google Shape;8323;p10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24" name="Google Shape;8324;p101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25" name="Google Shape;8325;p101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26" name="Google Shape;8326;p101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27" name="Google Shape;8327;p101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28" name="Google Shape;8328;p10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29" name="Google Shape;8329;p10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30" name="Google Shape;8330;p10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Title Only">
  <p:cSld name="Title Only 10 2">
    <p:spTree>
      <p:nvGrpSpPr>
        <p:cNvPr id="1" name="Shape 8331"/>
        <p:cNvGrpSpPr/>
        <p:nvPr/>
      </p:nvGrpSpPr>
      <p:grpSpPr>
        <a:xfrm>
          <a:off x="0" y="0"/>
          <a:ext cx="0" cy="0"/>
          <a:chOff x="0" y="0"/>
          <a:chExt cx="0" cy="0"/>
        </a:xfrm>
      </p:grpSpPr>
      <p:grpSp>
        <p:nvGrpSpPr>
          <p:cNvPr id="8332" name="Google Shape;8332;p1018"/>
          <p:cNvGrpSpPr/>
          <p:nvPr/>
        </p:nvGrpSpPr>
        <p:grpSpPr>
          <a:xfrm>
            <a:off x="7191542" y="1"/>
            <a:ext cx="5000459" cy="1425992"/>
            <a:chOff x="7191542" y="1"/>
            <a:chExt cx="5000459" cy="1425992"/>
          </a:xfrm>
        </p:grpSpPr>
        <p:pic>
          <p:nvPicPr>
            <p:cNvPr id="8333" name="Google Shape;8333;p10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34" name="Google Shape;8334;p1018"/>
            <p:cNvGrpSpPr/>
            <p:nvPr/>
          </p:nvGrpSpPr>
          <p:grpSpPr>
            <a:xfrm>
              <a:off x="7191542" y="1"/>
              <a:ext cx="5000459" cy="1425992"/>
              <a:chOff x="7186272" y="0"/>
              <a:chExt cx="5005729" cy="1427495"/>
            </a:xfrm>
          </p:grpSpPr>
          <p:sp>
            <p:nvSpPr>
              <p:cNvPr id="8335" name="Google Shape;8335;p10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36" name="Google Shape;8336;p10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337" name="Google Shape;8337;p10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38" name="Google Shape;8338;p10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39" name="Google Shape;8339;p10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40" name="Google Shape;8340;p10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End">
  <p:cSld name="End 11 2">
    <p:spTree>
      <p:nvGrpSpPr>
        <p:cNvPr id="1" name="Shape 8341"/>
        <p:cNvGrpSpPr/>
        <p:nvPr/>
      </p:nvGrpSpPr>
      <p:grpSpPr>
        <a:xfrm>
          <a:off x="0" y="0"/>
          <a:ext cx="0" cy="0"/>
          <a:chOff x="0" y="0"/>
          <a:chExt cx="0" cy="0"/>
        </a:xfrm>
      </p:grpSpPr>
      <p:grpSp>
        <p:nvGrpSpPr>
          <p:cNvPr id="8342" name="Google Shape;8342;p1019"/>
          <p:cNvGrpSpPr/>
          <p:nvPr/>
        </p:nvGrpSpPr>
        <p:grpSpPr>
          <a:xfrm>
            <a:off x="0" y="0"/>
            <a:ext cx="12192000" cy="2148830"/>
            <a:chOff x="0" y="0"/>
            <a:chExt cx="12192000" cy="2148830"/>
          </a:xfrm>
        </p:grpSpPr>
        <p:sp>
          <p:nvSpPr>
            <p:cNvPr id="8343" name="Google Shape;8343;p101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44" name="Google Shape;8344;p101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345" name="Google Shape;8345;p101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6" name="Google Shape;8346;p101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47" name="Google Shape;8347;p101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348" name="Google Shape;8348;p101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349" name="Google Shape;8349;p101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71"/>
        <p:cNvGrpSpPr/>
        <p:nvPr/>
      </p:nvGrpSpPr>
      <p:grpSpPr>
        <a:xfrm>
          <a:off x="0" y="0"/>
          <a:ext cx="0" cy="0"/>
          <a:chOff x="0" y="0"/>
          <a:chExt cx="0" cy="0"/>
        </a:xfrm>
      </p:grpSpPr>
      <p:grpSp>
        <p:nvGrpSpPr>
          <p:cNvPr id="872" name="Google Shape;872;p139"/>
          <p:cNvGrpSpPr/>
          <p:nvPr/>
        </p:nvGrpSpPr>
        <p:grpSpPr>
          <a:xfrm>
            <a:off x="7191542" y="1"/>
            <a:ext cx="5000459" cy="1425992"/>
            <a:chOff x="7191542" y="1"/>
            <a:chExt cx="5000459" cy="1425992"/>
          </a:xfrm>
        </p:grpSpPr>
        <p:pic>
          <p:nvPicPr>
            <p:cNvPr id="873" name="Google Shape;873;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 name="Google Shape;874;p139"/>
            <p:cNvGrpSpPr/>
            <p:nvPr/>
          </p:nvGrpSpPr>
          <p:grpSpPr>
            <a:xfrm>
              <a:off x="7191542" y="1"/>
              <a:ext cx="5000459" cy="1425992"/>
              <a:chOff x="7186272" y="0"/>
              <a:chExt cx="5005729" cy="1427495"/>
            </a:xfrm>
          </p:grpSpPr>
          <p:sp>
            <p:nvSpPr>
              <p:cNvPr id="875" name="Google Shape;875;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6" name="Google Shape;876;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7" name="Google Shape;877;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 name="Google Shape;879;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 name="Google Shape;880;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1" name="Google Shape;881;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Blank">
  <p:cSld name="Blank 9 2">
    <p:spTree>
      <p:nvGrpSpPr>
        <p:cNvPr id="1" name="Shape 8350"/>
        <p:cNvGrpSpPr/>
        <p:nvPr/>
      </p:nvGrpSpPr>
      <p:grpSpPr>
        <a:xfrm>
          <a:off x="0" y="0"/>
          <a:ext cx="0" cy="0"/>
          <a:chOff x="0" y="0"/>
          <a:chExt cx="0" cy="0"/>
        </a:xfrm>
      </p:grpSpPr>
      <p:sp>
        <p:nvSpPr>
          <p:cNvPr id="8351" name="Google Shape;8351;p10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52" name="Google Shape;8352;p10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53" name="Google Shape;8353;p10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354" name="Google Shape;8354;p1020"/>
          <p:cNvGrpSpPr/>
          <p:nvPr/>
        </p:nvGrpSpPr>
        <p:grpSpPr>
          <a:xfrm>
            <a:off x="7191542" y="1"/>
            <a:ext cx="5000459" cy="1425992"/>
            <a:chOff x="7191542" y="1"/>
            <a:chExt cx="5000459" cy="1425992"/>
          </a:xfrm>
        </p:grpSpPr>
        <p:pic>
          <p:nvPicPr>
            <p:cNvPr id="8355" name="Google Shape;8355;p10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56" name="Google Shape;8356;p1020"/>
            <p:cNvGrpSpPr/>
            <p:nvPr/>
          </p:nvGrpSpPr>
          <p:grpSpPr>
            <a:xfrm>
              <a:off x="7191542" y="1"/>
              <a:ext cx="5000459" cy="1425992"/>
              <a:chOff x="7186272" y="0"/>
              <a:chExt cx="5005729" cy="1427495"/>
            </a:xfrm>
          </p:grpSpPr>
          <p:sp>
            <p:nvSpPr>
              <p:cNvPr id="8357" name="Google Shape;8357;p10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58" name="Google Shape;8358;p10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8359"/>
        <p:cNvGrpSpPr/>
        <p:nvPr/>
      </p:nvGrpSpPr>
      <p:grpSpPr>
        <a:xfrm>
          <a:off x="0" y="0"/>
          <a:ext cx="0" cy="0"/>
          <a:chOff x="0" y="0"/>
          <a:chExt cx="0" cy="0"/>
        </a:xfrm>
      </p:grpSpPr>
      <p:sp>
        <p:nvSpPr>
          <p:cNvPr id="8360" name="Google Shape;8360;p1021"/>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61" name="Google Shape;8361;p1021"/>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362" name="Google Shape;8362;p1021"/>
          <p:cNvGrpSpPr/>
          <p:nvPr/>
        </p:nvGrpSpPr>
        <p:grpSpPr>
          <a:xfrm>
            <a:off x="0" y="0"/>
            <a:ext cx="1862667" cy="6629400"/>
            <a:chOff x="-15876" y="0"/>
            <a:chExt cx="1927803" cy="6858000"/>
          </a:xfrm>
        </p:grpSpPr>
        <p:sp>
          <p:nvSpPr>
            <p:cNvPr id="8363" name="Google Shape;8363;p1021"/>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64" name="Google Shape;8364;p1021"/>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365" name="Google Shape;8365;p1021"/>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366" name="Google Shape;8366;p1021"/>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7" name="Google Shape;8367;p1021"/>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68" name="Google Shape;8368;p1021"/>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3">
    <p:spTree>
      <p:nvGrpSpPr>
        <p:cNvPr id="1" name="Shape 8369"/>
        <p:cNvGrpSpPr/>
        <p:nvPr/>
      </p:nvGrpSpPr>
      <p:grpSpPr>
        <a:xfrm>
          <a:off x="0" y="0"/>
          <a:ext cx="0" cy="0"/>
          <a:chOff x="0" y="0"/>
          <a:chExt cx="0" cy="0"/>
        </a:xfrm>
      </p:grpSpPr>
      <p:sp>
        <p:nvSpPr>
          <p:cNvPr id="8370" name="Google Shape;8370;p102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71" name="Google Shape;8371;p1022"/>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372" name="Google Shape;8372;p1022"/>
          <p:cNvGrpSpPr/>
          <p:nvPr/>
        </p:nvGrpSpPr>
        <p:grpSpPr>
          <a:xfrm>
            <a:off x="0" y="0"/>
            <a:ext cx="1862667" cy="6629400"/>
            <a:chOff x="-15876" y="0"/>
            <a:chExt cx="1927803" cy="6858000"/>
          </a:xfrm>
        </p:grpSpPr>
        <p:sp>
          <p:nvSpPr>
            <p:cNvPr id="8373" name="Google Shape;8373;p102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74" name="Google Shape;8374;p1022"/>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375" name="Google Shape;8375;p102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376" name="Google Shape;8376;p102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77" name="Google Shape;8377;p102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8" name="Google Shape;8378;p102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4">
    <p:spTree>
      <p:nvGrpSpPr>
        <p:cNvPr id="1" name="Shape 8379"/>
        <p:cNvGrpSpPr/>
        <p:nvPr/>
      </p:nvGrpSpPr>
      <p:grpSpPr>
        <a:xfrm>
          <a:off x="0" y="0"/>
          <a:ext cx="0" cy="0"/>
          <a:chOff x="0" y="0"/>
          <a:chExt cx="0" cy="0"/>
        </a:xfrm>
      </p:grpSpPr>
      <p:sp>
        <p:nvSpPr>
          <p:cNvPr id="8380" name="Google Shape;8380;p102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81" name="Google Shape;8381;p102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382" name="Google Shape;8382;p1023"/>
          <p:cNvGrpSpPr/>
          <p:nvPr/>
        </p:nvGrpSpPr>
        <p:grpSpPr>
          <a:xfrm>
            <a:off x="0" y="0"/>
            <a:ext cx="1862667" cy="6629400"/>
            <a:chOff x="-15876" y="0"/>
            <a:chExt cx="1927803" cy="6858000"/>
          </a:xfrm>
        </p:grpSpPr>
        <p:sp>
          <p:nvSpPr>
            <p:cNvPr id="8383" name="Google Shape;8383;p102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384" name="Google Shape;8384;p1023"/>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385" name="Google Shape;8385;p102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386" name="Google Shape;8386;p102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87" name="Google Shape;8387;p102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88" name="Google Shape;8388;p102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8389"/>
        <p:cNvGrpSpPr/>
        <p:nvPr/>
      </p:nvGrpSpPr>
      <p:grpSpPr>
        <a:xfrm>
          <a:off x="0" y="0"/>
          <a:ext cx="0" cy="0"/>
          <a:chOff x="0" y="0"/>
          <a:chExt cx="0" cy="0"/>
        </a:xfrm>
      </p:grpSpPr>
      <p:sp>
        <p:nvSpPr>
          <p:cNvPr id="8390" name="Google Shape;8390;p102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391" name="Google Shape;8391;p102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92" name="Google Shape;8392;p102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3" name="Google Shape;8393;p102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4" name="Google Shape;8394;p10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395" name="Google Shape;8395;p102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8396"/>
        <p:cNvGrpSpPr/>
        <p:nvPr/>
      </p:nvGrpSpPr>
      <p:grpSpPr>
        <a:xfrm>
          <a:off x="0" y="0"/>
          <a:ext cx="0" cy="0"/>
          <a:chOff x="0" y="0"/>
          <a:chExt cx="0" cy="0"/>
        </a:xfrm>
      </p:grpSpPr>
      <p:sp>
        <p:nvSpPr>
          <p:cNvPr id="8397" name="Google Shape;8397;p130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98" name="Google Shape;8398;p130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99" name="Google Shape;8399;p13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400" name="Google Shape;8400;p13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401" name="Google Shape;8401;p13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402" name="Google Shape;8402;p130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03" name="Google Shape;8403;p130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04" name="Google Shape;8404;p130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05" name="Google Shape;8405;p130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2">
    <p:spTree>
      <p:nvGrpSpPr>
        <p:cNvPr id="1" name="Shape 8406"/>
        <p:cNvGrpSpPr/>
        <p:nvPr/>
      </p:nvGrpSpPr>
      <p:grpSpPr>
        <a:xfrm>
          <a:off x="0" y="0"/>
          <a:ext cx="0" cy="0"/>
          <a:chOff x="0" y="0"/>
          <a:chExt cx="0" cy="0"/>
        </a:xfrm>
      </p:grpSpPr>
      <p:sp>
        <p:nvSpPr>
          <p:cNvPr id="8407" name="Google Shape;8407;p130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08" name="Google Shape;8408;p1302"/>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409" name="Google Shape;8409;p1302"/>
          <p:cNvGrpSpPr/>
          <p:nvPr/>
        </p:nvGrpSpPr>
        <p:grpSpPr>
          <a:xfrm>
            <a:off x="0" y="0"/>
            <a:ext cx="1862667" cy="6629400"/>
            <a:chOff x="-15876" y="0"/>
            <a:chExt cx="1927803" cy="6858000"/>
          </a:xfrm>
        </p:grpSpPr>
        <p:sp>
          <p:nvSpPr>
            <p:cNvPr id="8410" name="Google Shape;8410;p130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11" name="Google Shape;8411;p1302"/>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412" name="Google Shape;8412;p130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13" name="Google Shape;8413;p130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14" name="Google Shape;8414;p130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15" name="Google Shape;8415;p130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8416"/>
        <p:cNvGrpSpPr/>
        <p:nvPr/>
      </p:nvGrpSpPr>
      <p:grpSpPr>
        <a:xfrm>
          <a:off x="0" y="0"/>
          <a:ext cx="0" cy="0"/>
          <a:chOff x="0" y="0"/>
          <a:chExt cx="0" cy="0"/>
        </a:xfrm>
      </p:grpSpPr>
      <p:sp>
        <p:nvSpPr>
          <p:cNvPr id="8417" name="Google Shape;8417;p102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18" name="Google Shape;8418;p102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19" name="Google Shape;8419;p102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0" name="Google Shape;8420;p102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1" name="Google Shape;8421;p10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22" name="Google Shape;8422;p102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2">
    <p:spTree>
      <p:nvGrpSpPr>
        <p:cNvPr id="1" name="Shape 8423"/>
        <p:cNvGrpSpPr/>
        <p:nvPr/>
      </p:nvGrpSpPr>
      <p:grpSpPr>
        <a:xfrm>
          <a:off x="0" y="0"/>
          <a:ext cx="0" cy="0"/>
          <a:chOff x="0" y="0"/>
          <a:chExt cx="0" cy="0"/>
        </a:xfrm>
      </p:grpSpPr>
      <p:sp>
        <p:nvSpPr>
          <p:cNvPr id="8424" name="Google Shape;8424;p13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5" name="Google Shape;8425;p13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26" name="Google Shape;8426;p1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427" name="Google Shape;8427;p1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428" name="Google Shape;8428;p1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429" name="Google Shape;8429;p13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30" name="Google Shape;8430;p13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31" name="Google Shape;8431;p13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32" name="Google Shape;8432;p13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3">
    <p:spTree>
      <p:nvGrpSpPr>
        <p:cNvPr id="1" name="Shape 8433"/>
        <p:cNvGrpSpPr/>
        <p:nvPr/>
      </p:nvGrpSpPr>
      <p:grpSpPr>
        <a:xfrm>
          <a:off x="0" y="0"/>
          <a:ext cx="0" cy="0"/>
          <a:chOff x="0" y="0"/>
          <a:chExt cx="0" cy="0"/>
        </a:xfrm>
      </p:grpSpPr>
      <p:sp>
        <p:nvSpPr>
          <p:cNvPr id="8434" name="Google Shape;8434;p130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35" name="Google Shape;8435;p130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436" name="Google Shape;8436;p1304"/>
          <p:cNvGrpSpPr/>
          <p:nvPr/>
        </p:nvGrpSpPr>
        <p:grpSpPr>
          <a:xfrm>
            <a:off x="0" y="0"/>
            <a:ext cx="1862667" cy="6629400"/>
            <a:chOff x="-15876" y="0"/>
            <a:chExt cx="1927803" cy="6858000"/>
          </a:xfrm>
        </p:grpSpPr>
        <p:sp>
          <p:nvSpPr>
            <p:cNvPr id="8437" name="Google Shape;8437;p130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38" name="Google Shape;8438;p1304"/>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439" name="Google Shape;8439;p130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40" name="Google Shape;8440;p130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41" name="Google Shape;8441;p130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42" name="Google Shape;8442;p130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82"/>
        <p:cNvGrpSpPr/>
        <p:nvPr/>
      </p:nvGrpSpPr>
      <p:grpSpPr>
        <a:xfrm>
          <a:off x="0" y="0"/>
          <a:ext cx="0" cy="0"/>
          <a:chOff x="0" y="0"/>
          <a:chExt cx="0" cy="0"/>
        </a:xfrm>
      </p:grpSpPr>
      <p:sp>
        <p:nvSpPr>
          <p:cNvPr id="883" name="Google Shape;883;p1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4" name="Google Shape;884;p14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85" name="Google Shape;885;p140"/>
          <p:cNvGrpSpPr/>
          <p:nvPr/>
        </p:nvGrpSpPr>
        <p:grpSpPr>
          <a:xfrm>
            <a:off x="7191542" y="1"/>
            <a:ext cx="5000459" cy="1425992"/>
            <a:chOff x="7191542" y="1"/>
            <a:chExt cx="5000459" cy="1425992"/>
          </a:xfrm>
        </p:grpSpPr>
        <p:pic>
          <p:nvPicPr>
            <p:cNvPr id="886" name="Google Shape;886;p1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7" name="Google Shape;887;p140"/>
            <p:cNvGrpSpPr/>
            <p:nvPr/>
          </p:nvGrpSpPr>
          <p:grpSpPr>
            <a:xfrm>
              <a:off x="7191542" y="1"/>
              <a:ext cx="5000459" cy="1425992"/>
              <a:chOff x="7186272" y="0"/>
              <a:chExt cx="5005729" cy="1427495"/>
            </a:xfrm>
          </p:grpSpPr>
          <p:sp>
            <p:nvSpPr>
              <p:cNvPr id="888" name="Google Shape;888;p1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9" name="Google Shape;889;p1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0" name="Google Shape;890;p14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 name="Google Shape;891;p14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2" name="Google Shape;892;p1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3" name="Google Shape;893;p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2">
    <p:spTree>
      <p:nvGrpSpPr>
        <p:cNvPr id="1" name="Shape 8443"/>
        <p:cNvGrpSpPr/>
        <p:nvPr/>
      </p:nvGrpSpPr>
      <p:grpSpPr>
        <a:xfrm>
          <a:off x="0" y="0"/>
          <a:ext cx="0" cy="0"/>
          <a:chOff x="0" y="0"/>
          <a:chExt cx="0" cy="0"/>
        </a:xfrm>
      </p:grpSpPr>
      <p:sp>
        <p:nvSpPr>
          <p:cNvPr id="8444" name="Google Shape;8444;p130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45" name="Google Shape;8445;p130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46" name="Google Shape;8446;p130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47" name="Google Shape;8447;p130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48" name="Google Shape;8448;p13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49" name="Google Shape;8449;p130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8450"/>
        <p:cNvGrpSpPr/>
        <p:nvPr/>
      </p:nvGrpSpPr>
      <p:grpSpPr>
        <a:xfrm>
          <a:off x="0" y="0"/>
          <a:ext cx="0" cy="0"/>
          <a:chOff x="0" y="0"/>
          <a:chExt cx="0" cy="0"/>
        </a:xfrm>
      </p:grpSpPr>
      <p:sp>
        <p:nvSpPr>
          <p:cNvPr id="8451" name="Google Shape;8451;p130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52" name="Google Shape;8452;p130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53" name="Google Shape;8453;p13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454" name="Google Shape;8454;p1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455" name="Google Shape;8455;p1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456" name="Google Shape;8456;p130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57" name="Google Shape;8457;p130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58" name="Google Shape;8458;p130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59" name="Google Shape;8459;p130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8460"/>
        <p:cNvGrpSpPr/>
        <p:nvPr/>
      </p:nvGrpSpPr>
      <p:grpSpPr>
        <a:xfrm>
          <a:off x="0" y="0"/>
          <a:ext cx="0" cy="0"/>
          <a:chOff x="0" y="0"/>
          <a:chExt cx="0" cy="0"/>
        </a:xfrm>
      </p:grpSpPr>
      <p:sp>
        <p:nvSpPr>
          <p:cNvPr id="8461" name="Google Shape;8461;p130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62" name="Google Shape;8462;p130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8463" name="Google Shape;8463;p130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8464" name="Google Shape;8464;p130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465" name="Google Shape;8465;p130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8466"/>
        <p:cNvGrpSpPr/>
        <p:nvPr/>
      </p:nvGrpSpPr>
      <p:grpSpPr>
        <a:xfrm>
          <a:off x="0" y="0"/>
          <a:ext cx="0" cy="0"/>
          <a:chOff x="0" y="0"/>
          <a:chExt cx="0" cy="0"/>
        </a:xfrm>
      </p:grpSpPr>
      <p:sp>
        <p:nvSpPr>
          <p:cNvPr id="8467" name="Google Shape;8467;p13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8468" name="Google Shape;8468;p130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469" name="Google Shape;8469;p13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8470" name="Google Shape;8470;p130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71" name="Google Shape;8471;p130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8472"/>
        <p:cNvGrpSpPr/>
        <p:nvPr/>
      </p:nvGrpSpPr>
      <p:grpSpPr>
        <a:xfrm>
          <a:off x="0" y="0"/>
          <a:ext cx="0" cy="0"/>
          <a:chOff x="0" y="0"/>
          <a:chExt cx="0" cy="0"/>
        </a:xfrm>
      </p:grpSpPr>
      <p:sp>
        <p:nvSpPr>
          <p:cNvPr id="8473" name="Google Shape;8473;p13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8474" name="Google Shape;8474;p13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8475" name="Google Shape;8475;p130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6" name="Google Shape;8476;p130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77" name="Google Shape;8477;p130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478" name="Google Shape;8478;p130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4">
    <p:spTree>
      <p:nvGrpSpPr>
        <p:cNvPr id="1" name="Shape 8479"/>
        <p:cNvGrpSpPr/>
        <p:nvPr/>
      </p:nvGrpSpPr>
      <p:grpSpPr>
        <a:xfrm>
          <a:off x="0" y="0"/>
          <a:ext cx="0" cy="0"/>
          <a:chOff x="0" y="0"/>
          <a:chExt cx="0" cy="0"/>
        </a:xfrm>
      </p:grpSpPr>
      <p:sp>
        <p:nvSpPr>
          <p:cNvPr id="8480" name="Google Shape;8480;p1035"/>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81" name="Google Shape;8481;p1035"/>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482" name="Google Shape;8482;p1035"/>
          <p:cNvGrpSpPr/>
          <p:nvPr/>
        </p:nvGrpSpPr>
        <p:grpSpPr>
          <a:xfrm>
            <a:off x="0" y="0"/>
            <a:ext cx="1862667" cy="6629400"/>
            <a:chOff x="-15876" y="0"/>
            <a:chExt cx="1927803" cy="6858000"/>
          </a:xfrm>
        </p:grpSpPr>
        <p:sp>
          <p:nvSpPr>
            <p:cNvPr id="8483" name="Google Shape;8483;p1035"/>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484" name="Google Shape;8484;p1035"/>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485" name="Google Shape;8485;p1035"/>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486" name="Google Shape;8486;p1035"/>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87" name="Google Shape;8487;p1035"/>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88" name="Google Shape;8488;p1035"/>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3">
    <p:spTree>
      <p:nvGrpSpPr>
        <p:cNvPr id="1" name="Shape 8489"/>
        <p:cNvGrpSpPr/>
        <p:nvPr/>
      </p:nvGrpSpPr>
      <p:grpSpPr>
        <a:xfrm>
          <a:off x="0" y="0"/>
          <a:ext cx="0" cy="0"/>
          <a:chOff x="0" y="0"/>
          <a:chExt cx="0" cy="0"/>
        </a:xfrm>
      </p:grpSpPr>
      <p:sp>
        <p:nvSpPr>
          <p:cNvPr id="8490" name="Google Shape;8490;p103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491" name="Google Shape;8491;p103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92" name="Google Shape;8492;p1036"/>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3" name="Google Shape;8493;p1036"/>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4" name="Google Shape;8494;p10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chemeClr val="lt1"/>
              </a:buClr>
              <a:buSzPts val="1467"/>
              <a:buFont typeface="Calibri"/>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495" name="Google Shape;8495;p103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2">
    <p:spTree>
      <p:nvGrpSpPr>
        <p:cNvPr id="1" name="Shape 8496"/>
        <p:cNvGrpSpPr/>
        <p:nvPr/>
      </p:nvGrpSpPr>
      <p:grpSpPr>
        <a:xfrm>
          <a:off x="0" y="0"/>
          <a:ext cx="0" cy="0"/>
          <a:chOff x="0" y="0"/>
          <a:chExt cx="0" cy="0"/>
        </a:xfrm>
      </p:grpSpPr>
      <p:sp>
        <p:nvSpPr>
          <p:cNvPr id="8497" name="Google Shape;8497;p103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98" name="Google Shape;8498;p103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99" name="Google Shape;8499;p10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500" name="Google Shape;8500;p10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501" name="Google Shape;8501;p10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502" name="Google Shape;8502;p103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503" name="Google Shape;8503;p103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504" name="Google Shape;8504;p103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505" name="Google Shape;8505;p103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5">
    <p:spTree>
      <p:nvGrpSpPr>
        <p:cNvPr id="1" name="Shape 8506"/>
        <p:cNvGrpSpPr/>
        <p:nvPr/>
      </p:nvGrpSpPr>
      <p:grpSpPr>
        <a:xfrm>
          <a:off x="0" y="0"/>
          <a:ext cx="0" cy="0"/>
          <a:chOff x="0" y="0"/>
          <a:chExt cx="0" cy="0"/>
        </a:xfrm>
      </p:grpSpPr>
      <p:sp>
        <p:nvSpPr>
          <p:cNvPr id="8507" name="Google Shape;8507;p1038"/>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508" name="Google Shape;8508;p1038"/>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8509" name="Google Shape;8509;p1038"/>
          <p:cNvGrpSpPr/>
          <p:nvPr/>
        </p:nvGrpSpPr>
        <p:grpSpPr>
          <a:xfrm>
            <a:off x="0" y="0"/>
            <a:ext cx="1862667" cy="6629400"/>
            <a:chOff x="-15876" y="0"/>
            <a:chExt cx="1927803" cy="6858000"/>
          </a:xfrm>
        </p:grpSpPr>
        <p:sp>
          <p:nvSpPr>
            <p:cNvPr id="8510" name="Google Shape;8510;p103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8511" name="Google Shape;8511;p1038"/>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8512" name="Google Shape;8512;p1038"/>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513" name="Google Shape;8513;p1038"/>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14" name="Google Shape;8514;p103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5" name="Google Shape;8515;p103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3">
    <p:spTree>
      <p:nvGrpSpPr>
        <p:cNvPr id="1" name="Shape 8516"/>
        <p:cNvGrpSpPr/>
        <p:nvPr/>
      </p:nvGrpSpPr>
      <p:grpSpPr>
        <a:xfrm>
          <a:off x="0" y="0"/>
          <a:ext cx="0" cy="0"/>
          <a:chOff x="0" y="0"/>
          <a:chExt cx="0" cy="0"/>
        </a:xfrm>
      </p:grpSpPr>
      <p:sp>
        <p:nvSpPr>
          <p:cNvPr id="8517" name="Google Shape;8517;p10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8" name="Google Shape;8518;p10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19" name="Google Shape;8519;p10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520" name="Google Shape;8520;p10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521" name="Google Shape;8521;p10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8522" name="Google Shape;8522;p10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523" name="Google Shape;8523;p10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8524" name="Google Shape;8524;p10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8525" name="Google Shape;8525;p10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894"/>
        <p:cNvGrpSpPr/>
        <p:nvPr/>
      </p:nvGrpSpPr>
      <p:grpSpPr>
        <a:xfrm>
          <a:off x="0" y="0"/>
          <a:ext cx="0" cy="0"/>
          <a:chOff x="0" y="0"/>
          <a:chExt cx="0" cy="0"/>
        </a:xfrm>
      </p:grpSpPr>
      <p:grpSp>
        <p:nvGrpSpPr>
          <p:cNvPr id="895" name="Google Shape;895;p141"/>
          <p:cNvGrpSpPr/>
          <p:nvPr/>
        </p:nvGrpSpPr>
        <p:grpSpPr>
          <a:xfrm>
            <a:off x="7191542" y="1"/>
            <a:ext cx="5000459" cy="1425992"/>
            <a:chOff x="7191542" y="1"/>
            <a:chExt cx="5000459" cy="1425992"/>
          </a:xfrm>
        </p:grpSpPr>
        <p:pic>
          <p:nvPicPr>
            <p:cNvPr id="896" name="Google Shape;896;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 name="Google Shape;897;p141"/>
            <p:cNvGrpSpPr/>
            <p:nvPr/>
          </p:nvGrpSpPr>
          <p:grpSpPr>
            <a:xfrm>
              <a:off x="7191542" y="1"/>
              <a:ext cx="5000459" cy="1425992"/>
              <a:chOff x="7186272" y="0"/>
              <a:chExt cx="5005729" cy="1427495"/>
            </a:xfrm>
          </p:grpSpPr>
          <p:sp>
            <p:nvSpPr>
              <p:cNvPr id="898" name="Google Shape;898;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9" name="Google Shape;899;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0" name="Google Shape;900;p1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1" name="Google Shape;901;p14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2" name="Google Shape;902;p14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3" name="Google Shape;903;p1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04" name="Google Shape;904;p1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5" name="Google Shape;905;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6" name="Google Shape;906;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 name="Google Shape;907;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8526"/>
        <p:cNvGrpSpPr/>
        <p:nvPr/>
      </p:nvGrpSpPr>
      <p:grpSpPr>
        <a:xfrm>
          <a:off x="0" y="0"/>
          <a:ext cx="0" cy="0"/>
          <a:chOff x="0" y="0"/>
          <a:chExt cx="0" cy="0"/>
        </a:xfrm>
      </p:grpSpPr>
      <p:sp>
        <p:nvSpPr>
          <p:cNvPr id="8527" name="Google Shape;8527;p1040"/>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28" name="Google Shape;8528;p1040"/>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8529" name="Google Shape;8529;p10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530" name="Google Shape;8530;p10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531" name="Google Shape;8531;p10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8532"/>
        <p:cNvGrpSpPr/>
        <p:nvPr/>
      </p:nvGrpSpPr>
      <p:grpSpPr>
        <a:xfrm>
          <a:off x="0" y="0"/>
          <a:ext cx="0" cy="0"/>
          <a:chOff x="0" y="0"/>
          <a:chExt cx="0" cy="0"/>
        </a:xfrm>
      </p:grpSpPr>
      <p:sp>
        <p:nvSpPr>
          <p:cNvPr id="8533" name="Google Shape;8533;p1041"/>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4" name="Google Shape;8534;p1041"/>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8535" name="Google Shape;8535;p1041"/>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8536" name="Google Shape;8536;p104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8537" name="Google Shape;8537;p10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8538" name="Google Shape;8538;p10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8539"/>
        <p:cNvGrpSpPr/>
        <p:nvPr/>
      </p:nvGrpSpPr>
      <p:grpSpPr>
        <a:xfrm>
          <a:off x="0" y="0"/>
          <a:ext cx="0" cy="0"/>
          <a:chOff x="0" y="0"/>
          <a:chExt cx="0" cy="0"/>
        </a:xfrm>
      </p:grpSpPr>
      <p:sp>
        <p:nvSpPr>
          <p:cNvPr id="8540" name="Google Shape;8540;p10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41" name="Google Shape;8541;p10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42" name="Google Shape;8542;p104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3" name="Google Shape;8543;p10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44" name="Google Shape;8544;p10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45" name="Google Shape;8545;p104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46" name="Google Shape;8546;p104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47" name="Google Shape;8547;p104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48" name="Google Shape;8548;p104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8549"/>
        <p:cNvGrpSpPr/>
        <p:nvPr/>
      </p:nvGrpSpPr>
      <p:grpSpPr>
        <a:xfrm>
          <a:off x="0" y="0"/>
          <a:ext cx="0" cy="0"/>
          <a:chOff x="0" y="0"/>
          <a:chExt cx="0" cy="0"/>
        </a:xfrm>
      </p:grpSpPr>
      <p:sp>
        <p:nvSpPr>
          <p:cNvPr id="8550" name="Google Shape;8550;p10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51" name="Google Shape;8551;p10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52" name="Google Shape;8552;p10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53" name="Google Shape;8553;p10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4" name="Google Shape;8554;p10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55" name="Google Shape;8555;p10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556" name="Google Shape;8556;p1043"/>
          <p:cNvGrpSpPr/>
          <p:nvPr/>
        </p:nvGrpSpPr>
        <p:grpSpPr>
          <a:xfrm>
            <a:off x="7191542" y="1"/>
            <a:ext cx="5000459" cy="1425992"/>
            <a:chOff x="7191542" y="1"/>
            <a:chExt cx="5000459" cy="1425992"/>
          </a:xfrm>
        </p:grpSpPr>
        <p:pic>
          <p:nvPicPr>
            <p:cNvPr id="8557" name="Google Shape;8557;p10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58" name="Google Shape;8558;p1043"/>
            <p:cNvGrpSpPr/>
            <p:nvPr/>
          </p:nvGrpSpPr>
          <p:grpSpPr>
            <a:xfrm>
              <a:off x="7191542" y="1"/>
              <a:ext cx="5000459" cy="1425992"/>
              <a:chOff x="7186272" y="0"/>
              <a:chExt cx="5005729" cy="1427495"/>
            </a:xfrm>
          </p:grpSpPr>
          <p:sp>
            <p:nvSpPr>
              <p:cNvPr id="8559" name="Google Shape;8559;p10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60" name="Google Shape;8560;p10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561" name="Google Shape;8561;p10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8562"/>
        <p:cNvGrpSpPr/>
        <p:nvPr/>
      </p:nvGrpSpPr>
      <p:grpSpPr>
        <a:xfrm>
          <a:off x="0" y="0"/>
          <a:ext cx="0" cy="0"/>
          <a:chOff x="0" y="0"/>
          <a:chExt cx="0" cy="0"/>
        </a:xfrm>
      </p:grpSpPr>
      <p:sp>
        <p:nvSpPr>
          <p:cNvPr id="8563" name="Google Shape;8563;p104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64" name="Google Shape;8564;p104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65" name="Google Shape;8565;p1044"/>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66" name="Google Shape;8566;p104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67" name="Google Shape;8567;p104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68" name="Google Shape;8568;p1044"/>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69" name="Google Shape;8569;p1044"/>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70" name="Google Shape;8570;p1044"/>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71" name="Google Shape;8571;p1044"/>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8572"/>
        <p:cNvGrpSpPr/>
        <p:nvPr/>
      </p:nvGrpSpPr>
      <p:grpSpPr>
        <a:xfrm>
          <a:off x="0" y="0"/>
          <a:ext cx="0" cy="0"/>
          <a:chOff x="0" y="0"/>
          <a:chExt cx="0" cy="0"/>
        </a:xfrm>
      </p:grpSpPr>
      <p:sp>
        <p:nvSpPr>
          <p:cNvPr id="8573" name="Google Shape;8573;p10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74" name="Google Shape;8574;p10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75" name="Google Shape;8575;p10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76" name="Google Shape;8576;p10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77" name="Google Shape;8577;p10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78" name="Google Shape;8578;p10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579" name="Google Shape;8579;p1045"/>
          <p:cNvGrpSpPr/>
          <p:nvPr/>
        </p:nvGrpSpPr>
        <p:grpSpPr>
          <a:xfrm>
            <a:off x="7191542" y="1"/>
            <a:ext cx="5000459" cy="1425992"/>
            <a:chOff x="7191542" y="1"/>
            <a:chExt cx="5000459" cy="1425992"/>
          </a:xfrm>
        </p:grpSpPr>
        <p:pic>
          <p:nvPicPr>
            <p:cNvPr id="8580" name="Google Shape;8580;p10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81" name="Google Shape;8581;p1045"/>
            <p:cNvGrpSpPr/>
            <p:nvPr/>
          </p:nvGrpSpPr>
          <p:grpSpPr>
            <a:xfrm>
              <a:off x="7191542" y="1"/>
              <a:ext cx="5000459" cy="1425992"/>
              <a:chOff x="7186272" y="0"/>
              <a:chExt cx="5005729" cy="1427495"/>
            </a:xfrm>
          </p:grpSpPr>
          <p:sp>
            <p:nvSpPr>
              <p:cNvPr id="8582" name="Google Shape;8582;p10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83" name="Google Shape;8583;p10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584" name="Google Shape;8584;p10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2">
    <p:spTree>
      <p:nvGrpSpPr>
        <p:cNvPr id="1" name="Shape 8585"/>
        <p:cNvGrpSpPr/>
        <p:nvPr/>
      </p:nvGrpSpPr>
      <p:grpSpPr>
        <a:xfrm>
          <a:off x="0" y="0"/>
          <a:ext cx="0" cy="0"/>
          <a:chOff x="0" y="0"/>
          <a:chExt cx="0" cy="0"/>
        </a:xfrm>
      </p:grpSpPr>
      <p:sp>
        <p:nvSpPr>
          <p:cNvPr id="8586" name="Google Shape;8586;p104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87" name="Google Shape;8587;p104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88" name="Google Shape;8588;p1046"/>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9" name="Google Shape;8589;p104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590" name="Google Shape;8590;p1046"/>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91" name="Google Shape;8591;p1046"/>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592" name="Google Shape;8592;p1046"/>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593" name="Google Shape;8593;p104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594" name="Google Shape;8594;p1046"/>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8595"/>
        <p:cNvGrpSpPr/>
        <p:nvPr/>
      </p:nvGrpSpPr>
      <p:grpSpPr>
        <a:xfrm>
          <a:off x="0" y="0"/>
          <a:ext cx="0" cy="0"/>
          <a:chOff x="0" y="0"/>
          <a:chExt cx="0" cy="0"/>
        </a:xfrm>
      </p:grpSpPr>
      <p:sp>
        <p:nvSpPr>
          <p:cNvPr id="8596" name="Google Shape;8596;p10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7" name="Google Shape;8597;p10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98" name="Google Shape;8598;p10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599" name="Google Shape;8599;p1047"/>
          <p:cNvSpPr>
            <a:spLocks noGrp="1"/>
          </p:cNvSpPr>
          <p:nvPr>
            <p:ph type="pic" idx="2"/>
          </p:nvPr>
        </p:nvSpPr>
        <p:spPr>
          <a:xfrm>
            <a:off x="7118684" y="233915"/>
            <a:ext cx="5073316" cy="5943600"/>
          </a:xfrm>
          <a:prstGeom prst="rect">
            <a:avLst/>
          </a:prstGeom>
          <a:noFill/>
          <a:ln>
            <a:noFill/>
          </a:ln>
        </p:spPr>
      </p:sp>
      <p:grpSp>
        <p:nvGrpSpPr>
          <p:cNvPr id="8600" name="Google Shape;8600;p1047"/>
          <p:cNvGrpSpPr/>
          <p:nvPr/>
        </p:nvGrpSpPr>
        <p:grpSpPr>
          <a:xfrm>
            <a:off x="0" y="5020348"/>
            <a:ext cx="12192000" cy="1837653"/>
            <a:chOff x="0" y="5020348"/>
            <a:chExt cx="12192000" cy="1837653"/>
          </a:xfrm>
        </p:grpSpPr>
        <p:sp>
          <p:nvSpPr>
            <p:cNvPr id="8601" name="Google Shape;8601;p10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02" name="Google Shape;8602;p10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03" name="Google Shape;8603;p10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8604"/>
        <p:cNvGrpSpPr/>
        <p:nvPr/>
      </p:nvGrpSpPr>
      <p:grpSpPr>
        <a:xfrm>
          <a:off x="0" y="0"/>
          <a:ext cx="0" cy="0"/>
          <a:chOff x="0" y="0"/>
          <a:chExt cx="0" cy="0"/>
        </a:xfrm>
      </p:grpSpPr>
      <p:grpSp>
        <p:nvGrpSpPr>
          <p:cNvPr id="8605" name="Google Shape;8605;p1048"/>
          <p:cNvGrpSpPr/>
          <p:nvPr/>
        </p:nvGrpSpPr>
        <p:grpSpPr>
          <a:xfrm>
            <a:off x="0" y="5020347"/>
            <a:ext cx="12192000" cy="1837653"/>
            <a:chOff x="0" y="5020347"/>
            <a:chExt cx="12192000" cy="1837653"/>
          </a:xfrm>
        </p:grpSpPr>
        <p:sp>
          <p:nvSpPr>
            <p:cNvPr id="8606" name="Google Shape;8606;p10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07" name="Google Shape;8607;p10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08" name="Google Shape;8608;p10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09" name="Google Shape;8609;p10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10" name="Google Shape;8610;p10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11" name="Google Shape;8611;p10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8612"/>
        <p:cNvGrpSpPr/>
        <p:nvPr/>
      </p:nvGrpSpPr>
      <p:grpSpPr>
        <a:xfrm>
          <a:off x="0" y="0"/>
          <a:ext cx="0" cy="0"/>
          <a:chOff x="0" y="0"/>
          <a:chExt cx="0" cy="0"/>
        </a:xfrm>
      </p:grpSpPr>
      <p:sp>
        <p:nvSpPr>
          <p:cNvPr id="8613" name="Google Shape;8613;p10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14" name="Google Shape;8614;p10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15" name="Google Shape;8615;p1049"/>
          <p:cNvGrpSpPr/>
          <p:nvPr/>
        </p:nvGrpSpPr>
        <p:grpSpPr>
          <a:xfrm>
            <a:off x="0" y="5379426"/>
            <a:ext cx="2807368" cy="753891"/>
            <a:chOff x="0" y="5379426"/>
            <a:chExt cx="2807368" cy="753891"/>
          </a:xfrm>
        </p:grpSpPr>
        <p:sp>
          <p:nvSpPr>
            <p:cNvPr id="8616" name="Google Shape;8616;p10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17" name="Google Shape;8617;p10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618" name="Google Shape;8618;p1049"/>
          <p:cNvSpPr>
            <a:spLocks noGrp="1"/>
          </p:cNvSpPr>
          <p:nvPr>
            <p:ph type="pic" idx="2"/>
          </p:nvPr>
        </p:nvSpPr>
        <p:spPr>
          <a:xfrm>
            <a:off x="2807368" y="457202"/>
            <a:ext cx="8915400" cy="5943598"/>
          </a:xfrm>
          <a:prstGeom prst="rect">
            <a:avLst/>
          </a:prstGeom>
          <a:noFill/>
          <a:ln>
            <a:noFill/>
          </a:ln>
        </p:spPr>
      </p:sp>
      <p:pic>
        <p:nvPicPr>
          <p:cNvPr id="8619" name="Google Shape;8619;p104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908"/>
        <p:cNvGrpSpPr/>
        <p:nvPr/>
      </p:nvGrpSpPr>
      <p:grpSpPr>
        <a:xfrm>
          <a:off x="0" y="0"/>
          <a:ext cx="0" cy="0"/>
          <a:chOff x="0" y="0"/>
          <a:chExt cx="0" cy="0"/>
        </a:xfrm>
      </p:grpSpPr>
      <p:sp>
        <p:nvSpPr>
          <p:cNvPr id="909" name="Google Shape;909;p1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10" name="Google Shape;910;p1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11" name="Google Shape;911;p142"/>
          <p:cNvGrpSpPr/>
          <p:nvPr/>
        </p:nvGrpSpPr>
        <p:grpSpPr>
          <a:xfrm>
            <a:off x="0" y="5379426"/>
            <a:ext cx="2807368" cy="753891"/>
            <a:chOff x="0" y="5379426"/>
            <a:chExt cx="2807368" cy="753891"/>
          </a:xfrm>
        </p:grpSpPr>
        <p:sp>
          <p:nvSpPr>
            <p:cNvPr id="912" name="Google Shape;912;p1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3" name="Google Shape;913;p1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14" name="Google Shape;914;p142"/>
          <p:cNvSpPr>
            <a:spLocks noGrp="1"/>
          </p:cNvSpPr>
          <p:nvPr>
            <p:ph type="pic" idx="2"/>
          </p:nvPr>
        </p:nvSpPr>
        <p:spPr>
          <a:xfrm>
            <a:off x="2807368" y="457202"/>
            <a:ext cx="8915400" cy="5943598"/>
          </a:xfrm>
          <a:prstGeom prst="rect">
            <a:avLst/>
          </a:prstGeom>
          <a:noFill/>
          <a:ln>
            <a:noFill/>
          </a:ln>
        </p:spPr>
      </p:sp>
      <p:pic>
        <p:nvPicPr>
          <p:cNvPr id="915" name="Google Shape;915;p1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8620"/>
        <p:cNvGrpSpPr/>
        <p:nvPr/>
      </p:nvGrpSpPr>
      <p:grpSpPr>
        <a:xfrm>
          <a:off x="0" y="0"/>
          <a:ext cx="0" cy="0"/>
          <a:chOff x="0" y="0"/>
          <a:chExt cx="0" cy="0"/>
        </a:xfrm>
      </p:grpSpPr>
      <p:sp>
        <p:nvSpPr>
          <p:cNvPr id="8621" name="Google Shape;8621;p10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22" name="Google Shape;8622;p10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23" name="Google Shape;8623;p10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24" name="Google Shape;8624;p10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5" name="Google Shape;8625;p10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26" name="Google Shape;8626;p10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627" name="Google Shape;8627;p1050"/>
          <p:cNvGrpSpPr/>
          <p:nvPr/>
        </p:nvGrpSpPr>
        <p:grpSpPr>
          <a:xfrm>
            <a:off x="7191542" y="1"/>
            <a:ext cx="5000459" cy="1425992"/>
            <a:chOff x="7191542" y="1"/>
            <a:chExt cx="5000459" cy="1425992"/>
          </a:xfrm>
        </p:grpSpPr>
        <p:pic>
          <p:nvPicPr>
            <p:cNvPr id="8628" name="Google Shape;8628;p10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29" name="Google Shape;8629;p1050"/>
            <p:cNvGrpSpPr/>
            <p:nvPr/>
          </p:nvGrpSpPr>
          <p:grpSpPr>
            <a:xfrm>
              <a:off x="7191542" y="1"/>
              <a:ext cx="5000459" cy="1425992"/>
              <a:chOff x="7186272" y="0"/>
              <a:chExt cx="5005729" cy="1427495"/>
            </a:xfrm>
          </p:grpSpPr>
          <p:sp>
            <p:nvSpPr>
              <p:cNvPr id="8630" name="Google Shape;8630;p10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31" name="Google Shape;8631;p10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32" name="Google Shape;8632;p10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3">
    <p:spTree>
      <p:nvGrpSpPr>
        <p:cNvPr id="1" name="Shape 8633"/>
        <p:cNvGrpSpPr/>
        <p:nvPr/>
      </p:nvGrpSpPr>
      <p:grpSpPr>
        <a:xfrm>
          <a:off x="0" y="0"/>
          <a:ext cx="0" cy="0"/>
          <a:chOff x="0" y="0"/>
          <a:chExt cx="0" cy="0"/>
        </a:xfrm>
      </p:grpSpPr>
      <p:sp>
        <p:nvSpPr>
          <p:cNvPr id="8634" name="Google Shape;8634;p105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35" name="Google Shape;8635;p105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636" name="Google Shape;8636;p105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7" name="Google Shape;8637;p105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638" name="Google Shape;8638;p105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39" name="Google Shape;8639;p105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40" name="Google Shape;8640;p105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641" name="Google Shape;8641;p105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642" name="Google Shape;8642;p1051"/>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Cover">
  <p:cSld name="Cover 13 2">
    <p:spTree>
      <p:nvGrpSpPr>
        <p:cNvPr id="1" name="Shape 8643"/>
        <p:cNvGrpSpPr/>
        <p:nvPr/>
      </p:nvGrpSpPr>
      <p:grpSpPr>
        <a:xfrm>
          <a:off x="0" y="0"/>
          <a:ext cx="0" cy="0"/>
          <a:chOff x="0" y="0"/>
          <a:chExt cx="0" cy="0"/>
        </a:xfrm>
      </p:grpSpPr>
      <p:sp>
        <p:nvSpPr>
          <p:cNvPr id="8644" name="Google Shape;8644;p10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45" name="Google Shape;8645;p10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46" name="Google Shape;8646;p10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647" name="Google Shape;8647;p1052"/>
          <p:cNvSpPr>
            <a:spLocks noGrp="1"/>
          </p:cNvSpPr>
          <p:nvPr>
            <p:ph type="pic" idx="2"/>
          </p:nvPr>
        </p:nvSpPr>
        <p:spPr>
          <a:xfrm>
            <a:off x="7118684" y="233915"/>
            <a:ext cx="5073316" cy="5943600"/>
          </a:xfrm>
          <a:prstGeom prst="rect">
            <a:avLst/>
          </a:prstGeom>
          <a:noFill/>
          <a:ln>
            <a:noFill/>
          </a:ln>
        </p:spPr>
      </p:sp>
      <p:grpSp>
        <p:nvGrpSpPr>
          <p:cNvPr id="8648" name="Google Shape;8648;p1052"/>
          <p:cNvGrpSpPr/>
          <p:nvPr/>
        </p:nvGrpSpPr>
        <p:grpSpPr>
          <a:xfrm>
            <a:off x="0" y="5020348"/>
            <a:ext cx="12192000" cy="1837653"/>
            <a:chOff x="0" y="5020348"/>
            <a:chExt cx="12192000" cy="1837653"/>
          </a:xfrm>
        </p:grpSpPr>
        <p:sp>
          <p:nvSpPr>
            <p:cNvPr id="8649" name="Google Shape;8649;p10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50" name="Google Shape;8650;p10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51" name="Google Shape;8651;p10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Divider">
  <p:cSld name="Divider 14 2">
    <p:bg>
      <p:bgPr>
        <a:solidFill>
          <a:schemeClr val="lt2"/>
        </a:solidFill>
        <a:effectLst/>
      </p:bgPr>
    </p:bg>
    <p:spTree>
      <p:nvGrpSpPr>
        <p:cNvPr id="1" name="Shape 8652"/>
        <p:cNvGrpSpPr/>
        <p:nvPr/>
      </p:nvGrpSpPr>
      <p:grpSpPr>
        <a:xfrm>
          <a:off x="0" y="0"/>
          <a:ext cx="0" cy="0"/>
          <a:chOff x="0" y="0"/>
          <a:chExt cx="0" cy="0"/>
        </a:xfrm>
      </p:grpSpPr>
      <p:grpSp>
        <p:nvGrpSpPr>
          <p:cNvPr id="8653" name="Google Shape;8653;p1053"/>
          <p:cNvGrpSpPr/>
          <p:nvPr/>
        </p:nvGrpSpPr>
        <p:grpSpPr>
          <a:xfrm>
            <a:off x="0" y="5020347"/>
            <a:ext cx="12192000" cy="1837653"/>
            <a:chOff x="0" y="5020347"/>
            <a:chExt cx="12192000" cy="1837653"/>
          </a:xfrm>
        </p:grpSpPr>
        <p:sp>
          <p:nvSpPr>
            <p:cNvPr id="8654" name="Google Shape;8654;p10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55" name="Google Shape;8655;p10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56" name="Google Shape;8656;p10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57" name="Google Shape;8657;p10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58" name="Google Shape;8658;p10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59" name="Google Shape;8659;p10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Photo Slide">
  <p:cSld name="Photo Slide 13 2">
    <p:spTree>
      <p:nvGrpSpPr>
        <p:cNvPr id="1" name="Shape 8660"/>
        <p:cNvGrpSpPr/>
        <p:nvPr/>
      </p:nvGrpSpPr>
      <p:grpSpPr>
        <a:xfrm>
          <a:off x="0" y="0"/>
          <a:ext cx="0" cy="0"/>
          <a:chOff x="0" y="0"/>
          <a:chExt cx="0" cy="0"/>
        </a:xfrm>
      </p:grpSpPr>
      <p:sp>
        <p:nvSpPr>
          <p:cNvPr id="8661" name="Google Shape;8661;p10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662" name="Google Shape;8662;p10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663" name="Google Shape;8663;p1054"/>
          <p:cNvGrpSpPr/>
          <p:nvPr/>
        </p:nvGrpSpPr>
        <p:grpSpPr>
          <a:xfrm>
            <a:off x="0" y="5379426"/>
            <a:ext cx="2807368" cy="753891"/>
            <a:chOff x="0" y="5379426"/>
            <a:chExt cx="2807368" cy="753891"/>
          </a:xfrm>
        </p:grpSpPr>
        <p:sp>
          <p:nvSpPr>
            <p:cNvPr id="8664" name="Google Shape;8664;p10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65" name="Google Shape;8665;p10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666" name="Google Shape;8666;p1054"/>
          <p:cNvSpPr>
            <a:spLocks noGrp="1"/>
          </p:cNvSpPr>
          <p:nvPr>
            <p:ph type="pic" idx="2"/>
          </p:nvPr>
        </p:nvSpPr>
        <p:spPr>
          <a:xfrm>
            <a:off x="2807368" y="457202"/>
            <a:ext cx="8915400" cy="5943598"/>
          </a:xfrm>
          <a:prstGeom prst="rect">
            <a:avLst/>
          </a:prstGeom>
          <a:noFill/>
          <a:ln>
            <a:noFill/>
          </a:ln>
        </p:spPr>
      </p:sp>
      <p:pic>
        <p:nvPicPr>
          <p:cNvPr id="8667" name="Google Shape;8667;p10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8668"/>
        <p:cNvGrpSpPr/>
        <p:nvPr/>
      </p:nvGrpSpPr>
      <p:grpSpPr>
        <a:xfrm>
          <a:off x="0" y="0"/>
          <a:ext cx="0" cy="0"/>
          <a:chOff x="0" y="0"/>
          <a:chExt cx="0" cy="0"/>
        </a:xfrm>
      </p:grpSpPr>
      <p:sp>
        <p:nvSpPr>
          <p:cNvPr id="8669" name="Google Shape;8669;p10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70" name="Google Shape;8670;p10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71" name="Google Shape;8671;p10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72" name="Google Shape;8672;p10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73" name="Google Shape;8673;p10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74" name="Google Shape;8674;p10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675" name="Google Shape;8675;p1055"/>
          <p:cNvGrpSpPr/>
          <p:nvPr/>
        </p:nvGrpSpPr>
        <p:grpSpPr>
          <a:xfrm>
            <a:off x="7191542" y="1"/>
            <a:ext cx="5000459" cy="1425992"/>
            <a:chOff x="7191542" y="1"/>
            <a:chExt cx="5000459" cy="1425992"/>
          </a:xfrm>
        </p:grpSpPr>
        <p:pic>
          <p:nvPicPr>
            <p:cNvPr id="8676" name="Google Shape;8676;p10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7" name="Google Shape;8677;p1055"/>
            <p:cNvGrpSpPr/>
            <p:nvPr/>
          </p:nvGrpSpPr>
          <p:grpSpPr>
            <a:xfrm>
              <a:off x="7191542" y="1"/>
              <a:ext cx="5000459" cy="1425992"/>
              <a:chOff x="7186272" y="0"/>
              <a:chExt cx="5005729" cy="1427495"/>
            </a:xfrm>
          </p:grpSpPr>
          <p:sp>
            <p:nvSpPr>
              <p:cNvPr id="8678" name="Google Shape;8678;p10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79" name="Google Shape;8679;p10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80" name="Google Shape;8680;p10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4_Quotation">
  <p:cSld name="4_Quotation 5">
    <p:spTree>
      <p:nvGrpSpPr>
        <p:cNvPr id="1" name="Shape 8681"/>
        <p:cNvGrpSpPr/>
        <p:nvPr/>
      </p:nvGrpSpPr>
      <p:grpSpPr>
        <a:xfrm>
          <a:off x="0" y="0"/>
          <a:ext cx="0" cy="0"/>
          <a:chOff x="0" y="0"/>
          <a:chExt cx="0" cy="0"/>
        </a:xfrm>
      </p:grpSpPr>
      <p:sp>
        <p:nvSpPr>
          <p:cNvPr id="8682" name="Google Shape;8682;p10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83" name="Google Shape;8683;p10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84" name="Google Shape;8684;p10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85" name="Google Shape;8685;p10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86" name="Google Shape;8686;p10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87" name="Google Shape;8687;p10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688" name="Google Shape;8688;p1056"/>
          <p:cNvGrpSpPr/>
          <p:nvPr/>
        </p:nvGrpSpPr>
        <p:grpSpPr>
          <a:xfrm>
            <a:off x="7191542" y="1"/>
            <a:ext cx="5000459" cy="1425992"/>
            <a:chOff x="7191542" y="1"/>
            <a:chExt cx="5000459" cy="1425992"/>
          </a:xfrm>
        </p:grpSpPr>
        <p:pic>
          <p:nvPicPr>
            <p:cNvPr id="8689" name="Google Shape;8689;p10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0" name="Google Shape;8690;p1056"/>
            <p:cNvGrpSpPr/>
            <p:nvPr/>
          </p:nvGrpSpPr>
          <p:grpSpPr>
            <a:xfrm>
              <a:off x="7191542" y="1"/>
              <a:ext cx="5000459" cy="1425992"/>
              <a:chOff x="7186272" y="0"/>
              <a:chExt cx="5005729" cy="1427495"/>
            </a:xfrm>
          </p:grpSpPr>
          <p:sp>
            <p:nvSpPr>
              <p:cNvPr id="8691" name="Google Shape;8691;p10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92" name="Google Shape;8692;p10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3" name="Google Shape;8693;p105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4">
    <p:spTree>
      <p:nvGrpSpPr>
        <p:cNvPr id="1" name="Shape 8694"/>
        <p:cNvGrpSpPr/>
        <p:nvPr/>
      </p:nvGrpSpPr>
      <p:grpSpPr>
        <a:xfrm>
          <a:off x="0" y="0"/>
          <a:ext cx="0" cy="0"/>
          <a:chOff x="0" y="0"/>
          <a:chExt cx="0" cy="0"/>
        </a:xfrm>
      </p:grpSpPr>
      <p:sp>
        <p:nvSpPr>
          <p:cNvPr id="8695" name="Google Shape;8695;p105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96" name="Google Shape;8696;p105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697" name="Google Shape;8697;p105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98" name="Google Shape;8698;p105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chemeClr val="dk1"/>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8699" name="Google Shape;8699;p105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00" name="Google Shape;8700;p105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01" name="Google Shape;8701;p105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8702" name="Google Shape;8702;p105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7F7F7F"/>
              </a:buClr>
              <a:buSzPts val="1000"/>
              <a:buFont typeface="Calibri"/>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8703" name="Google Shape;8703;p105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Cover">
  <p:cSld name="Cover 13 3">
    <p:spTree>
      <p:nvGrpSpPr>
        <p:cNvPr id="1" name="Shape 8704"/>
        <p:cNvGrpSpPr/>
        <p:nvPr/>
      </p:nvGrpSpPr>
      <p:grpSpPr>
        <a:xfrm>
          <a:off x="0" y="0"/>
          <a:ext cx="0" cy="0"/>
          <a:chOff x="0" y="0"/>
          <a:chExt cx="0" cy="0"/>
        </a:xfrm>
      </p:grpSpPr>
      <p:sp>
        <p:nvSpPr>
          <p:cNvPr id="8705" name="Google Shape;8705;p10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06" name="Google Shape;8706;p10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07" name="Google Shape;8707;p10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708" name="Google Shape;8708;p1058"/>
          <p:cNvSpPr>
            <a:spLocks noGrp="1"/>
          </p:cNvSpPr>
          <p:nvPr>
            <p:ph type="pic" idx="2"/>
          </p:nvPr>
        </p:nvSpPr>
        <p:spPr>
          <a:xfrm>
            <a:off x="7118684" y="233915"/>
            <a:ext cx="5073316" cy="5943600"/>
          </a:xfrm>
          <a:prstGeom prst="rect">
            <a:avLst/>
          </a:prstGeom>
          <a:noFill/>
          <a:ln>
            <a:noFill/>
          </a:ln>
        </p:spPr>
      </p:sp>
      <p:grpSp>
        <p:nvGrpSpPr>
          <p:cNvPr id="8709" name="Google Shape;8709;p1058"/>
          <p:cNvGrpSpPr/>
          <p:nvPr/>
        </p:nvGrpSpPr>
        <p:grpSpPr>
          <a:xfrm>
            <a:off x="0" y="5020348"/>
            <a:ext cx="12192000" cy="1837653"/>
            <a:chOff x="0" y="5020348"/>
            <a:chExt cx="12192000" cy="1837653"/>
          </a:xfrm>
        </p:grpSpPr>
        <p:sp>
          <p:nvSpPr>
            <p:cNvPr id="8710" name="Google Shape;8710;p10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11" name="Google Shape;8711;p10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712" name="Google Shape;8712;p10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Divider">
  <p:cSld name="Divider 14 3">
    <p:bg>
      <p:bgPr>
        <a:solidFill>
          <a:schemeClr val="lt2"/>
        </a:solidFill>
        <a:effectLst/>
      </p:bgPr>
    </p:bg>
    <p:spTree>
      <p:nvGrpSpPr>
        <p:cNvPr id="1" name="Shape 8713"/>
        <p:cNvGrpSpPr/>
        <p:nvPr/>
      </p:nvGrpSpPr>
      <p:grpSpPr>
        <a:xfrm>
          <a:off x="0" y="0"/>
          <a:ext cx="0" cy="0"/>
          <a:chOff x="0" y="0"/>
          <a:chExt cx="0" cy="0"/>
        </a:xfrm>
      </p:grpSpPr>
      <p:grpSp>
        <p:nvGrpSpPr>
          <p:cNvPr id="8714" name="Google Shape;8714;p1059"/>
          <p:cNvGrpSpPr/>
          <p:nvPr/>
        </p:nvGrpSpPr>
        <p:grpSpPr>
          <a:xfrm>
            <a:off x="0" y="5020347"/>
            <a:ext cx="12192000" cy="1837653"/>
            <a:chOff x="0" y="5020347"/>
            <a:chExt cx="12192000" cy="1837653"/>
          </a:xfrm>
        </p:grpSpPr>
        <p:sp>
          <p:nvSpPr>
            <p:cNvPr id="8715" name="Google Shape;8715;p105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16" name="Google Shape;8716;p10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17" name="Google Shape;8717;p105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718" name="Google Shape;8718;p10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719" name="Google Shape;8719;p105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20" name="Google Shape;8720;p105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6"/>
        <p:cNvGrpSpPr/>
        <p:nvPr/>
      </p:nvGrpSpPr>
      <p:grpSpPr>
        <a:xfrm>
          <a:off x="0" y="0"/>
          <a:ext cx="0" cy="0"/>
          <a:chOff x="0" y="0"/>
          <a:chExt cx="0" cy="0"/>
        </a:xfrm>
      </p:grpSpPr>
      <p:sp>
        <p:nvSpPr>
          <p:cNvPr id="917" name="Google Shape;917;p1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8" name="Google Shape;918;p1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 name="Google Shape;919;p1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0" name="Google Shape;920;p1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1" name="Google Shape;921;p1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 name="Google Shape;922;p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3" name="Google Shape;923;p143"/>
          <p:cNvGrpSpPr/>
          <p:nvPr/>
        </p:nvGrpSpPr>
        <p:grpSpPr>
          <a:xfrm>
            <a:off x="7191542" y="1"/>
            <a:ext cx="5000459" cy="1425992"/>
            <a:chOff x="7191542" y="1"/>
            <a:chExt cx="5000459" cy="1425992"/>
          </a:xfrm>
        </p:grpSpPr>
        <p:pic>
          <p:nvPicPr>
            <p:cNvPr id="924" name="Google Shape;924;p1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5" name="Google Shape;925;p143"/>
            <p:cNvGrpSpPr/>
            <p:nvPr/>
          </p:nvGrpSpPr>
          <p:grpSpPr>
            <a:xfrm>
              <a:off x="7191542" y="1"/>
              <a:ext cx="5000459" cy="1425992"/>
              <a:chOff x="7186272" y="0"/>
              <a:chExt cx="5005729" cy="1427495"/>
            </a:xfrm>
          </p:grpSpPr>
          <p:sp>
            <p:nvSpPr>
              <p:cNvPr id="926" name="Google Shape;926;p1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7" name="Google Shape;927;p1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8" name="Google Shape;928;p1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Photo Slide">
  <p:cSld name="Photo Slide 13 3">
    <p:spTree>
      <p:nvGrpSpPr>
        <p:cNvPr id="1" name="Shape 8721"/>
        <p:cNvGrpSpPr/>
        <p:nvPr/>
      </p:nvGrpSpPr>
      <p:grpSpPr>
        <a:xfrm>
          <a:off x="0" y="0"/>
          <a:ext cx="0" cy="0"/>
          <a:chOff x="0" y="0"/>
          <a:chExt cx="0" cy="0"/>
        </a:xfrm>
      </p:grpSpPr>
      <p:sp>
        <p:nvSpPr>
          <p:cNvPr id="8722" name="Google Shape;8722;p106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23" name="Google Shape;8723;p106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24" name="Google Shape;8724;p1060"/>
          <p:cNvGrpSpPr/>
          <p:nvPr/>
        </p:nvGrpSpPr>
        <p:grpSpPr>
          <a:xfrm>
            <a:off x="0" y="5379426"/>
            <a:ext cx="2807368" cy="753891"/>
            <a:chOff x="0" y="5379426"/>
            <a:chExt cx="2807368" cy="753891"/>
          </a:xfrm>
        </p:grpSpPr>
        <p:sp>
          <p:nvSpPr>
            <p:cNvPr id="8725" name="Google Shape;8725;p106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26" name="Google Shape;8726;p106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727" name="Google Shape;8727;p1060"/>
          <p:cNvSpPr>
            <a:spLocks noGrp="1"/>
          </p:cNvSpPr>
          <p:nvPr>
            <p:ph type="pic" idx="2"/>
          </p:nvPr>
        </p:nvSpPr>
        <p:spPr>
          <a:xfrm>
            <a:off x="2807368" y="457202"/>
            <a:ext cx="8915400" cy="5943598"/>
          </a:xfrm>
          <a:prstGeom prst="rect">
            <a:avLst/>
          </a:prstGeom>
          <a:noFill/>
          <a:ln>
            <a:noFill/>
          </a:ln>
        </p:spPr>
      </p:sp>
      <p:pic>
        <p:nvPicPr>
          <p:cNvPr id="8728" name="Google Shape;8728;p106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8729"/>
        <p:cNvGrpSpPr/>
        <p:nvPr/>
      </p:nvGrpSpPr>
      <p:grpSpPr>
        <a:xfrm>
          <a:off x="0" y="0"/>
          <a:ext cx="0" cy="0"/>
          <a:chOff x="0" y="0"/>
          <a:chExt cx="0" cy="0"/>
        </a:xfrm>
      </p:grpSpPr>
      <p:sp>
        <p:nvSpPr>
          <p:cNvPr id="8730" name="Google Shape;8730;p10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31" name="Google Shape;8731;p10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2" name="Google Shape;8732;p10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733" name="Google Shape;8733;p1061"/>
          <p:cNvGrpSpPr/>
          <p:nvPr/>
        </p:nvGrpSpPr>
        <p:grpSpPr>
          <a:xfrm>
            <a:off x="7191542" y="1"/>
            <a:ext cx="5000459" cy="1425992"/>
            <a:chOff x="7191542" y="1"/>
            <a:chExt cx="5000459" cy="1425992"/>
          </a:xfrm>
        </p:grpSpPr>
        <p:pic>
          <p:nvPicPr>
            <p:cNvPr id="8734" name="Google Shape;8734;p10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35" name="Google Shape;8735;p1061"/>
            <p:cNvGrpSpPr/>
            <p:nvPr/>
          </p:nvGrpSpPr>
          <p:grpSpPr>
            <a:xfrm>
              <a:off x="7191542" y="1"/>
              <a:ext cx="5000459" cy="1425992"/>
              <a:chOff x="7186272" y="0"/>
              <a:chExt cx="5005729" cy="1427495"/>
            </a:xfrm>
          </p:grpSpPr>
          <p:sp>
            <p:nvSpPr>
              <p:cNvPr id="8736" name="Google Shape;8736;p10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37" name="Google Shape;8737;p10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8738"/>
        <p:cNvGrpSpPr/>
        <p:nvPr/>
      </p:nvGrpSpPr>
      <p:grpSpPr>
        <a:xfrm>
          <a:off x="0" y="0"/>
          <a:ext cx="0" cy="0"/>
          <a:chOff x="0" y="0"/>
          <a:chExt cx="0" cy="0"/>
        </a:xfrm>
      </p:grpSpPr>
      <p:sp>
        <p:nvSpPr>
          <p:cNvPr id="8739" name="Google Shape;8739;p10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40" name="Google Shape;8740;p10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41" name="Google Shape;8741;p10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42" name="Google Shape;8742;p10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43" name="Google Shape;8743;p10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4" name="Google Shape;8744;p10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745" name="Google Shape;8745;p1062"/>
          <p:cNvGrpSpPr/>
          <p:nvPr/>
        </p:nvGrpSpPr>
        <p:grpSpPr>
          <a:xfrm>
            <a:off x="7191542" y="1"/>
            <a:ext cx="5000459" cy="1425992"/>
            <a:chOff x="7191542" y="1"/>
            <a:chExt cx="5000459" cy="1425992"/>
          </a:xfrm>
        </p:grpSpPr>
        <p:pic>
          <p:nvPicPr>
            <p:cNvPr id="8746" name="Google Shape;8746;p10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47" name="Google Shape;8747;p1062"/>
            <p:cNvGrpSpPr/>
            <p:nvPr/>
          </p:nvGrpSpPr>
          <p:grpSpPr>
            <a:xfrm>
              <a:off x="7191542" y="1"/>
              <a:ext cx="5000459" cy="1425992"/>
              <a:chOff x="7186272" y="0"/>
              <a:chExt cx="5005729" cy="1427495"/>
            </a:xfrm>
          </p:grpSpPr>
          <p:sp>
            <p:nvSpPr>
              <p:cNvPr id="8748" name="Google Shape;8748;p10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49" name="Google Shape;8749;p10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750" name="Google Shape;8750;p10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Blank">
  <p:cSld name="Blank 10 2">
    <p:spTree>
      <p:nvGrpSpPr>
        <p:cNvPr id="1" name="Shape 8751"/>
        <p:cNvGrpSpPr/>
        <p:nvPr/>
      </p:nvGrpSpPr>
      <p:grpSpPr>
        <a:xfrm>
          <a:off x="0" y="0"/>
          <a:ext cx="0" cy="0"/>
          <a:chOff x="0" y="0"/>
          <a:chExt cx="0" cy="0"/>
        </a:xfrm>
      </p:grpSpPr>
      <p:sp>
        <p:nvSpPr>
          <p:cNvPr id="8752" name="Google Shape;8752;p10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53" name="Google Shape;8753;p10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54" name="Google Shape;8754;p10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755" name="Google Shape;8755;p1063"/>
          <p:cNvGrpSpPr/>
          <p:nvPr/>
        </p:nvGrpSpPr>
        <p:grpSpPr>
          <a:xfrm>
            <a:off x="7191542" y="1"/>
            <a:ext cx="5000459" cy="1425992"/>
            <a:chOff x="7191542" y="1"/>
            <a:chExt cx="5000459" cy="1425992"/>
          </a:xfrm>
        </p:grpSpPr>
        <p:pic>
          <p:nvPicPr>
            <p:cNvPr id="8756" name="Google Shape;8756;p10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57" name="Google Shape;8757;p1063"/>
            <p:cNvGrpSpPr/>
            <p:nvPr/>
          </p:nvGrpSpPr>
          <p:grpSpPr>
            <a:xfrm>
              <a:off x="7191542" y="1"/>
              <a:ext cx="5000459" cy="1425992"/>
              <a:chOff x="7186272" y="0"/>
              <a:chExt cx="5005729" cy="1427495"/>
            </a:xfrm>
          </p:grpSpPr>
          <p:sp>
            <p:nvSpPr>
              <p:cNvPr id="8758" name="Google Shape;8758;p10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59" name="Google Shape;8759;p10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matchingName="Quotation">
  <p:cSld name="Quotation 18 2">
    <p:spTree>
      <p:nvGrpSpPr>
        <p:cNvPr id="1" name="Shape 8760"/>
        <p:cNvGrpSpPr/>
        <p:nvPr/>
      </p:nvGrpSpPr>
      <p:grpSpPr>
        <a:xfrm>
          <a:off x="0" y="0"/>
          <a:ext cx="0" cy="0"/>
          <a:chOff x="0" y="0"/>
          <a:chExt cx="0" cy="0"/>
        </a:xfrm>
      </p:grpSpPr>
      <p:sp>
        <p:nvSpPr>
          <p:cNvPr id="8761" name="Google Shape;8761;p10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62" name="Google Shape;8762;p10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63" name="Google Shape;8763;p10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64" name="Google Shape;8764;p10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65" name="Google Shape;8765;p10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66" name="Google Shape;8766;p10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767" name="Google Shape;8767;p1064"/>
          <p:cNvGrpSpPr/>
          <p:nvPr/>
        </p:nvGrpSpPr>
        <p:grpSpPr>
          <a:xfrm>
            <a:off x="7191542" y="1"/>
            <a:ext cx="5000459" cy="1425992"/>
            <a:chOff x="7191542" y="1"/>
            <a:chExt cx="5000459" cy="1425992"/>
          </a:xfrm>
        </p:grpSpPr>
        <p:pic>
          <p:nvPicPr>
            <p:cNvPr id="8768" name="Google Shape;8768;p10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69" name="Google Shape;8769;p1064"/>
            <p:cNvGrpSpPr/>
            <p:nvPr/>
          </p:nvGrpSpPr>
          <p:grpSpPr>
            <a:xfrm>
              <a:off x="7191542" y="1"/>
              <a:ext cx="5000459" cy="1425992"/>
              <a:chOff x="7186272" y="0"/>
              <a:chExt cx="5005729" cy="1427495"/>
            </a:xfrm>
          </p:grpSpPr>
          <p:sp>
            <p:nvSpPr>
              <p:cNvPr id="8770" name="Google Shape;8770;p10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1" name="Google Shape;8771;p10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772" name="Google Shape;8772;p10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8773"/>
        <p:cNvGrpSpPr/>
        <p:nvPr/>
      </p:nvGrpSpPr>
      <p:grpSpPr>
        <a:xfrm>
          <a:off x="0" y="0"/>
          <a:ext cx="0" cy="0"/>
          <a:chOff x="0" y="0"/>
          <a:chExt cx="0" cy="0"/>
        </a:xfrm>
      </p:grpSpPr>
      <p:sp>
        <p:nvSpPr>
          <p:cNvPr id="8774" name="Google Shape;8774;p10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75" name="Google Shape;8775;p106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776" name="Google Shape;8776;p1065"/>
          <p:cNvGrpSpPr/>
          <p:nvPr/>
        </p:nvGrpSpPr>
        <p:grpSpPr>
          <a:xfrm>
            <a:off x="7191542" y="1"/>
            <a:ext cx="5000459" cy="1425992"/>
            <a:chOff x="7191542" y="1"/>
            <a:chExt cx="5000459" cy="1425992"/>
          </a:xfrm>
        </p:grpSpPr>
        <p:pic>
          <p:nvPicPr>
            <p:cNvPr id="8777" name="Google Shape;8777;p10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8" name="Google Shape;8778;p1065"/>
            <p:cNvGrpSpPr/>
            <p:nvPr/>
          </p:nvGrpSpPr>
          <p:grpSpPr>
            <a:xfrm>
              <a:off x="7191542" y="1"/>
              <a:ext cx="5000459" cy="1425992"/>
              <a:chOff x="7186272" y="0"/>
              <a:chExt cx="5005729" cy="1427495"/>
            </a:xfrm>
          </p:grpSpPr>
          <p:sp>
            <p:nvSpPr>
              <p:cNvPr id="8779" name="Google Shape;8779;p10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80" name="Google Shape;8780;p10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81" name="Google Shape;8781;p106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82" name="Google Shape;8782;p106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83" name="Google Shape;8783;p10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84" name="Google Shape;8784;p10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8785"/>
        <p:cNvGrpSpPr/>
        <p:nvPr/>
      </p:nvGrpSpPr>
      <p:grpSpPr>
        <a:xfrm>
          <a:off x="0" y="0"/>
          <a:ext cx="0" cy="0"/>
          <a:chOff x="0" y="0"/>
          <a:chExt cx="0" cy="0"/>
        </a:xfrm>
      </p:grpSpPr>
      <p:grpSp>
        <p:nvGrpSpPr>
          <p:cNvPr id="8786" name="Google Shape;8786;p1066"/>
          <p:cNvGrpSpPr/>
          <p:nvPr/>
        </p:nvGrpSpPr>
        <p:grpSpPr>
          <a:xfrm>
            <a:off x="7191542" y="1"/>
            <a:ext cx="5000459" cy="1425992"/>
            <a:chOff x="7191542" y="1"/>
            <a:chExt cx="5000459" cy="1425992"/>
          </a:xfrm>
        </p:grpSpPr>
        <p:pic>
          <p:nvPicPr>
            <p:cNvPr id="8787" name="Google Shape;8787;p10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88" name="Google Shape;8788;p1066"/>
            <p:cNvGrpSpPr/>
            <p:nvPr/>
          </p:nvGrpSpPr>
          <p:grpSpPr>
            <a:xfrm>
              <a:off x="7191542" y="1"/>
              <a:ext cx="5000459" cy="1425992"/>
              <a:chOff x="7186272" y="0"/>
              <a:chExt cx="5005729" cy="1427495"/>
            </a:xfrm>
          </p:grpSpPr>
          <p:sp>
            <p:nvSpPr>
              <p:cNvPr id="8789" name="Google Shape;8789;p10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90" name="Google Shape;8790;p10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91" name="Google Shape;8791;p10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92" name="Google Shape;8792;p10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93" name="Google Shape;8793;p10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4" name="Google Shape;8794;p10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95" name="Google Shape;8795;p10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96" name="Google Shape;8796;p10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97" name="Google Shape;8797;p10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98" name="Google Shape;8798;p10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8799"/>
        <p:cNvGrpSpPr/>
        <p:nvPr/>
      </p:nvGrpSpPr>
      <p:grpSpPr>
        <a:xfrm>
          <a:off x="0" y="0"/>
          <a:ext cx="0" cy="0"/>
          <a:chOff x="0" y="0"/>
          <a:chExt cx="0" cy="0"/>
        </a:xfrm>
      </p:grpSpPr>
      <p:grpSp>
        <p:nvGrpSpPr>
          <p:cNvPr id="8800" name="Google Shape;8800;p1067"/>
          <p:cNvGrpSpPr/>
          <p:nvPr/>
        </p:nvGrpSpPr>
        <p:grpSpPr>
          <a:xfrm>
            <a:off x="7191542" y="1"/>
            <a:ext cx="5000459" cy="1425992"/>
            <a:chOff x="7191542" y="1"/>
            <a:chExt cx="5000459" cy="1425992"/>
          </a:xfrm>
        </p:grpSpPr>
        <p:pic>
          <p:nvPicPr>
            <p:cNvPr id="8801" name="Google Shape;8801;p10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02" name="Google Shape;8802;p1067"/>
            <p:cNvGrpSpPr/>
            <p:nvPr/>
          </p:nvGrpSpPr>
          <p:grpSpPr>
            <a:xfrm>
              <a:off x="7191542" y="1"/>
              <a:ext cx="5000459" cy="1425992"/>
              <a:chOff x="7186272" y="0"/>
              <a:chExt cx="5005729" cy="1427495"/>
            </a:xfrm>
          </p:grpSpPr>
          <p:sp>
            <p:nvSpPr>
              <p:cNvPr id="8803" name="Google Shape;8803;p10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04" name="Google Shape;8804;p10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805" name="Google Shape;8805;p10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6" name="Google Shape;8806;p10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07" name="Google Shape;8807;p10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08" name="Google Shape;8808;p10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8809"/>
        <p:cNvGrpSpPr/>
        <p:nvPr/>
      </p:nvGrpSpPr>
      <p:grpSpPr>
        <a:xfrm>
          <a:off x="0" y="0"/>
          <a:ext cx="0" cy="0"/>
          <a:chOff x="0" y="0"/>
          <a:chExt cx="0" cy="0"/>
        </a:xfrm>
      </p:grpSpPr>
      <p:grpSp>
        <p:nvGrpSpPr>
          <p:cNvPr id="8810" name="Google Shape;8810;p1068"/>
          <p:cNvGrpSpPr/>
          <p:nvPr/>
        </p:nvGrpSpPr>
        <p:grpSpPr>
          <a:xfrm>
            <a:off x="0" y="0"/>
            <a:ext cx="12192000" cy="2148830"/>
            <a:chOff x="0" y="0"/>
            <a:chExt cx="12192000" cy="2148830"/>
          </a:xfrm>
        </p:grpSpPr>
        <p:sp>
          <p:nvSpPr>
            <p:cNvPr id="8811" name="Google Shape;8811;p106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12" name="Google Shape;8812;p106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813" name="Google Shape;8813;p106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14" name="Google Shape;8814;p106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15" name="Google Shape;8815;p106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816" name="Google Shape;8816;p106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817" name="Google Shape;8817;p106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8818"/>
        <p:cNvGrpSpPr/>
        <p:nvPr/>
      </p:nvGrpSpPr>
      <p:grpSpPr>
        <a:xfrm>
          <a:off x="0" y="0"/>
          <a:ext cx="0" cy="0"/>
          <a:chOff x="0" y="0"/>
          <a:chExt cx="0" cy="0"/>
        </a:xfrm>
      </p:grpSpPr>
      <p:sp>
        <p:nvSpPr>
          <p:cNvPr id="8819" name="Google Shape;8819;p10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20" name="Google Shape;8820;p10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21" name="Google Shape;8821;p10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822" name="Google Shape;8822;p1069"/>
          <p:cNvGrpSpPr/>
          <p:nvPr/>
        </p:nvGrpSpPr>
        <p:grpSpPr>
          <a:xfrm>
            <a:off x="7191542" y="1"/>
            <a:ext cx="5000459" cy="1425992"/>
            <a:chOff x="7191542" y="1"/>
            <a:chExt cx="5000459" cy="1425992"/>
          </a:xfrm>
        </p:grpSpPr>
        <p:pic>
          <p:nvPicPr>
            <p:cNvPr id="8823" name="Google Shape;8823;p10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24" name="Google Shape;8824;p1069"/>
            <p:cNvGrpSpPr/>
            <p:nvPr/>
          </p:nvGrpSpPr>
          <p:grpSpPr>
            <a:xfrm>
              <a:off x="7191542" y="1"/>
              <a:ext cx="5000459" cy="1425992"/>
              <a:chOff x="7186272" y="0"/>
              <a:chExt cx="5005729" cy="1427495"/>
            </a:xfrm>
          </p:grpSpPr>
          <p:sp>
            <p:nvSpPr>
              <p:cNvPr id="8825" name="Google Shape;8825;p10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26" name="Google Shape;8826;p10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929"/>
        <p:cNvGrpSpPr/>
        <p:nvPr/>
      </p:nvGrpSpPr>
      <p:grpSpPr>
        <a:xfrm>
          <a:off x="0" y="0"/>
          <a:ext cx="0" cy="0"/>
          <a:chOff x="0" y="0"/>
          <a:chExt cx="0" cy="0"/>
        </a:xfrm>
      </p:grpSpPr>
      <p:grpSp>
        <p:nvGrpSpPr>
          <p:cNvPr id="930" name="Google Shape;930;p144"/>
          <p:cNvGrpSpPr/>
          <p:nvPr/>
        </p:nvGrpSpPr>
        <p:grpSpPr>
          <a:xfrm>
            <a:off x="0" y="0"/>
            <a:ext cx="12192000" cy="2148830"/>
            <a:chOff x="0" y="0"/>
            <a:chExt cx="12192000" cy="2148830"/>
          </a:xfrm>
        </p:grpSpPr>
        <p:sp>
          <p:nvSpPr>
            <p:cNvPr id="931" name="Google Shape;931;p1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2" name="Google Shape;932;p1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3" name="Google Shape;933;p1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4" name="Google Shape;934;p1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1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6" name="Google Shape;936;p1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7" name="Google Shape;937;p1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4_Quotation">
  <p:cSld name="4_Quotation 2 2">
    <p:spTree>
      <p:nvGrpSpPr>
        <p:cNvPr id="1" name="Shape 8827"/>
        <p:cNvGrpSpPr/>
        <p:nvPr/>
      </p:nvGrpSpPr>
      <p:grpSpPr>
        <a:xfrm>
          <a:off x="0" y="0"/>
          <a:ext cx="0" cy="0"/>
          <a:chOff x="0" y="0"/>
          <a:chExt cx="0" cy="0"/>
        </a:xfrm>
      </p:grpSpPr>
      <p:sp>
        <p:nvSpPr>
          <p:cNvPr id="8828" name="Google Shape;8828;p10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29" name="Google Shape;8829;p10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30" name="Google Shape;8830;p10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1" name="Google Shape;8831;p10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32" name="Google Shape;8832;p10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33" name="Google Shape;8833;p10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834" name="Google Shape;8834;p1070"/>
          <p:cNvGrpSpPr/>
          <p:nvPr/>
        </p:nvGrpSpPr>
        <p:grpSpPr>
          <a:xfrm>
            <a:off x="7191542" y="1"/>
            <a:ext cx="5000459" cy="1425992"/>
            <a:chOff x="7191542" y="1"/>
            <a:chExt cx="5000459" cy="1425992"/>
          </a:xfrm>
        </p:grpSpPr>
        <p:pic>
          <p:nvPicPr>
            <p:cNvPr id="8835" name="Google Shape;8835;p10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36" name="Google Shape;8836;p1070"/>
            <p:cNvGrpSpPr/>
            <p:nvPr/>
          </p:nvGrpSpPr>
          <p:grpSpPr>
            <a:xfrm>
              <a:off x="7191542" y="1"/>
              <a:ext cx="5000459" cy="1425992"/>
              <a:chOff x="7186272" y="0"/>
              <a:chExt cx="5005729" cy="1427495"/>
            </a:xfrm>
          </p:grpSpPr>
          <p:sp>
            <p:nvSpPr>
              <p:cNvPr id="8837" name="Google Shape;8837;p10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38" name="Google Shape;8838;p10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39" name="Google Shape;8839;p10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8840"/>
        <p:cNvGrpSpPr/>
        <p:nvPr/>
      </p:nvGrpSpPr>
      <p:grpSpPr>
        <a:xfrm>
          <a:off x="0" y="0"/>
          <a:ext cx="0" cy="0"/>
          <a:chOff x="0" y="0"/>
          <a:chExt cx="0" cy="0"/>
        </a:xfrm>
      </p:grpSpPr>
      <p:sp>
        <p:nvSpPr>
          <p:cNvPr id="8841" name="Google Shape;8841;p1071"/>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42" name="Google Shape;8842;p1071"/>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8843" name="Google Shape;8843;p1071"/>
          <p:cNvGrpSpPr/>
          <p:nvPr/>
        </p:nvGrpSpPr>
        <p:grpSpPr>
          <a:xfrm flipH="1">
            <a:off x="-1" y="1"/>
            <a:ext cx="6418725" cy="1509822"/>
            <a:chOff x="7522541" y="1"/>
            <a:chExt cx="4669459" cy="1098357"/>
          </a:xfrm>
        </p:grpSpPr>
        <p:sp>
          <p:nvSpPr>
            <p:cNvPr id="8844" name="Google Shape;8844;p1071"/>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45" name="Google Shape;8845;p1071"/>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8846" name="Google Shape;8846;p10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8847"/>
        <p:cNvGrpSpPr/>
        <p:nvPr/>
      </p:nvGrpSpPr>
      <p:grpSpPr>
        <a:xfrm>
          <a:off x="0" y="0"/>
          <a:ext cx="0" cy="0"/>
          <a:chOff x="0" y="0"/>
          <a:chExt cx="0" cy="0"/>
        </a:xfrm>
      </p:grpSpPr>
      <p:sp>
        <p:nvSpPr>
          <p:cNvPr id="8848" name="Google Shape;8848;p10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9" name="Google Shape;8849;p10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0" name="Google Shape;8850;p10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851" name="Google Shape;8851;p1072"/>
          <p:cNvSpPr>
            <a:spLocks noGrp="1"/>
          </p:cNvSpPr>
          <p:nvPr>
            <p:ph type="pic" idx="2"/>
          </p:nvPr>
        </p:nvSpPr>
        <p:spPr>
          <a:xfrm>
            <a:off x="7118684" y="233915"/>
            <a:ext cx="5073316" cy="5943600"/>
          </a:xfrm>
          <a:prstGeom prst="rect">
            <a:avLst/>
          </a:prstGeom>
          <a:noFill/>
          <a:ln>
            <a:noFill/>
          </a:ln>
        </p:spPr>
      </p:sp>
      <p:grpSp>
        <p:nvGrpSpPr>
          <p:cNvPr id="8852" name="Google Shape;8852;p1072"/>
          <p:cNvGrpSpPr/>
          <p:nvPr/>
        </p:nvGrpSpPr>
        <p:grpSpPr>
          <a:xfrm>
            <a:off x="0" y="5020348"/>
            <a:ext cx="12192000" cy="1837653"/>
            <a:chOff x="0" y="5020348"/>
            <a:chExt cx="12192000" cy="1837653"/>
          </a:xfrm>
        </p:grpSpPr>
        <p:sp>
          <p:nvSpPr>
            <p:cNvPr id="8853" name="Google Shape;8853;p10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54" name="Google Shape;8854;p10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855" name="Google Shape;8855;p10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8856"/>
        <p:cNvGrpSpPr/>
        <p:nvPr/>
      </p:nvGrpSpPr>
      <p:grpSpPr>
        <a:xfrm>
          <a:off x="0" y="0"/>
          <a:ext cx="0" cy="0"/>
          <a:chOff x="0" y="0"/>
          <a:chExt cx="0" cy="0"/>
        </a:xfrm>
      </p:grpSpPr>
      <p:grpSp>
        <p:nvGrpSpPr>
          <p:cNvPr id="8857" name="Google Shape;8857;p1073"/>
          <p:cNvGrpSpPr/>
          <p:nvPr/>
        </p:nvGrpSpPr>
        <p:grpSpPr>
          <a:xfrm>
            <a:off x="0" y="5020347"/>
            <a:ext cx="12192000" cy="1837653"/>
            <a:chOff x="0" y="5020347"/>
            <a:chExt cx="12192000" cy="1837653"/>
          </a:xfrm>
        </p:grpSpPr>
        <p:sp>
          <p:nvSpPr>
            <p:cNvPr id="8858" name="Google Shape;8858;p10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59" name="Google Shape;8859;p10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60" name="Google Shape;8860;p10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861" name="Google Shape;8861;p10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862" name="Google Shape;8862;p10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63" name="Google Shape;8863;p10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8864"/>
        <p:cNvGrpSpPr/>
        <p:nvPr/>
      </p:nvGrpSpPr>
      <p:grpSpPr>
        <a:xfrm>
          <a:off x="0" y="0"/>
          <a:ext cx="0" cy="0"/>
          <a:chOff x="0" y="0"/>
          <a:chExt cx="0" cy="0"/>
        </a:xfrm>
      </p:grpSpPr>
      <p:sp>
        <p:nvSpPr>
          <p:cNvPr id="8865" name="Google Shape;8865;p107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66" name="Google Shape;8866;p10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67" name="Google Shape;8867;p1074"/>
          <p:cNvGrpSpPr/>
          <p:nvPr/>
        </p:nvGrpSpPr>
        <p:grpSpPr>
          <a:xfrm>
            <a:off x="0" y="5379426"/>
            <a:ext cx="2807368" cy="753891"/>
            <a:chOff x="0" y="5379426"/>
            <a:chExt cx="2807368" cy="753891"/>
          </a:xfrm>
        </p:grpSpPr>
        <p:sp>
          <p:nvSpPr>
            <p:cNvPr id="8868" name="Google Shape;8868;p10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69" name="Google Shape;8869;p10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870" name="Google Shape;8870;p1074"/>
          <p:cNvSpPr>
            <a:spLocks noGrp="1"/>
          </p:cNvSpPr>
          <p:nvPr>
            <p:ph type="pic" idx="2"/>
          </p:nvPr>
        </p:nvSpPr>
        <p:spPr>
          <a:xfrm>
            <a:off x="2807368" y="457202"/>
            <a:ext cx="8915400" cy="5943598"/>
          </a:xfrm>
          <a:prstGeom prst="rect">
            <a:avLst/>
          </a:prstGeom>
          <a:noFill/>
          <a:ln>
            <a:noFill/>
          </a:ln>
        </p:spPr>
      </p:sp>
      <p:pic>
        <p:nvPicPr>
          <p:cNvPr id="8871" name="Google Shape;8871;p107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8872"/>
        <p:cNvGrpSpPr/>
        <p:nvPr/>
      </p:nvGrpSpPr>
      <p:grpSpPr>
        <a:xfrm>
          <a:off x="0" y="0"/>
          <a:ext cx="0" cy="0"/>
          <a:chOff x="0" y="0"/>
          <a:chExt cx="0" cy="0"/>
        </a:xfrm>
      </p:grpSpPr>
      <p:sp>
        <p:nvSpPr>
          <p:cNvPr id="8873" name="Google Shape;8873;p10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74" name="Google Shape;8874;p10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75" name="Google Shape;8875;p10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76" name="Google Shape;8876;p10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7" name="Google Shape;8877;p10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8" name="Google Shape;8878;p10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879" name="Google Shape;8879;p1075"/>
          <p:cNvGrpSpPr/>
          <p:nvPr/>
        </p:nvGrpSpPr>
        <p:grpSpPr>
          <a:xfrm>
            <a:off x="7191542" y="1"/>
            <a:ext cx="5000459" cy="1425992"/>
            <a:chOff x="7191542" y="1"/>
            <a:chExt cx="5000459" cy="1425992"/>
          </a:xfrm>
        </p:grpSpPr>
        <p:pic>
          <p:nvPicPr>
            <p:cNvPr id="8880" name="Google Shape;8880;p10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81" name="Google Shape;8881;p1075"/>
            <p:cNvGrpSpPr/>
            <p:nvPr/>
          </p:nvGrpSpPr>
          <p:grpSpPr>
            <a:xfrm>
              <a:off x="7191542" y="1"/>
              <a:ext cx="5000459" cy="1425992"/>
              <a:chOff x="7186272" y="0"/>
              <a:chExt cx="5005729" cy="1427495"/>
            </a:xfrm>
          </p:grpSpPr>
          <p:sp>
            <p:nvSpPr>
              <p:cNvPr id="8882" name="Google Shape;8882;p10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83" name="Google Shape;8883;p10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84" name="Google Shape;8884;p10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8885"/>
        <p:cNvGrpSpPr/>
        <p:nvPr/>
      </p:nvGrpSpPr>
      <p:grpSpPr>
        <a:xfrm>
          <a:off x="0" y="0"/>
          <a:ext cx="0" cy="0"/>
          <a:chOff x="0" y="0"/>
          <a:chExt cx="0" cy="0"/>
        </a:xfrm>
      </p:grpSpPr>
      <p:sp>
        <p:nvSpPr>
          <p:cNvPr id="8886" name="Google Shape;8886;p10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87" name="Google Shape;8887;p10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88" name="Google Shape;8888;p10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89" name="Google Shape;8889;p10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90" name="Google Shape;8890;p10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91" name="Google Shape;8891;p10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892" name="Google Shape;8892;p1076"/>
          <p:cNvGrpSpPr/>
          <p:nvPr/>
        </p:nvGrpSpPr>
        <p:grpSpPr>
          <a:xfrm>
            <a:off x="7191542" y="1"/>
            <a:ext cx="5000459" cy="1425992"/>
            <a:chOff x="7191542" y="1"/>
            <a:chExt cx="5000459" cy="1425992"/>
          </a:xfrm>
        </p:grpSpPr>
        <p:pic>
          <p:nvPicPr>
            <p:cNvPr id="8893" name="Google Shape;8893;p10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94" name="Google Shape;8894;p1076"/>
            <p:cNvGrpSpPr/>
            <p:nvPr/>
          </p:nvGrpSpPr>
          <p:grpSpPr>
            <a:xfrm>
              <a:off x="7191542" y="1"/>
              <a:ext cx="5000459" cy="1425992"/>
              <a:chOff x="7186272" y="0"/>
              <a:chExt cx="5005729" cy="1427495"/>
            </a:xfrm>
          </p:grpSpPr>
          <p:sp>
            <p:nvSpPr>
              <p:cNvPr id="8895" name="Google Shape;8895;p10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96" name="Google Shape;8896;p10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97" name="Google Shape;8897;p10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8898"/>
        <p:cNvGrpSpPr/>
        <p:nvPr/>
      </p:nvGrpSpPr>
      <p:grpSpPr>
        <a:xfrm>
          <a:off x="0" y="0"/>
          <a:ext cx="0" cy="0"/>
          <a:chOff x="0" y="0"/>
          <a:chExt cx="0" cy="0"/>
        </a:xfrm>
      </p:grpSpPr>
      <p:grpSp>
        <p:nvGrpSpPr>
          <p:cNvPr id="8899" name="Google Shape;8899;p1077"/>
          <p:cNvGrpSpPr/>
          <p:nvPr/>
        </p:nvGrpSpPr>
        <p:grpSpPr>
          <a:xfrm>
            <a:off x="7191542" y="1"/>
            <a:ext cx="5000459" cy="1425992"/>
            <a:chOff x="7191542" y="1"/>
            <a:chExt cx="5000459" cy="1425992"/>
          </a:xfrm>
        </p:grpSpPr>
        <p:pic>
          <p:nvPicPr>
            <p:cNvPr id="8900" name="Google Shape;8900;p10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01" name="Google Shape;8901;p1077"/>
            <p:cNvGrpSpPr/>
            <p:nvPr/>
          </p:nvGrpSpPr>
          <p:grpSpPr>
            <a:xfrm>
              <a:off x="7191542" y="1"/>
              <a:ext cx="5000459" cy="1425992"/>
              <a:chOff x="7186272" y="0"/>
              <a:chExt cx="5005729" cy="1427495"/>
            </a:xfrm>
          </p:grpSpPr>
          <p:sp>
            <p:nvSpPr>
              <p:cNvPr id="8902" name="Google Shape;8902;p10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03" name="Google Shape;8903;p10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04" name="Google Shape;8904;p10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05" name="Google Shape;8905;p107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06" name="Google Shape;8906;p10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07" name="Google Shape;8907;p10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08" name="Google Shape;8908;p10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8909"/>
        <p:cNvGrpSpPr/>
        <p:nvPr/>
      </p:nvGrpSpPr>
      <p:grpSpPr>
        <a:xfrm>
          <a:off x="0" y="0"/>
          <a:ext cx="0" cy="0"/>
          <a:chOff x="0" y="0"/>
          <a:chExt cx="0" cy="0"/>
        </a:xfrm>
      </p:grpSpPr>
      <p:sp>
        <p:nvSpPr>
          <p:cNvPr id="8910" name="Google Shape;8910;p10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11" name="Google Shape;8911;p107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12" name="Google Shape;8912;p1078"/>
          <p:cNvGrpSpPr/>
          <p:nvPr/>
        </p:nvGrpSpPr>
        <p:grpSpPr>
          <a:xfrm>
            <a:off x="7191542" y="1"/>
            <a:ext cx="5000459" cy="1425992"/>
            <a:chOff x="7191542" y="1"/>
            <a:chExt cx="5000459" cy="1425992"/>
          </a:xfrm>
        </p:grpSpPr>
        <p:pic>
          <p:nvPicPr>
            <p:cNvPr id="8913" name="Google Shape;8913;p10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4" name="Google Shape;8914;p1078"/>
            <p:cNvGrpSpPr/>
            <p:nvPr/>
          </p:nvGrpSpPr>
          <p:grpSpPr>
            <a:xfrm>
              <a:off x="7191542" y="1"/>
              <a:ext cx="5000459" cy="1425992"/>
              <a:chOff x="7186272" y="0"/>
              <a:chExt cx="5005729" cy="1427495"/>
            </a:xfrm>
          </p:grpSpPr>
          <p:sp>
            <p:nvSpPr>
              <p:cNvPr id="8915" name="Google Shape;8915;p10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16" name="Google Shape;8916;p10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17" name="Google Shape;8917;p107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18" name="Google Shape;8918;p107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19" name="Google Shape;8919;p10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20" name="Google Shape;8920;p10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8921"/>
        <p:cNvGrpSpPr/>
        <p:nvPr/>
      </p:nvGrpSpPr>
      <p:grpSpPr>
        <a:xfrm>
          <a:off x="0" y="0"/>
          <a:ext cx="0" cy="0"/>
          <a:chOff x="0" y="0"/>
          <a:chExt cx="0" cy="0"/>
        </a:xfrm>
      </p:grpSpPr>
      <p:grpSp>
        <p:nvGrpSpPr>
          <p:cNvPr id="8922" name="Google Shape;8922;p1079"/>
          <p:cNvGrpSpPr/>
          <p:nvPr/>
        </p:nvGrpSpPr>
        <p:grpSpPr>
          <a:xfrm>
            <a:off x="7191542" y="1"/>
            <a:ext cx="5000459" cy="1425992"/>
            <a:chOff x="7191542" y="1"/>
            <a:chExt cx="5000459" cy="1425992"/>
          </a:xfrm>
        </p:grpSpPr>
        <p:pic>
          <p:nvPicPr>
            <p:cNvPr id="8923" name="Google Shape;8923;p10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24" name="Google Shape;8924;p1079"/>
            <p:cNvGrpSpPr/>
            <p:nvPr/>
          </p:nvGrpSpPr>
          <p:grpSpPr>
            <a:xfrm>
              <a:off x="7191542" y="1"/>
              <a:ext cx="5000459" cy="1425992"/>
              <a:chOff x="7186272" y="0"/>
              <a:chExt cx="5005729" cy="1427495"/>
            </a:xfrm>
          </p:grpSpPr>
          <p:sp>
            <p:nvSpPr>
              <p:cNvPr id="8925" name="Google Shape;8925;p10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26" name="Google Shape;8926;p10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27" name="Google Shape;8927;p10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28" name="Google Shape;8928;p107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29" name="Google Shape;8929;p107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0" name="Google Shape;8930;p107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31" name="Google Shape;8931;p107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2" name="Google Shape;8932;p10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33" name="Google Shape;8933;p10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34" name="Google Shape;8934;p10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38"/>
        <p:cNvGrpSpPr/>
        <p:nvPr/>
      </p:nvGrpSpPr>
      <p:grpSpPr>
        <a:xfrm>
          <a:off x="0" y="0"/>
          <a:ext cx="0" cy="0"/>
          <a:chOff x="0" y="0"/>
          <a:chExt cx="0" cy="0"/>
        </a:xfrm>
      </p:grpSpPr>
      <p:sp>
        <p:nvSpPr>
          <p:cNvPr id="939" name="Google Shape;939;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0" name="Google Shape;940;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 name="Google Shape;941;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2" name="Google Shape;942;p145"/>
          <p:cNvGrpSpPr/>
          <p:nvPr/>
        </p:nvGrpSpPr>
        <p:grpSpPr>
          <a:xfrm>
            <a:off x="7191542" y="1"/>
            <a:ext cx="5000459" cy="1425992"/>
            <a:chOff x="7191542" y="1"/>
            <a:chExt cx="5000459" cy="1425992"/>
          </a:xfrm>
        </p:grpSpPr>
        <p:pic>
          <p:nvPicPr>
            <p:cNvPr id="943" name="Google Shape;943;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4" name="Google Shape;944;p145"/>
            <p:cNvGrpSpPr/>
            <p:nvPr/>
          </p:nvGrpSpPr>
          <p:grpSpPr>
            <a:xfrm>
              <a:off x="7191542" y="1"/>
              <a:ext cx="5000459" cy="1425992"/>
              <a:chOff x="7186272" y="0"/>
              <a:chExt cx="5005729" cy="1427495"/>
            </a:xfrm>
          </p:grpSpPr>
          <p:sp>
            <p:nvSpPr>
              <p:cNvPr id="945" name="Google Shape;94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6" name="Google Shape;94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8935"/>
        <p:cNvGrpSpPr/>
        <p:nvPr/>
      </p:nvGrpSpPr>
      <p:grpSpPr>
        <a:xfrm>
          <a:off x="0" y="0"/>
          <a:ext cx="0" cy="0"/>
          <a:chOff x="0" y="0"/>
          <a:chExt cx="0" cy="0"/>
        </a:xfrm>
      </p:grpSpPr>
      <p:grpSp>
        <p:nvGrpSpPr>
          <p:cNvPr id="8936" name="Google Shape;8936;p1080"/>
          <p:cNvGrpSpPr/>
          <p:nvPr/>
        </p:nvGrpSpPr>
        <p:grpSpPr>
          <a:xfrm>
            <a:off x="7191542" y="1"/>
            <a:ext cx="5000459" cy="1425992"/>
            <a:chOff x="7191542" y="1"/>
            <a:chExt cx="5000459" cy="1425992"/>
          </a:xfrm>
        </p:grpSpPr>
        <p:pic>
          <p:nvPicPr>
            <p:cNvPr id="8937" name="Google Shape;8937;p10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38" name="Google Shape;8938;p1080"/>
            <p:cNvGrpSpPr/>
            <p:nvPr/>
          </p:nvGrpSpPr>
          <p:grpSpPr>
            <a:xfrm>
              <a:off x="7191542" y="1"/>
              <a:ext cx="5000459" cy="1425992"/>
              <a:chOff x="7186272" y="0"/>
              <a:chExt cx="5005729" cy="1427495"/>
            </a:xfrm>
          </p:grpSpPr>
          <p:sp>
            <p:nvSpPr>
              <p:cNvPr id="8939" name="Google Shape;8939;p10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40" name="Google Shape;8940;p10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41" name="Google Shape;8941;p10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42" name="Google Shape;8942;p10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43" name="Google Shape;8943;p10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44" name="Google Shape;8944;p10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8945"/>
        <p:cNvGrpSpPr/>
        <p:nvPr/>
      </p:nvGrpSpPr>
      <p:grpSpPr>
        <a:xfrm>
          <a:off x="0" y="0"/>
          <a:ext cx="0" cy="0"/>
          <a:chOff x="0" y="0"/>
          <a:chExt cx="0" cy="0"/>
        </a:xfrm>
      </p:grpSpPr>
      <p:grpSp>
        <p:nvGrpSpPr>
          <p:cNvPr id="8946" name="Google Shape;8946;p1081"/>
          <p:cNvGrpSpPr/>
          <p:nvPr/>
        </p:nvGrpSpPr>
        <p:grpSpPr>
          <a:xfrm>
            <a:off x="0" y="0"/>
            <a:ext cx="12192000" cy="2148830"/>
            <a:chOff x="0" y="0"/>
            <a:chExt cx="12192000" cy="2148830"/>
          </a:xfrm>
        </p:grpSpPr>
        <p:sp>
          <p:nvSpPr>
            <p:cNvPr id="8947" name="Google Shape;8947;p108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48" name="Google Shape;8948;p108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949" name="Google Shape;8949;p108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50" name="Google Shape;8950;p108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51" name="Google Shape;8951;p108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952" name="Google Shape;8952;p108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953" name="Google Shape;8953;p108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8954"/>
        <p:cNvGrpSpPr/>
        <p:nvPr/>
      </p:nvGrpSpPr>
      <p:grpSpPr>
        <a:xfrm>
          <a:off x="0" y="0"/>
          <a:ext cx="0" cy="0"/>
          <a:chOff x="0" y="0"/>
          <a:chExt cx="0" cy="0"/>
        </a:xfrm>
      </p:grpSpPr>
      <p:sp>
        <p:nvSpPr>
          <p:cNvPr id="8955" name="Google Shape;8955;p10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56" name="Google Shape;8956;p10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7" name="Google Shape;8957;p10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958" name="Google Shape;8958;p1082"/>
          <p:cNvGrpSpPr/>
          <p:nvPr/>
        </p:nvGrpSpPr>
        <p:grpSpPr>
          <a:xfrm>
            <a:off x="7191542" y="1"/>
            <a:ext cx="5000459" cy="1425992"/>
            <a:chOff x="7191542" y="1"/>
            <a:chExt cx="5000459" cy="1425992"/>
          </a:xfrm>
        </p:grpSpPr>
        <p:pic>
          <p:nvPicPr>
            <p:cNvPr id="8959" name="Google Shape;8959;p10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60" name="Google Shape;8960;p1082"/>
            <p:cNvGrpSpPr/>
            <p:nvPr/>
          </p:nvGrpSpPr>
          <p:grpSpPr>
            <a:xfrm>
              <a:off x="7191542" y="1"/>
              <a:ext cx="5000459" cy="1425992"/>
              <a:chOff x="7186272" y="0"/>
              <a:chExt cx="5005729" cy="1427495"/>
            </a:xfrm>
          </p:grpSpPr>
          <p:sp>
            <p:nvSpPr>
              <p:cNvPr id="8961" name="Google Shape;8961;p10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62" name="Google Shape;8962;p10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Quotation">
  <p:cSld name="Quotation 18 3">
    <p:spTree>
      <p:nvGrpSpPr>
        <p:cNvPr id="1" name="Shape 8963"/>
        <p:cNvGrpSpPr/>
        <p:nvPr/>
      </p:nvGrpSpPr>
      <p:grpSpPr>
        <a:xfrm>
          <a:off x="0" y="0"/>
          <a:ext cx="0" cy="0"/>
          <a:chOff x="0" y="0"/>
          <a:chExt cx="0" cy="0"/>
        </a:xfrm>
      </p:grpSpPr>
      <p:sp>
        <p:nvSpPr>
          <p:cNvPr id="8964" name="Google Shape;8964;p10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65" name="Google Shape;8965;p10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66" name="Google Shape;8966;p10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67" name="Google Shape;8967;p10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68" name="Google Shape;8968;p10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69" name="Google Shape;8969;p10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8970" name="Google Shape;8970;p1083"/>
          <p:cNvGrpSpPr/>
          <p:nvPr/>
        </p:nvGrpSpPr>
        <p:grpSpPr>
          <a:xfrm>
            <a:off x="7191542" y="1"/>
            <a:ext cx="5000459" cy="1425992"/>
            <a:chOff x="7191542" y="1"/>
            <a:chExt cx="5000459" cy="1425992"/>
          </a:xfrm>
        </p:grpSpPr>
        <p:pic>
          <p:nvPicPr>
            <p:cNvPr id="8971" name="Google Shape;8971;p10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2" name="Google Shape;8972;p1083"/>
            <p:cNvGrpSpPr/>
            <p:nvPr/>
          </p:nvGrpSpPr>
          <p:grpSpPr>
            <a:xfrm>
              <a:off x="7191542" y="1"/>
              <a:ext cx="5000459" cy="1425992"/>
              <a:chOff x="7186272" y="0"/>
              <a:chExt cx="5005729" cy="1427495"/>
            </a:xfrm>
          </p:grpSpPr>
          <p:sp>
            <p:nvSpPr>
              <p:cNvPr id="8973" name="Google Shape;8973;p10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74" name="Google Shape;8974;p10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75" name="Google Shape;8975;p10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Two Content">
  <p:cSld name="Two Content 12 2">
    <p:spTree>
      <p:nvGrpSpPr>
        <p:cNvPr id="1" name="Shape 8976"/>
        <p:cNvGrpSpPr/>
        <p:nvPr/>
      </p:nvGrpSpPr>
      <p:grpSpPr>
        <a:xfrm>
          <a:off x="0" y="0"/>
          <a:ext cx="0" cy="0"/>
          <a:chOff x="0" y="0"/>
          <a:chExt cx="0" cy="0"/>
        </a:xfrm>
      </p:grpSpPr>
      <p:sp>
        <p:nvSpPr>
          <p:cNvPr id="8977" name="Google Shape;8977;p10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8" name="Google Shape;8978;p10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79" name="Google Shape;8979;p1084"/>
          <p:cNvGrpSpPr/>
          <p:nvPr/>
        </p:nvGrpSpPr>
        <p:grpSpPr>
          <a:xfrm>
            <a:off x="7191542" y="1"/>
            <a:ext cx="5000459" cy="1425992"/>
            <a:chOff x="7191542" y="1"/>
            <a:chExt cx="5000459" cy="1425992"/>
          </a:xfrm>
        </p:grpSpPr>
        <p:pic>
          <p:nvPicPr>
            <p:cNvPr id="8980" name="Google Shape;8980;p10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1" name="Google Shape;8981;p1084"/>
            <p:cNvGrpSpPr/>
            <p:nvPr/>
          </p:nvGrpSpPr>
          <p:grpSpPr>
            <a:xfrm>
              <a:off x="7191542" y="1"/>
              <a:ext cx="5000459" cy="1425992"/>
              <a:chOff x="7186272" y="0"/>
              <a:chExt cx="5005729" cy="1427495"/>
            </a:xfrm>
          </p:grpSpPr>
          <p:sp>
            <p:nvSpPr>
              <p:cNvPr id="8982" name="Google Shape;8982;p10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83" name="Google Shape;8983;p10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84" name="Google Shape;8984;p10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85" name="Google Shape;8985;p10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86" name="Google Shape;8986;p10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87" name="Google Shape;8987;p10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Comparison">
  <p:cSld name="Comparison 11 2">
    <p:spTree>
      <p:nvGrpSpPr>
        <p:cNvPr id="1" name="Shape 8988"/>
        <p:cNvGrpSpPr/>
        <p:nvPr/>
      </p:nvGrpSpPr>
      <p:grpSpPr>
        <a:xfrm>
          <a:off x="0" y="0"/>
          <a:ext cx="0" cy="0"/>
          <a:chOff x="0" y="0"/>
          <a:chExt cx="0" cy="0"/>
        </a:xfrm>
      </p:grpSpPr>
      <p:grpSp>
        <p:nvGrpSpPr>
          <p:cNvPr id="8989" name="Google Shape;8989;p1085"/>
          <p:cNvGrpSpPr/>
          <p:nvPr/>
        </p:nvGrpSpPr>
        <p:grpSpPr>
          <a:xfrm>
            <a:off x="7191542" y="1"/>
            <a:ext cx="5000459" cy="1425992"/>
            <a:chOff x="7191542" y="1"/>
            <a:chExt cx="5000459" cy="1425992"/>
          </a:xfrm>
        </p:grpSpPr>
        <p:pic>
          <p:nvPicPr>
            <p:cNvPr id="8990" name="Google Shape;8990;p10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91" name="Google Shape;8991;p1085"/>
            <p:cNvGrpSpPr/>
            <p:nvPr/>
          </p:nvGrpSpPr>
          <p:grpSpPr>
            <a:xfrm>
              <a:off x="7191542" y="1"/>
              <a:ext cx="5000459" cy="1425992"/>
              <a:chOff x="7186272" y="0"/>
              <a:chExt cx="5005729" cy="1427495"/>
            </a:xfrm>
          </p:grpSpPr>
          <p:sp>
            <p:nvSpPr>
              <p:cNvPr id="8992" name="Google Shape;8992;p10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93" name="Google Shape;8993;p10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994" name="Google Shape;8994;p10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95" name="Google Shape;8995;p10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96" name="Google Shape;8996;p10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97" name="Google Shape;8997;p10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998" name="Google Shape;8998;p10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99" name="Google Shape;8999;p10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00" name="Google Shape;9000;p10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01" name="Google Shape;9001;p10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Title Only">
  <p:cSld name="Title Only 11 2">
    <p:spTree>
      <p:nvGrpSpPr>
        <p:cNvPr id="1" name="Shape 9002"/>
        <p:cNvGrpSpPr/>
        <p:nvPr/>
      </p:nvGrpSpPr>
      <p:grpSpPr>
        <a:xfrm>
          <a:off x="0" y="0"/>
          <a:ext cx="0" cy="0"/>
          <a:chOff x="0" y="0"/>
          <a:chExt cx="0" cy="0"/>
        </a:xfrm>
      </p:grpSpPr>
      <p:grpSp>
        <p:nvGrpSpPr>
          <p:cNvPr id="9003" name="Google Shape;9003;p1086"/>
          <p:cNvGrpSpPr/>
          <p:nvPr/>
        </p:nvGrpSpPr>
        <p:grpSpPr>
          <a:xfrm>
            <a:off x="7191542" y="1"/>
            <a:ext cx="5000459" cy="1425992"/>
            <a:chOff x="7191542" y="1"/>
            <a:chExt cx="5000459" cy="1425992"/>
          </a:xfrm>
        </p:grpSpPr>
        <p:pic>
          <p:nvPicPr>
            <p:cNvPr id="9004" name="Google Shape;9004;p10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5" name="Google Shape;9005;p1086"/>
            <p:cNvGrpSpPr/>
            <p:nvPr/>
          </p:nvGrpSpPr>
          <p:grpSpPr>
            <a:xfrm>
              <a:off x="7191542" y="1"/>
              <a:ext cx="5000459" cy="1425992"/>
              <a:chOff x="7186272" y="0"/>
              <a:chExt cx="5005729" cy="1427495"/>
            </a:xfrm>
          </p:grpSpPr>
          <p:sp>
            <p:nvSpPr>
              <p:cNvPr id="9006" name="Google Shape;9006;p10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07" name="Google Shape;9007;p10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08" name="Google Shape;9008;p10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09" name="Google Shape;9009;p10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10" name="Google Shape;9010;p10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11" name="Google Shape;9011;p10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End">
  <p:cSld name="End 12 2">
    <p:spTree>
      <p:nvGrpSpPr>
        <p:cNvPr id="1" name="Shape 9012"/>
        <p:cNvGrpSpPr/>
        <p:nvPr/>
      </p:nvGrpSpPr>
      <p:grpSpPr>
        <a:xfrm>
          <a:off x="0" y="0"/>
          <a:ext cx="0" cy="0"/>
          <a:chOff x="0" y="0"/>
          <a:chExt cx="0" cy="0"/>
        </a:xfrm>
      </p:grpSpPr>
      <p:grpSp>
        <p:nvGrpSpPr>
          <p:cNvPr id="9013" name="Google Shape;9013;p1087"/>
          <p:cNvGrpSpPr/>
          <p:nvPr/>
        </p:nvGrpSpPr>
        <p:grpSpPr>
          <a:xfrm>
            <a:off x="0" y="0"/>
            <a:ext cx="12192000" cy="2148830"/>
            <a:chOff x="0" y="0"/>
            <a:chExt cx="12192000" cy="2148830"/>
          </a:xfrm>
        </p:grpSpPr>
        <p:sp>
          <p:nvSpPr>
            <p:cNvPr id="9014" name="Google Shape;9014;p10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15" name="Google Shape;9015;p10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016" name="Google Shape;9016;p10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17" name="Google Shape;9017;p10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18" name="Google Shape;9018;p10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019" name="Google Shape;9019;p10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20" name="Google Shape;9020;p108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Blank">
  <p:cSld name="Blank 11 2">
    <p:spTree>
      <p:nvGrpSpPr>
        <p:cNvPr id="1" name="Shape 9021"/>
        <p:cNvGrpSpPr/>
        <p:nvPr/>
      </p:nvGrpSpPr>
      <p:grpSpPr>
        <a:xfrm>
          <a:off x="0" y="0"/>
          <a:ext cx="0" cy="0"/>
          <a:chOff x="0" y="0"/>
          <a:chExt cx="0" cy="0"/>
        </a:xfrm>
      </p:grpSpPr>
      <p:sp>
        <p:nvSpPr>
          <p:cNvPr id="9022" name="Google Shape;9022;p10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23" name="Google Shape;9023;p10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24" name="Google Shape;9024;p10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025" name="Google Shape;9025;p1088"/>
          <p:cNvGrpSpPr/>
          <p:nvPr/>
        </p:nvGrpSpPr>
        <p:grpSpPr>
          <a:xfrm>
            <a:off x="7191542" y="1"/>
            <a:ext cx="5000459" cy="1425992"/>
            <a:chOff x="7191542" y="1"/>
            <a:chExt cx="5000459" cy="1425992"/>
          </a:xfrm>
        </p:grpSpPr>
        <p:pic>
          <p:nvPicPr>
            <p:cNvPr id="9026" name="Google Shape;9026;p10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27" name="Google Shape;9027;p1088"/>
            <p:cNvGrpSpPr/>
            <p:nvPr/>
          </p:nvGrpSpPr>
          <p:grpSpPr>
            <a:xfrm>
              <a:off x="7191542" y="1"/>
              <a:ext cx="5000459" cy="1425992"/>
              <a:chOff x="7186272" y="0"/>
              <a:chExt cx="5005729" cy="1427495"/>
            </a:xfrm>
          </p:grpSpPr>
          <p:sp>
            <p:nvSpPr>
              <p:cNvPr id="9028" name="Google Shape;9028;p10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9" name="Google Shape;9029;p10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4_Quotation">
  <p:cSld name="4_Quotation 2 3">
    <p:spTree>
      <p:nvGrpSpPr>
        <p:cNvPr id="1" name="Shape 9030"/>
        <p:cNvGrpSpPr/>
        <p:nvPr/>
      </p:nvGrpSpPr>
      <p:grpSpPr>
        <a:xfrm>
          <a:off x="0" y="0"/>
          <a:ext cx="0" cy="0"/>
          <a:chOff x="0" y="0"/>
          <a:chExt cx="0" cy="0"/>
        </a:xfrm>
      </p:grpSpPr>
      <p:sp>
        <p:nvSpPr>
          <p:cNvPr id="9031" name="Google Shape;9031;p10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32" name="Google Shape;9032;p10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33" name="Google Shape;9033;p10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34" name="Google Shape;9034;p10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35" name="Google Shape;9035;p10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36" name="Google Shape;9036;p10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037" name="Google Shape;9037;p1089"/>
          <p:cNvGrpSpPr/>
          <p:nvPr/>
        </p:nvGrpSpPr>
        <p:grpSpPr>
          <a:xfrm>
            <a:off x="7191542" y="1"/>
            <a:ext cx="5000459" cy="1425992"/>
            <a:chOff x="7191542" y="1"/>
            <a:chExt cx="5000459" cy="1425992"/>
          </a:xfrm>
        </p:grpSpPr>
        <p:pic>
          <p:nvPicPr>
            <p:cNvPr id="9038" name="Google Shape;9038;p10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39" name="Google Shape;9039;p1089"/>
            <p:cNvGrpSpPr/>
            <p:nvPr/>
          </p:nvGrpSpPr>
          <p:grpSpPr>
            <a:xfrm>
              <a:off x="7191542" y="1"/>
              <a:ext cx="5000459" cy="1425992"/>
              <a:chOff x="7186272" y="0"/>
              <a:chExt cx="5005729" cy="1427495"/>
            </a:xfrm>
          </p:grpSpPr>
          <p:sp>
            <p:nvSpPr>
              <p:cNvPr id="9040" name="Google Shape;9040;p10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41" name="Google Shape;9041;p10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42" name="Google Shape;9042;p10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47"/>
        <p:cNvGrpSpPr/>
        <p:nvPr/>
      </p:nvGrpSpPr>
      <p:grpSpPr>
        <a:xfrm>
          <a:off x="0" y="0"/>
          <a:ext cx="0" cy="0"/>
          <a:chOff x="0" y="0"/>
          <a:chExt cx="0" cy="0"/>
        </a:xfrm>
      </p:grpSpPr>
      <p:grpSp>
        <p:nvGrpSpPr>
          <p:cNvPr id="948" name="Google Shape;948;p146"/>
          <p:cNvGrpSpPr/>
          <p:nvPr/>
        </p:nvGrpSpPr>
        <p:grpSpPr>
          <a:xfrm>
            <a:off x="7191542" y="1"/>
            <a:ext cx="5000459" cy="1425992"/>
            <a:chOff x="7191542" y="1"/>
            <a:chExt cx="5000459" cy="1425992"/>
          </a:xfrm>
        </p:grpSpPr>
        <p:pic>
          <p:nvPicPr>
            <p:cNvPr id="949" name="Google Shape;949;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146"/>
            <p:cNvGrpSpPr/>
            <p:nvPr/>
          </p:nvGrpSpPr>
          <p:grpSpPr>
            <a:xfrm>
              <a:off x="7191542" y="1"/>
              <a:ext cx="5000459" cy="1425992"/>
              <a:chOff x="7186272" y="0"/>
              <a:chExt cx="5005729" cy="1427495"/>
            </a:xfrm>
          </p:grpSpPr>
          <p:sp>
            <p:nvSpPr>
              <p:cNvPr id="951" name="Google Shape;951;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2" name="Google Shape;952;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3" name="Google Shape;953;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4" name="Google Shape;95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5" name="Google Shape;95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6" name="Google Shape;95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Cover">
  <p:cSld name="Cover 14 2">
    <p:spTree>
      <p:nvGrpSpPr>
        <p:cNvPr id="1" name="Shape 9043"/>
        <p:cNvGrpSpPr/>
        <p:nvPr/>
      </p:nvGrpSpPr>
      <p:grpSpPr>
        <a:xfrm>
          <a:off x="0" y="0"/>
          <a:ext cx="0" cy="0"/>
          <a:chOff x="0" y="0"/>
          <a:chExt cx="0" cy="0"/>
        </a:xfrm>
      </p:grpSpPr>
      <p:sp>
        <p:nvSpPr>
          <p:cNvPr id="9044" name="Google Shape;9044;p10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45" name="Google Shape;9045;p10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46" name="Google Shape;9046;p10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047" name="Google Shape;9047;p1090"/>
          <p:cNvSpPr>
            <a:spLocks noGrp="1"/>
          </p:cNvSpPr>
          <p:nvPr>
            <p:ph type="pic" idx="2"/>
          </p:nvPr>
        </p:nvSpPr>
        <p:spPr>
          <a:xfrm>
            <a:off x="7118684" y="233915"/>
            <a:ext cx="5073316" cy="5943600"/>
          </a:xfrm>
          <a:prstGeom prst="rect">
            <a:avLst/>
          </a:prstGeom>
          <a:noFill/>
          <a:ln>
            <a:noFill/>
          </a:ln>
        </p:spPr>
      </p:sp>
      <p:grpSp>
        <p:nvGrpSpPr>
          <p:cNvPr id="9048" name="Google Shape;9048;p1090"/>
          <p:cNvGrpSpPr/>
          <p:nvPr/>
        </p:nvGrpSpPr>
        <p:grpSpPr>
          <a:xfrm>
            <a:off x="0" y="5020348"/>
            <a:ext cx="12192000" cy="1837653"/>
            <a:chOff x="0" y="5020348"/>
            <a:chExt cx="12192000" cy="1837653"/>
          </a:xfrm>
        </p:grpSpPr>
        <p:sp>
          <p:nvSpPr>
            <p:cNvPr id="9049" name="Google Shape;9049;p10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50" name="Google Shape;9050;p10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051" name="Google Shape;9051;p10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Divider">
  <p:cSld name="Divider 15 2">
    <p:bg>
      <p:bgPr>
        <a:solidFill>
          <a:schemeClr val="lt2"/>
        </a:solidFill>
        <a:effectLst/>
      </p:bgPr>
    </p:bg>
    <p:spTree>
      <p:nvGrpSpPr>
        <p:cNvPr id="1" name="Shape 9052"/>
        <p:cNvGrpSpPr/>
        <p:nvPr/>
      </p:nvGrpSpPr>
      <p:grpSpPr>
        <a:xfrm>
          <a:off x="0" y="0"/>
          <a:ext cx="0" cy="0"/>
          <a:chOff x="0" y="0"/>
          <a:chExt cx="0" cy="0"/>
        </a:xfrm>
      </p:grpSpPr>
      <p:grpSp>
        <p:nvGrpSpPr>
          <p:cNvPr id="9053" name="Google Shape;9053;p1091"/>
          <p:cNvGrpSpPr/>
          <p:nvPr/>
        </p:nvGrpSpPr>
        <p:grpSpPr>
          <a:xfrm>
            <a:off x="0" y="5020347"/>
            <a:ext cx="12192000" cy="1837653"/>
            <a:chOff x="0" y="5020347"/>
            <a:chExt cx="12192000" cy="1837653"/>
          </a:xfrm>
        </p:grpSpPr>
        <p:sp>
          <p:nvSpPr>
            <p:cNvPr id="9054" name="Google Shape;9054;p10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55" name="Google Shape;9055;p10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56" name="Google Shape;9056;p10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057" name="Google Shape;9057;p10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058" name="Google Shape;9058;p10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59" name="Google Shape;9059;p10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Photo Slide">
  <p:cSld name="Photo Slide 14 2">
    <p:spTree>
      <p:nvGrpSpPr>
        <p:cNvPr id="1" name="Shape 9060"/>
        <p:cNvGrpSpPr/>
        <p:nvPr/>
      </p:nvGrpSpPr>
      <p:grpSpPr>
        <a:xfrm>
          <a:off x="0" y="0"/>
          <a:ext cx="0" cy="0"/>
          <a:chOff x="0" y="0"/>
          <a:chExt cx="0" cy="0"/>
        </a:xfrm>
      </p:grpSpPr>
      <p:sp>
        <p:nvSpPr>
          <p:cNvPr id="9061" name="Google Shape;9061;p109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062" name="Google Shape;9062;p10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063" name="Google Shape;9063;p1092"/>
          <p:cNvGrpSpPr/>
          <p:nvPr/>
        </p:nvGrpSpPr>
        <p:grpSpPr>
          <a:xfrm>
            <a:off x="0" y="5379426"/>
            <a:ext cx="2807368" cy="753891"/>
            <a:chOff x="0" y="5379426"/>
            <a:chExt cx="2807368" cy="753891"/>
          </a:xfrm>
        </p:grpSpPr>
        <p:sp>
          <p:nvSpPr>
            <p:cNvPr id="9064" name="Google Shape;9064;p10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65" name="Google Shape;9065;p10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066" name="Google Shape;9066;p1092"/>
          <p:cNvSpPr>
            <a:spLocks noGrp="1"/>
          </p:cNvSpPr>
          <p:nvPr>
            <p:ph type="pic" idx="2"/>
          </p:nvPr>
        </p:nvSpPr>
        <p:spPr>
          <a:xfrm>
            <a:off x="2807368" y="457202"/>
            <a:ext cx="8915400" cy="5943598"/>
          </a:xfrm>
          <a:prstGeom prst="rect">
            <a:avLst/>
          </a:prstGeom>
          <a:noFill/>
          <a:ln>
            <a:noFill/>
          </a:ln>
        </p:spPr>
      </p:sp>
      <p:pic>
        <p:nvPicPr>
          <p:cNvPr id="9067" name="Google Shape;9067;p109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Quotation">
  <p:cSld name="Quotation 19 2">
    <p:spTree>
      <p:nvGrpSpPr>
        <p:cNvPr id="1" name="Shape 9068"/>
        <p:cNvGrpSpPr/>
        <p:nvPr/>
      </p:nvGrpSpPr>
      <p:grpSpPr>
        <a:xfrm>
          <a:off x="0" y="0"/>
          <a:ext cx="0" cy="0"/>
          <a:chOff x="0" y="0"/>
          <a:chExt cx="0" cy="0"/>
        </a:xfrm>
      </p:grpSpPr>
      <p:sp>
        <p:nvSpPr>
          <p:cNvPr id="9069" name="Google Shape;9069;p10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70" name="Google Shape;9070;p10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71" name="Google Shape;9071;p10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2" name="Google Shape;9072;p10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73" name="Google Shape;9073;p10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74" name="Google Shape;9074;p10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075" name="Google Shape;9075;p1093"/>
          <p:cNvGrpSpPr/>
          <p:nvPr/>
        </p:nvGrpSpPr>
        <p:grpSpPr>
          <a:xfrm>
            <a:off x="7191542" y="1"/>
            <a:ext cx="5000459" cy="1425992"/>
            <a:chOff x="7191542" y="1"/>
            <a:chExt cx="5000459" cy="1425992"/>
          </a:xfrm>
        </p:grpSpPr>
        <p:pic>
          <p:nvPicPr>
            <p:cNvPr id="9076" name="Google Shape;9076;p10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77" name="Google Shape;9077;p1093"/>
            <p:cNvGrpSpPr/>
            <p:nvPr/>
          </p:nvGrpSpPr>
          <p:grpSpPr>
            <a:xfrm>
              <a:off x="7191542" y="1"/>
              <a:ext cx="5000459" cy="1425992"/>
              <a:chOff x="7186272" y="0"/>
              <a:chExt cx="5005729" cy="1427495"/>
            </a:xfrm>
          </p:grpSpPr>
          <p:sp>
            <p:nvSpPr>
              <p:cNvPr id="9078" name="Google Shape;9078;p10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79" name="Google Shape;9079;p10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80" name="Google Shape;9080;p109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Quotation">
  <p:cSld name="Quotation 20 2">
    <p:spTree>
      <p:nvGrpSpPr>
        <p:cNvPr id="1" name="Shape 9081"/>
        <p:cNvGrpSpPr/>
        <p:nvPr/>
      </p:nvGrpSpPr>
      <p:grpSpPr>
        <a:xfrm>
          <a:off x="0" y="0"/>
          <a:ext cx="0" cy="0"/>
          <a:chOff x="0" y="0"/>
          <a:chExt cx="0" cy="0"/>
        </a:xfrm>
      </p:grpSpPr>
      <p:sp>
        <p:nvSpPr>
          <p:cNvPr id="9082" name="Google Shape;9082;p10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83" name="Google Shape;9083;p10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084" name="Google Shape;9084;p10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85" name="Google Shape;9085;p10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86" name="Google Shape;9086;p10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87" name="Google Shape;9087;p10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088" name="Google Shape;9088;p1094"/>
          <p:cNvGrpSpPr/>
          <p:nvPr/>
        </p:nvGrpSpPr>
        <p:grpSpPr>
          <a:xfrm>
            <a:off x="7191542" y="1"/>
            <a:ext cx="5000459" cy="1425992"/>
            <a:chOff x="7191542" y="1"/>
            <a:chExt cx="5000459" cy="1425992"/>
          </a:xfrm>
        </p:grpSpPr>
        <p:pic>
          <p:nvPicPr>
            <p:cNvPr id="9089" name="Google Shape;9089;p10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90" name="Google Shape;9090;p1094"/>
            <p:cNvGrpSpPr/>
            <p:nvPr/>
          </p:nvGrpSpPr>
          <p:grpSpPr>
            <a:xfrm>
              <a:off x="7191542" y="1"/>
              <a:ext cx="5000459" cy="1425992"/>
              <a:chOff x="7186272" y="0"/>
              <a:chExt cx="5005729" cy="1427495"/>
            </a:xfrm>
          </p:grpSpPr>
          <p:sp>
            <p:nvSpPr>
              <p:cNvPr id="9091" name="Google Shape;9091;p10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92" name="Google Shape;9092;p10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93" name="Google Shape;9093;p10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Title and Content">
  <p:cSld name="Title and Content 15 2">
    <p:spTree>
      <p:nvGrpSpPr>
        <p:cNvPr id="1" name="Shape 9094"/>
        <p:cNvGrpSpPr/>
        <p:nvPr/>
      </p:nvGrpSpPr>
      <p:grpSpPr>
        <a:xfrm>
          <a:off x="0" y="0"/>
          <a:ext cx="0" cy="0"/>
          <a:chOff x="0" y="0"/>
          <a:chExt cx="0" cy="0"/>
        </a:xfrm>
      </p:grpSpPr>
      <p:grpSp>
        <p:nvGrpSpPr>
          <p:cNvPr id="9095" name="Google Shape;9095;p1095"/>
          <p:cNvGrpSpPr/>
          <p:nvPr/>
        </p:nvGrpSpPr>
        <p:grpSpPr>
          <a:xfrm>
            <a:off x="7191542" y="1"/>
            <a:ext cx="5000459" cy="1425992"/>
            <a:chOff x="7191542" y="1"/>
            <a:chExt cx="5000459" cy="1425992"/>
          </a:xfrm>
        </p:grpSpPr>
        <p:pic>
          <p:nvPicPr>
            <p:cNvPr id="9096" name="Google Shape;9096;p10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97" name="Google Shape;9097;p1095"/>
            <p:cNvGrpSpPr/>
            <p:nvPr/>
          </p:nvGrpSpPr>
          <p:grpSpPr>
            <a:xfrm>
              <a:off x="7191542" y="1"/>
              <a:ext cx="5000459" cy="1425992"/>
              <a:chOff x="7186272" y="0"/>
              <a:chExt cx="5005729" cy="1427495"/>
            </a:xfrm>
          </p:grpSpPr>
          <p:sp>
            <p:nvSpPr>
              <p:cNvPr id="9098" name="Google Shape;9098;p10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99" name="Google Shape;9099;p10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00" name="Google Shape;9100;p10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1" name="Google Shape;9101;p10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02" name="Google Shape;9102;p10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03" name="Google Shape;9103;p10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4" name="Google Shape;9104;p10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Two Content">
  <p:cSld name="Two Content 13 2">
    <p:spTree>
      <p:nvGrpSpPr>
        <p:cNvPr id="1" name="Shape 9105"/>
        <p:cNvGrpSpPr/>
        <p:nvPr/>
      </p:nvGrpSpPr>
      <p:grpSpPr>
        <a:xfrm>
          <a:off x="0" y="0"/>
          <a:ext cx="0" cy="0"/>
          <a:chOff x="0" y="0"/>
          <a:chExt cx="0" cy="0"/>
        </a:xfrm>
      </p:grpSpPr>
      <p:sp>
        <p:nvSpPr>
          <p:cNvPr id="9106" name="Google Shape;9106;p10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7" name="Google Shape;9107;p10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108" name="Google Shape;9108;p1096"/>
          <p:cNvGrpSpPr/>
          <p:nvPr/>
        </p:nvGrpSpPr>
        <p:grpSpPr>
          <a:xfrm>
            <a:off x="7191542" y="1"/>
            <a:ext cx="5000459" cy="1425992"/>
            <a:chOff x="7191542" y="1"/>
            <a:chExt cx="5000459" cy="1425992"/>
          </a:xfrm>
        </p:grpSpPr>
        <p:pic>
          <p:nvPicPr>
            <p:cNvPr id="9109" name="Google Shape;9109;p10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10" name="Google Shape;9110;p1096"/>
            <p:cNvGrpSpPr/>
            <p:nvPr/>
          </p:nvGrpSpPr>
          <p:grpSpPr>
            <a:xfrm>
              <a:off x="7191542" y="1"/>
              <a:ext cx="5000459" cy="1425992"/>
              <a:chOff x="7186272" y="0"/>
              <a:chExt cx="5005729" cy="1427495"/>
            </a:xfrm>
          </p:grpSpPr>
          <p:sp>
            <p:nvSpPr>
              <p:cNvPr id="9111" name="Google Shape;9111;p10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12" name="Google Shape;9112;p10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13" name="Google Shape;9113;p10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14" name="Google Shape;9114;p10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15" name="Google Shape;9115;p10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16" name="Google Shape;9116;p10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Comparison">
  <p:cSld name="Comparison 12 2">
    <p:spTree>
      <p:nvGrpSpPr>
        <p:cNvPr id="1" name="Shape 9117"/>
        <p:cNvGrpSpPr/>
        <p:nvPr/>
      </p:nvGrpSpPr>
      <p:grpSpPr>
        <a:xfrm>
          <a:off x="0" y="0"/>
          <a:ext cx="0" cy="0"/>
          <a:chOff x="0" y="0"/>
          <a:chExt cx="0" cy="0"/>
        </a:xfrm>
      </p:grpSpPr>
      <p:grpSp>
        <p:nvGrpSpPr>
          <p:cNvPr id="9118" name="Google Shape;9118;p1097"/>
          <p:cNvGrpSpPr/>
          <p:nvPr/>
        </p:nvGrpSpPr>
        <p:grpSpPr>
          <a:xfrm>
            <a:off x="7191542" y="1"/>
            <a:ext cx="5000459" cy="1425992"/>
            <a:chOff x="7191542" y="1"/>
            <a:chExt cx="5000459" cy="1425992"/>
          </a:xfrm>
        </p:grpSpPr>
        <p:pic>
          <p:nvPicPr>
            <p:cNvPr id="9119" name="Google Shape;9119;p10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20" name="Google Shape;9120;p1097"/>
            <p:cNvGrpSpPr/>
            <p:nvPr/>
          </p:nvGrpSpPr>
          <p:grpSpPr>
            <a:xfrm>
              <a:off x="7191542" y="1"/>
              <a:ext cx="5000459" cy="1425992"/>
              <a:chOff x="7186272" y="0"/>
              <a:chExt cx="5005729" cy="1427495"/>
            </a:xfrm>
          </p:grpSpPr>
          <p:sp>
            <p:nvSpPr>
              <p:cNvPr id="9121" name="Google Shape;9121;p10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2" name="Google Shape;9122;p10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23" name="Google Shape;9123;p10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24" name="Google Shape;9124;p10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25" name="Google Shape;9125;p10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26" name="Google Shape;9126;p10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27" name="Google Shape;9127;p10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28" name="Google Shape;9128;p10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29" name="Google Shape;9129;p10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30" name="Google Shape;9130;p10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Title Only">
  <p:cSld name="Title Only 12 2">
    <p:spTree>
      <p:nvGrpSpPr>
        <p:cNvPr id="1" name="Shape 9131"/>
        <p:cNvGrpSpPr/>
        <p:nvPr/>
      </p:nvGrpSpPr>
      <p:grpSpPr>
        <a:xfrm>
          <a:off x="0" y="0"/>
          <a:ext cx="0" cy="0"/>
          <a:chOff x="0" y="0"/>
          <a:chExt cx="0" cy="0"/>
        </a:xfrm>
      </p:grpSpPr>
      <p:grpSp>
        <p:nvGrpSpPr>
          <p:cNvPr id="9132" name="Google Shape;9132;p1098"/>
          <p:cNvGrpSpPr/>
          <p:nvPr/>
        </p:nvGrpSpPr>
        <p:grpSpPr>
          <a:xfrm>
            <a:off x="7191542" y="1"/>
            <a:ext cx="5000459" cy="1425992"/>
            <a:chOff x="7191542" y="1"/>
            <a:chExt cx="5000459" cy="1425992"/>
          </a:xfrm>
        </p:grpSpPr>
        <p:pic>
          <p:nvPicPr>
            <p:cNvPr id="9133" name="Google Shape;9133;p10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34" name="Google Shape;9134;p1098"/>
            <p:cNvGrpSpPr/>
            <p:nvPr/>
          </p:nvGrpSpPr>
          <p:grpSpPr>
            <a:xfrm>
              <a:off x="7191542" y="1"/>
              <a:ext cx="5000459" cy="1425992"/>
              <a:chOff x="7186272" y="0"/>
              <a:chExt cx="5005729" cy="1427495"/>
            </a:xfrm>
          </p:grpSpPr>
          <p:sp>
            <p:nvSpPr>
              <p:cNvPr id="9135" name="Google Shape;9135;p10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36" name="Google Shape;9136;p10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7" name="Google Shape;9137;p10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38" name="Google Shape;9138;p10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39" name="Google Shape;9139;p10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40" name="Google Shape;9140;p10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End">
  <p:cSld name="End 13 2">
    <p:spTree>
      <p:nvGrpSpPr>
        <p:cNvPr id="1" name="Shape 9141"/>
        <p:cNvGrpSpPr/>
        <p:nvPr/>
      </p:nvGrpSpPr>
      <p:grpSpPr>
        <a:xfrm>
          <a:off x="0" y="0"/>
          <a:ext cx="0" cy="0"/>
          <a:chOff x="0" y="0"/>
          <a:chExt cx="0" cy="0"/>
        </a:xfrm>
      </p:grpSpPr>
      <p:grpSp>
        <p:nvGrpSpPr>
          <p:cNvPr id="9142" name="Google Shape;9142;p1099"/>
          <p:cNvGrpSpPr/>
          <p:nvPr/>
        </p:nvGrpSpPr>
        <p:grpSpPr>
          <a:xfrm>
            <a:off x="0" y="0"/>
            <a:ext cx="12192000" cy="2148830"/>
            <a:chOff x="0" y="0"/>
            <a:chExt cx="12192000" cy="2148830"/>
          </a:xfrm>
        </p:grpSpPr>
        <p:sp>
          <p:nvSpPr>
            <p:cNvPr id="9143" name="Google Shape;9143;p10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44" name="Google Shape;9144;p10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145" name="Google Shape;9145;p10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46" name="Google Shape;9146;p10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47" name="Google Shape;9147;p10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148" name="Google Shape;9148;p10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149" name="Google Shape;9149;p10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100"/>
        <p:cNvGrpSpPr/>
        <p:nvPr/>
      </p:nvGrpSpPr>
      <p:grpSpPr>
        <a:xfrm>
          <a:off x="0" y="0"/>
          <a:ext cx="0" cy="0"/>
          <a:chOff x="0" y="0"/>
          <a:chExt cx="0" cy="0"/>
        </a:xfrm>
      </p:grpSpPr>
      <p:grpSp>
        <p:nvGrpSpPr>
          <p:cNvPr id="101" name="Google Shape;101;p59"/>
          <p:cNvGrpSpPr/>
          <p:nvPr/>
        </p:nvGrpSpPr>
        <p:grpSpPr>
          <a:xfrm>
            <a:off x="7191542" y="1"/>
            <a:ext cx="5000459" cy="1425992"/>
            <a:chOff x="7191542" y="1"/>
            <a:chExt cx="5000459" cy="1425992"/>
          </a:xfrm>
        </p:grpSpPr>
        <p:pic>
          <p:nvPicPr>
            <p:cNvPr id="102" name="Google Shape;102;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 name="Google Shape;103;p59"/>
            <p:cNvGrpSpPr/>
            <p:nvPr/>
          </p:nvGrpSpPr>
          <p:grpSpPr>
            <a:xfrm>
              <a:off x="7191542" y="1"/>
              <a:ext cx="5000459" cy="1425992"/>
              <a:chOff x="7186272" y="0"/>
              <a:chExt cx="5005729" cy="1427495"/>
            </a:xfrm>
          </p:grpSpPr>
          <p:sp>
            <p:nvSpPr>
              <p:cNvPr id="104" name="Google Shape;104;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 name="Google Shape;105;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 name="Google Shape;106;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 name="Google Shape;107;p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 name="Google Shape;10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 name="Google Shape;10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 name="Google Shape;11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57"/>
        <p:cNvGrpSpPr/>
        <p:nvPr/>
      </p:nvGrpSpPr>
      <p:grpSpPr>
        <a:xfrm>
          <a:off x="0" y="0"/>
          <a:ext cx="0" cy="0"/>
          <a:chOff x="0" y="0"/>
          <a:chExt cx="0" cy="0"/>
        </a:xfrm>
      </p:grpSpPr>
      <p:sp>
        <p:nvSpPr>
          <p:cNvPr id="958" name="Google Shape;958;p1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9" name="Google Shape;959;p1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 name="Google Shape;960;p1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1" name="Google Shape;961;p147"/>
          <p:cNvSpPr>
            <a:spLocks noGrp="1"/>
          </p:cNvSpPr>
          <p:nvPr>
            <p:ph type="pic" idx="2"/>
          </p:nvPr>
        </p:nvSpPr>
        <p:spPr>
          <a:xfrm>
            <a:off x="7118684" y="233915"/>
            <a:ext cx="5073316" cy="5943600"/>
          </a:xfrm>
          <a:prstGeom prst="rect">
            <a:avLst/>
          </a:prstGeom>
          <a:noFill/>
          <a:ln>
            <a:noFill/>
          </a:ln>
        </p:spPr>
      </p:sp>
      <p:grpSp>
        <p:nvGrpSpPr>
          <p:cNvPr id="962" name="Google Shape;962;p147"/>
          <p:cNvGrpSpPr/>
          <p:nvPr/>
        </p:nvGrpSpPr>
        <p:grpSpPr>
          <a:xfrm>
            <a:off x="0" y="5020348"/>
            <a:ext cx="12192000" cy="1837653"/>
            <a:chOff x="0" y="5020348"/>
            <a:chExt cx="12192000" cy="1837653"/>
          </a:xfrm>
        </p:grpSpPr>
        <p:sp>
          <p:nvSpPr>
            <p:cNvPr id="963" name="Google Shape;963;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65" name="Google Shape;965;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Blank">
  <p:cSld name="Blank 12 2">
    <p:spTree>
      <p:nvGrpSpPr>
        <p:cNvPr id="1" name="Shape 9150"/>
        <p:cNvGrpSpPr/>
        <p:nvPr/>
      </p:nvGrpSpPr>
      <p:grpSpPr>
        <a:xfrm>
          <a:off x="0" y="0"/>
          <a:ext cx="0" cy="0"/>
          <a:chOff x="0" y="0"/>
          <a:chExt cx="0" cy="0"/>
        </a:xfrm>
      </p:grpSpPr>
      <p:sp>
        <p:nvSpPr>
          <p:cNvPr id="9151" name="Google Shape;9151;p1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52" name="Google Shape;9152;p1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53" name="Google Shape;9153;p1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154" name="Google Shape;9154;p1100"/>
          <p:cNvGrpSpPr/>
          <p:nvPr/>
        </p:nvGrpSpPr>
        <p:grpSpPr>
          <a:xfrm>
            <a:off x="7191542" y="1"/>
            <a:ext cx="5000459" cy="1425992"/>
            <a:chOff x="7191542" y="1"/>
            <a:chExt cx="5000459" cy="1425992"/>
          </a:xfrm>
        </p:grpSpPr>
        <p:pic>
          <p:nvPicPr>
            <p:cNvPr id="9155" name="Google Shape;9155;p1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56" name="Google Shape;9156;p1100"/>
            <p:cNvGrpSpPr/>
            <p:nvPr/>
          </p:nvGrpSpPr>
          <p:grpSpPr>
            <a:xfrm>
              <a:off x="7191542" y="1"/>
              <a:ext cx="5000459" cy="1425992"/>
              <a:chOff x="7186272" y="0"/>
              <a:chExt cx="5005729" cy="1427495"/>
            </a:xfrm>
          </p:grpSpPr>
          <p:sp>
            <p:nvSpPr>
              <p:cNvPr id="9157" name="Google Shape;9157;p1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58" name="Google Shape;9158;p1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Quotation">
  <p:cSld name="Quotation 18 4">
    <p:spTree>
      <p:nvGrpSpPr>
        <p:cNvPr id="1" name="Shape 9159"/>
        <p:cNvGrpSpPr/>
        <p:nvPr/>
      </p:nvGrpSpPr>
      <p:grpSpPr>
        <a:xfrm>
          <a:off x="0" y="0"/>
          <a:ext cx="0" cy="0"/>
          <a:chOff x="0" y="0"/>
          <a:chExt cx="0" cy="0"/>
        </a:xfrm>
      </p:grpSpPr>
      <p:sp>
        <p:nvSpPr>
          <p:cNvPr id="9160" name="Google Shape;9160;p1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61" name="Google Shape;9161;p1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62" name="Google Shape;9162;p1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3" name="Google Shape;9163;p1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64" name="Google Shape;9164;p1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65" name="Google Shape;9165;p1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166" name="Google Shape;9166;p1101"/>
          <p:cNvGrpSpPr/>
          <p:nvPr/>
        </p:nvGrpSpPr>
        <p:grpSpPr>
          <a:xfrm>
            <a:off x="7191542" y="1"/>
            <a:ext cx="5000459" cy="1425992"/>
            <a:chOff x="7191542" y="1"/>
            <a:chExt cx="5000459" cy="1425992"/>
          </a:xfrm>
        </p:grpSpPr>
        <p:pic>
          <p:nvPicPr>
            <p:cNvPr id="9167" name="Google Shape;9167;p1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68" name="Google Shape;9168;p1101"/>
            <p:cNvGrpSpPr/>
            <p:nvPr/>
          </p:nvGrpSpPr>
          <p:grpSpPr>
            <a:xfrm>
              <a:off x="7191542" y="1"/>
              <a:ext cx="5000459" cy="1425992"/>
              <a:chOff x="7186272" y="0"/>
              <a:chExt cx="5005729" cy="1427495"/>
            </a:xfrm>
          </p:grpSpPr>
          <p:sp>
            <p:nvSpPr>
              <p:cNvPr id="9169" name="Google Shape;9169;p1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70" name="Google Shape;9170;p1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171" name="Google Shape;9171;p1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Two Content">
  <p:cSld name="Two Content 12 3">
    <p:spTree>
      <p:nvGrpSpPr>
        <p:cNvPr id="1" name="Shape 9172"/>
        <p:cNvGrpSpPr/>
        <p:nvPr/>
      </p:nvGrpSpPr>
      <p:grpSpPr>
        <a:xfrm>
          <a:off x="0" y="0"/>
          <a:ext cx="0" cy="0"/>
          <a:chOff x="0" y="0"/>
          <a:chExt cx="0" cy="0"/>
        </a:xfrm>
      </p:grpSpPr>
      <p:sp>
        <p:nvSpPr>
          <p:cNvPr id="9173" name="Google Shape;9173;p1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4" name="Google Shape;9174;p1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175" name="Google Shape;9175;p1102"/>
          <p:cNvGrpSpPr/>
          <p:nvPr/>
        </p:nvGrpSpPr>
        <p:grpSpPr>
          <a:xfrm>
            <a:off x="7191542" y="1"/>
            <a:ext cx="5000459" cy="1425992"/>
            <a:chOff x="7191542" y="1"/>
            <a:chExt cx="5000459" cy="1425992"/>
          </a:xfrm>
        </p:grpSpPr>
        <p:pic>
          <p:nvPicPr>
            <p:cNvPr id="9176" name="Google Shape;9176;p1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77" name="Google Shape;9177;p1102"/>
            <p:cNvGrpSpPr/>
            <p:nvPr/>
          </p:nvGrpSpPr>
          <p:grpSpPr>
            <a:xfrm>
              <a:off x="7191542" y="1"/>
              <a:ext cx="5000459" cy="1425992"/>
              <a:chOff x="7186272" y="0"/>
              <a:chExt cx="5005729" cy="1427495"/>
            </a:xfrm>
          </p:grpSpPr>
          <p:sp>
            <p:nvSpPr>
              <p:cNvPr id="9178" name="Google Shape;9178;p1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79" name="Google Shape;9179;p1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80" name="Google Shape;9180;p1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1" name="Google Shape;9181;p1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82" name="Google Shape;9182;p1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83" name="Google Shape;9183;p1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Comparison">
  <p:cSld name="Comparison 11 3">
    <p:spTree>
      <p:nvGrpSpPr>
        <p:cNvPr id="1" name="Shape 9184"/>
        <p:cNvGrpSpPr/>
        <p:nvPr/>
      </p:nvGrpSpPr>
      <p:grpSpPr>
        <a:xfrm>
          <a:off x="0" y="0"/>
          <a:ext cx="0" cy="0"/>
          <a:chOff x="0" y="0"/>
          <a:chExt cx="0" cy="0"/>
        </a:xfrm>
      </p:grpSpPr>
      <p:grpSp>
        <p:nvGrpSpPr>
          <p:cNvPr id="9185" name="Google Shape;9185;p1103"/>
          <p:cNvGrpSpPr/>
          <p:nvPr/>
        </p:nvGrpSpPr>
        <p:grpSpPr>
          <a:xfrm>
            <a:off x="7191542" y="1"/>
            <a:ext cx="5000459" cy="1425992"/>
            <a:chOff x="7191542" y="1"/>
            <a:chExt cx="5000459" cy="1425992"/>
          </a:xfrm>
        </p:grpSpPr>
        <p:pic>
          <p:nvPicPr>
            <p:cNvPr id="9186" name="Google Shape;9186;p1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87" name="Google Shape;9187;p1103"/>
            <p:cNvGrpSpPr/>
            <p:nvPr/>
          </p:nvGrpSpPr>
          <p:grpSpPr>
            <a:xfrm>
              <a:off x="7191542" y="1"/>
              <a:ext cx="5000459" cy="1425992"/>
              <a:chOff x="7186272" y="0"/>
              <a:chExt cx="5005729" cy="1427495"/>
            </a:xfrm>
          </p:grpSpPr>
          <p:sp>
            <p:nvSpPr>
              <p:cNvPr id="9188" name="Google Shape;9188;p1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89" name="Google Shape;9189;p1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90" name="Google Shape;9190;p1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91" name="Google Shape;9191;p1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2" name="Google Shape;9192;p1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93" name="Google Shape;9193;p1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94" name="Google Shape;9194;p1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95" name="Google Shape;9195;p1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6" name="Google Shape;9196;p1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97" name="Google Shape;9197;p1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Title Only">
  <p:cSld name="Title Only 11 3">
    <p:spTree>
      <p:nvGrpSpPr>
        <p:cNvPr id="1" name="Shape 9198"/>
        <p:cNvGrpSpPr/>
        <p:nvPr/>
      </p:nvGrpSpPr>
      <p:grpSpPr>
        <a:xfrm>
          <a:off x="0" y="0"/>
          <a:ext cx="0" cy="0"/>
          <a:chOff x="0" y="0"/>
          <a:chExt cx="0" cy="0"/>
        </a:xfrm>
      </p:grpSpPr>
      <p:grpSp>
        <p:nvGrpSpPr>
          <p:cNvPr id="9199" name="Google Shape;9199;p1104"/>
          <p:cNvGrpSpPr/>
          <p:nvPr/>
        </p:nvGrpSpPr>
        <p:grpSpPr>
          <a:xfrm>
            <a:off x="7191542" y="1"/>
            <a:ext cx="5000459" cy="1425992"/>
            <a:chOff x="7191542" y="1"/>
            <a:chExt cx="5000459" cy="1425992"/>
          </a:xfrm>
        </p:grpSpPr>
        <p:pic>
          <p:nvPicPr>
            <p:cNvPr id="9200" name="Google Shape;9200;p1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01" name="Google Shape;9201;p1104"/>
            <p:cNvGrpSpPr/>
            <p:nvPr/>
          </p:nvGrpSpPr>
          <p:grpSpPr>
            <a:xfrm>
              <a:off x="7191542" y="1"/>
              <a:ext cx="5000459" cy="1425992"/>
              <a:chOff x="7186272" y="0"/>
              <a:chExt cx="5005729" cy="1427495"/>
            </a:xfrm>
          </p:grpSpPr>
          <p:sp>
            <p:nvSpPr>
              <p:cNvPr id="9202" name="Google Shape;9202;p1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03" name="Google Shape;9203;p1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04" name="Google Shape;9204;p1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05" name="Google Shape;9205;p1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06" name="Google Shape;9206;p1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7" name="Google Shape;9207;p1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End">
  <p:cSld name="End 12 3">
    <p:spTree>
      <p:nvGrpSpPr>
        <p:cNvPr id="1" name="Shape 9208"/>
        <p:cNvGrpSpPr/>
        <p:nvPr/>
      </p:nvGrpSpPr>
      <p:grpSpPr>
        <a:xfrm>
          <a:off x="0" y="0"/>
          <a:ext cx="0" cy="0"/>
          <a:chOff x="0" y="0"/>
          <a:chExt cx="0" cy="0"/>
        </a:xfrm>
      </p:grpSpPr>
      <p:grpSp>
        <p:nvGrpSpPr>
          <p:cNvPr id="9209" name="Google Shape;9209;p1105"/>
          <p:cNvGrpSpPr/>
          <p:nvPr/>
        </p:nvGrpSpPr>
        <p:grpSpPr>
          <a:xfrm>
            <a:off x="0" y="0"/>
            <a:ext cx="12192000" cy="2148830"/>
            <a:chOff x="0" y="0"/>
            <a:chExt cx="12192000" cy="2148830"/>
          </a:xfrm>
        </p:grpSpPr>
        <p:sp>
          <p:nvSpPr>
            <p:cNvPr id="9210" name="Google Shape;9210;p1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11" name="Google Shape;9211;p1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212" name="Google Shape;9212;p1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13" name="Google Shape;9213;p1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14" name="Google Shape;9214;p1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215" name="Google Shape;9215;p1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216" name="Google Shape;9216;p1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Blank">
  <p:cSld name="Blank 11 3">
    <p:spTree>
      <p:nvGrpSpPr>
        <p:cNvPr id="1" name="Shape 9217"/>
        <p:cNvGrpSpPr/>
        <p:nvPr/>
      </p:nvGrpSpPr>
      <p:grpSpPr>
        <a:xfrm>
          <a:off x="0" y="0"/>
          <a:ext cx="0" cy="0"/>
          <a:chOff x="0" y="0"/>
          <a:chExt cx="0" cy="0"/>
        </a:xfrm>
      </p:grpSpPr>
      <p:sp>
        <p:nvSpPr>
          <p:cNvPr id="9218" name="Google Shape;9218;p1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19" name="Google Shape;9219;p1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20" name="Google Shape;9220;p1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221" name="Google Shape;9221;p1106"/>
          <p:cNvGrpSpPr/>
          <p:nvPr/>
        </p:nvGrpSpPr>
        <p:grpSpPr>
          <a:xfrm>
            <a:off x="7191542" y="1"/>
            <a:ext cx="5000459" cy="1425992"/>
            <a:chOff x="7191542" y="1"/>
            <a:chExt cx="5000459" cy="1425992"/>
          </a:xfrm>
        </p:grpSpPr>
        <p:pic>
          <p:nvPicPr>
            <p:cNvPr id="9222" name="Google Shape;9222;p1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23" name="Google Shape;9223;p1106"/>
            <p:cNvGrpSpPr/>
            <p:nvPr/>
          </p:nvGrpSpPr>
          <p:grpSpPr>
            <a:xfrm>
              <a:off x="7191542" y="1"/>
              <a:ext cx="5000459" cy="1425992"/>
              <a:chOff x="7186272" y="0"/>
              <a:chExt cx="5005729" cy="1427495"/>
            </a:xfrm>
          </p:grpSpPr>
          <p:sp>
            <p:nvSpPr>
              <p:cNvPr id="9224" name="Google Shape;9224;p1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25" name="Google Shape;9225;p1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4_Quotation">
  <p:cSld name="4_Quotation 2 4">
    <p:spTree>
      <p:nvGrpSpPr>
        <p:cNvPr id="1" name="Shape 9226"/>
        <p:cNvGrpSpPr/>
        <p:nvPr/>
      </p:nvGrpSpPr>
      <p:grpSpPr>
        <a:xfrm>
          <a:off x="0" y="0"/>
          <a:ext cx="0" cy="0"/>
          <a:chOff x="0" y="0"/>
          <a:chExt cx="0" cy="0"/>
        </a:xfrm>
      </p:grpSpPr>
      <p:sp>
        <p:nvSpPr>
          <p:cNvPr id="9227" name="Google Shape;9227;p13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28" name="Google Shape;9228;p13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29" name="Google Shape;9229;p13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30" name="Google Shape;9230;p13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1" name="Google Shape;9231;p13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32" name="Google Shape;9232;p13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233" name="Google Shape;9233;p1310"/>
          <p:cNvGrpSpPr/>
          <p:nvPr/>
        </p:nvGrpSpPr>
        <p:grpSpPr>
          <a:xfrm>
            <a:off x="7191542" y="1"/>
            <a:ext cx="5000459" cy="1425992"/>
            <a:chOff x="7191542" y="1"/>
            <a:chExt cx="5000459" cy="1425992"/>
          </a:xfrm>
        </p:grpSpPr>
        <p:pic>
          <p:nvPicPr>
            <p:cNvPr id="9234" name="Google Shape;9234;p13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5" name="Google Shape;9235;p1310"/>
            <p:cNvGrpSpPr/>
            <p:nvPr/>
          </p:nvGrpSpPr>
          <p:grpSpPr>
            <a:xfrm>
              <a:off x="7191542" y="1"/>
              <a:ext cx="5000459" cy="1425992"/>
              <a:chOff x="7186272" y="0"/>
              <a:chExt cx="5005729" cy="1427495"/>
            </a:xfrm>
          </p:grpSpPr>
          <p:sp>
            <p:nvSpPr>
              <p:cNvPr id="9236" name="Google Shape;9236;p13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37" name="Google Shape;9237;p13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38" name="Google Shape;9238;p13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Cover">
  <p:cSld name="Cover 14 3">
    <p:spTree>
      <p:nvGrpSpPr>
        <p:cNvPr id="1" name="Shape 9239"/>
        <p:cNvGrpSpPr/>
        <p:nvPr/>
      </p:nvGrpSpPr>
      <p:grpSpPr>
        <a:xfrm>
          <a:off x="0" y="0"/>
          <a:ext cx="0" cy="0"/>
          <a:chOff x="0" y="0"/>
          <a:chExt cx="0" cy="0"/>
        </a:xfrm>
      </p:grpSpPr>
      <p:sp>
        <p:nvSpPr>
          <p:cNvPr id="9240" name="Google Shape;9240;p11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41" name="Google Shape;9241;p11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42" name="Google Shape;9242;p11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43" name="Google Shape;9243;p1108"/>
          <p:cNvSpPr>
            <a:spLocks noGrp="1"/>
          </p:cNvSpPr>
          <p:nvPr>
            <p:ph type="pic" idx="2"/>
          </p:nvPr>
        </p:nvSpPr>
        <p:spPr>
          <a:xfrm>
            <a:off x="7118684" y="233915"/>
            <a:ext cx="5073316" cy="5943600"/>
          </a:xfrm>
          <a:prstGeom prst="rect">
            <a:avLst/>
          </a:prstGeom>
          <a:noFill/>
          <a:ln>
            <a:noFill/>
          </a:ln>
        </p:spPr>
      </p:sp>
      <p:grpSp>
        <p:nvGrpSpPr>
          <p:cNvPr id="9244" name="Google Shape;9244;p1108"/>
          <p:cNvGrpSpPr/>
          <p:nvPr/>
        </p:nvGrpSpPr>
        <p:grpSpPr>
          <a:xfrm>
            <a:off x="0" y="5020348"/>
            <a:ext cx="12192000" cy="1837653"/>
            <a:chOff x="0" y="5020348"/>
            <a:chExt cx="12192000" cy="1837653"/>
          </a:xfrm>
        </p:grpSpPr>
        <p:sp>
          <p:nvSpPr>
            <p:cNvPr id="9245" name="Google Shape;9245;p1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46" name="Google Shape;9246;p11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47" name="Google Shape;9247;p1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Divider">
  <p:cSld name="Divider 15 3">
    <p:bg>
      <p:bgPr>
        <a:solidFill>
          <a:schemeClr val="lt2"/>
        </a:solidFill>
        <a:effectLst/>
      </p:bgPr>
    </p:bg>
    <p:spTree>
      <p:nvGrpSpPr>
        <p:cNvPr id="1" name="Shape 9248"/>
        <p:cNvGrpSpPr/>
        <p:nvPr/>
      </p:nvGrpSpPr>
      <p:grpSpPr>
        <a:xfrm>
          <a:off x="0" y="0"/>
          <a:ext cx="0" cy="0"/>
          <a:chOff x="0" y="0"/>
          <a:chExt cx="0" cy="0"/>
        </a:xfrm>
      </p:grpSpPr>
      <p:grpSp>
        <p:nvGrpSpPr>
          <p:cNvPr id="9249" name="Google Shape;9249;p1109"/>
          <p:cNvGrpSpPr/>
          <p:nvPr/>
        </p:nvGrpSpPr>
        <p:grpSpPr>
          <a:xfrm>
            <a:off x="0" y="5020347"/>
            <a:ext cx="12192000" cy="1837653"/>
            <a:chOff x="0" y="5020347"/>
            <a:chExt cx="12192000" cy="1837653"/>
          </a:xfrm>
        </p:grpSpPr>
        <p:sp>
          <p:nvSpPr>
            <p:cNvPr id="9250" name="Google Shape;9250;p11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51" name="Google Shape;9251;p1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52" name="Google Shape;9252;p11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253" name="Google Shape;9253;p1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254" name="Google Shape;9254;p11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55" name="Google Shape;9255;p11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966"/>
        <p:cNvGrpSpPr/>
        <p:nvPr/>
      </p:nvGrpSpPr>
      <p:grpSpPr>
        <a:xfrm>
          <a:off x="0" y="0"/>
          <a:ext cx="0" cy="0"/>
          <a:chOff x="0" y="0"/>
          <a:chExt cx="0" cy="0"/>
        </a:xfrm>
      </p:grpSpPr>
      <p:grpSp>
        <p:nvGrpSpPr>
          <p:cNvPr id="967" name="Google Shape;967;p1212"/>
          <p:cNvGrpSpPr/>
          <p:nvPr/>
        </p:nvGrpSpPr>
        <p:grpSpPr>
          <a:xfrm>
            <a:off x="0" y="5020347"/>
            <a:ext cx="12192000" cy="1837653"/>
            <a:chOff x="0" y="5020347"/>
            <a:chExt cx="12192000" cy="1837653"/>
          </a:xfrm>
        </p:grpSpPr>
        <p:sp>
          <p:nvSpPr>
            <p:cNvPr id="968" name="Google Shape;968;p121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9" name="Google Shape;969;p121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0" name="Google Shape;970;p121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71" name="Google Shape;971;p121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2" name="Google Shape;972;p121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3" name="Google Shape;973;p121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Photo Slide">
  <p:cSld name="Photo Slide 14 3">
    <p:spTree>
      <p:nvGrpSpPr>
        <p:cNvPr id="1" name="Shape 9256"/>
        <p:cNvGrpSpPr/>
        <p:nvPr/>
      </p:nvGrpSpPr>
      <p:grpSpPr>
        <a:xfrm>
          <a:off x="0" y="0"/>
          <a:ext cx="0" cy="0"/>
          <a:chOff x="0" y="0"/>
          <a:chExt cx="0" cy="0"/>
        </a:xfrm>
      </p:grpSpPr>
      <p:sp>
        <p:nvSpPr>
          <p:cNvPr id="9257" name="Google Shape;9257;p11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258" name="Google Shape;9258;p11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259" name="Google Shape;9259;p1110"/>
          <p:cNvGrpSpPr/>
          <p:nvPr/>
        </p:nvGrpSpPr>
        <p:grpSpPr>
          <a:xfrm>
            <a:off x="0" y="5379426"/>
            <a:ext cx="2807368" cy="753891"/>
            <a:chOff x="0" y="5379426"/>
            <a:chExt cx="2807368" cy="753891"/>
          </a:xfrm>
        </p:grpSpPr>
        <p:sp>
          <p:nvSpPr>
            <p:cNvPr id="9260" name="Google Shape;9260;p11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61" name="Google Shape;9261;p11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62" name="Google Shape;9262;p1110"/>
          <p:cNvSpPr>
            <a:spLocks noGrp="1"/>
          </p:cNvSpPr>
          <p:nvPr>
            <p:ph type="pic" idx="2"/>
          </p:nvPr>
        </p:nvSpPr>
        <p:spPr>
          <a:xfrm>
            <a:off x="2807368" y="457202"/>
            <a:ext cx="8915400" cy="5943598"/>
          </a:xfrm>
          <a:prstGeom prst="rect">
            <a:avLst/>
          </a:prstGeom>
          <a:noFill/>
          <a:ln>
            <a:noFill/>
          </a:ln>
        </p:spPr>
      </p:sp>
      <p:pic>
        <p:nvPicPr>
          <p:cNvPr id="9263" name="Google Shape;9263;p11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Quotation">
  <p:cSld name="Quotation 19 3">
    <p:spTree>
      <p:nvGrpSpPr>
        <p:cNvPr id="1" name="Shape 9264"/>
        <p:cNvGrpSpPr/>
        <p:nvPr/>
      </p:nvGrpSpPr>
      <p:grpSpPr>
        <a:xfrm>
          <a:off x="0" y="0"/>
          <a:ext cx="0" cy="0"/>
          <a:chOff x="0" y="0"/>
          <a:chExt cx="0" cy="0"/>
        </a:xfrm>
      </p:grpSpPr>
      <p:sp>
        <p:nvSpPr>
          <p:cNvPr id="9265" name="Google Shape;9265;p1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66" name="Google Shape;9266;p1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7" name="Google Shape;9267;p1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68" name="Google Shape;9268;p1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69" name="Google Shape;9269;p1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70" name="Google Shape;9270;p1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271" name="Google Shape;9271;p1111"/>
          <p:cNvGrpSpPr/>
          <p:nvPr/>
        </p:nvGrpSpPr>
        <p:grpSpPr>
          <a:xfrm>
            <a:off x="7191542" y="1"/>
            <a:ext cx="5000459" cy="1425992"/>
            <a:chOff x="7191542" y="1"/>
            <a:chExt cx="5000459" cy="1425992"/>
          </a:xfrm>
        </p:grpSpPr>
        <p:pic>
          <p:nvPicPr>
            <p:cNvPr id="9272" name="Google Shape;9272;p1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73" name="Google Shape;9273;p1111"/>
            <p:cNvGrpSpPr/>
            <p:nvPr/>
          </p:nvGrpSpPr>
          <p:grpSpPr>
            <a:xfrm>
              <a:off x="7191542" y="1"/>
              <a:ext cx="5000459" cy="1425992"/>
              <a:chOff x="7186272" y="0"/>
              <a:chExt cx="5005729" cy="1427495"/>
            </a:xfrm>
          </p:grpSpPr>
          <p:sp>
            <p:nvSpPr>
              <p:cNvPr id="9274" name="Google Shape;9274;p1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75" name="Google Shape;9275;p1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76" name="Google Shape;9276;p1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Quotation">
  <p:cSld name="Quotation 20 3">
    <p:spTree>
      <p:nvGrpSpPr>
        <p:cNvPr id="1" name="Shape 9277"/>
        <p:cNvGrpSpPr/>
        <p:nvPr/>
      </p:nvGrpSpPr>
      <p:grpSpPr>
        <a:xfrm>
          <a:off x="0" y="0"/>
          <a:ext cx="0" cy="0"/>
          <a:chOff x="0" y="0"/>
          <a:chExt cx="0" cy="0"/>
        </a:xfrm>
      </p:grpSpPr>
      <p:sp>
        <p:nvSpPr>
          <p:cNvPr id="9278" name="Google Shape;9278;p11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279" name="Google Shape;9279;p11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0" name="Google Shape;9280;p11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81" name="Google Shape;9281;p1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82" name="Google Shape;9282;p1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3" name="Google Shape;9283;p1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284" name="Google Shape;9284;p1112"/>
          <p:cNvGrpSpPr/>
          <p:nvPr/>
        </p:nvGrpSpPr>
        <p:grpSpPr>
          <a:xfrm>
            <a:off x="7191542" y="1"/>
            <a:ext cx="5000459" cy="1425992"/>
            <a:chOff x="7191542" y="1"/>
            <a:chExt cx="5000459" cy="1425992"/>
          </a:xfrm>
        </p:grpSpPr>
        <p:pic>
          <p:nvPicPr>
            <p:cNvPr id="9285" name="Google Shape;9285;p1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86" name="Google Shape;9286;p1112"/>
            <p:cNvGrpSpPr/>
            <p:nvPr/>
          </p:nvGrpSpPr>
          <p:grpSpPr>
            <a:xfrm>
              <a:off x="7191542" y="1"/>
              <a:ext cx="5000459" cy="1425992"/>
              <a:chOff x="7186272" y="0"/>
              <a:chExt cx="5005729" cy="1427495"/>
            </a:xfrm>
          </p:grpSpPr>
          <p:sp>
            <p:nvSpPr>
              <p:cNvPr id="9287" name="Google Shape;9287;p1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88" name="Google Shape;9288;p1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89" name="Google Shape;9289;p11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Title and Content">
  <p:cSld name="Title and Content 15 3">
    <p:spTree>
      <p:nvGrpSpPr>
        <p:cNvPr id="1" name="Shape 9290"/>
        <p:cNvGrpSpPr/>
        <p:nvPr/>
      </p:nvGrpSpPr>
      <p:grpSpPr>
        <a:xfrm>
          <a:off x="0" y="0"/>
          <a:ext cx="0" cy="0"/>
          <a:chOff x="0" y="0"/>
          <a:chExt cx="0" cy="0"/>
        </a:xfrm>
      </p:grpSpPr>
      <p:grpSp>
        <p:nvGrpSpPr>
          <p:cNvPr id="9291" name="Google Shape;9291;p1113"/>
          <p:cNvGrpSpPr/>
          <p:nvPr/>
        </p:nvGrpSpPr>
        <p:grpSpPr>
          <a:xfrm>
            <a:off x="7191542" y="1"/>
            <a:ext cx="5000459" cy="1425992"/>
            <a:chOff x="7191542" y="1"/>
            <a:chExt cx="5000459" cy="1425992"/>
          </a:xfrm>
        </p:grpSpPr>
        <p:pic>
          <p:nvPicPr>
            <p:cNvPr id="9292" name="Google Shape;9292;p1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93" name="Google Shape;9293;p1113"/>
            <p:cNvGrpSpPr/>
            <p:nvPr/>
          </p:nvGrpSpPr>
          <p:grpSpPr>
            <a:xfrm>
              <a:off x="7191542" y="1"/>
              <a:ext cx="5000459" cy="1425992"/>
              <a:chOff x="7186272" y="0"/>
              <a:chExt cx="5005729" cy="1427495"/>
            </a:xfrm>
          </p:grpSpPr>
          <p:sp>
            <p:nvSpPr>
              <p:cNvPr id="9294" name="Google Shape;9294;p1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95" name="Google Shape;9295;p1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96" name="Google Shape;9296;p1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97" name="Google Shape;9297;p11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98" name="Google Shape;9298;p1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9" name="Google Shape;9299;p1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0" name="Google Shape;9300;p1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Two Content">
  <p:cSld name="Two Content 13 3">
    <p:spTree>
      <p:nvGrpSpPr>
        <p:cNvPr id="1" name="Shape 9301"/>
        <p:cNvGrpSpPr/>
        <p:nvPr/>
      </p:nvGrpSpPr>
      <p:grpSpPr>
        <a:xfrm>
          <a:off x="0" y="0"/>
          <a:ext cx="0" cy="0"/>
          <a:chOff x="0" y="0"/>
          <a:chExt cx="0" cy="0"/>
        </a:xfrm>
      </p:grpSpPr>
      <p:sp>
        <p:nvSpPr>
          <p:cNvPr id="9302" name="Google Shape;9302;p13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03" name="Google Shape;9303;p13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304" name="Google Shape;9304;p1311"/>
          <p:cNvGrpSpPr/>
          <p:nvPr/>
        </p:nvGrpSpPr>
        <p:grpSpPr>
          <a:xfrm>
            <a:off x="7191542" y="1"/>
            <a:ext cx="5000459" cy="1425992"/>
            <a:chOff x="7191542" y="1"/>
            <a:chExt cx="5000459" cy="1425992"/>
          </a:xfrm>
        </p:grpSpPr>
        <p:pic>
          <p:nvPicPr>
            <p:cNvPr id="9305" name="Google Shape;9305;p1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06" name="Google Shape;9306;p1311"/>
            <p:cNvGrpSpPr/>
            <p:nvPr/>
          </p:nvGrpSpPr>
          <p:grpSpPr>
            <a:xfrm>
              <a:off x="7191542" y="1"/>
              <a:ext cx="5000459" cy="1425992"/>
              <a:chOff x="7186272" y="0"/>
              <a:chExt cx="5005729" cy="1427495"/>
            </a:xfrm>
          </p:grpSpPr>
          <p:sp>
            <p:nvSpPr>
              <p:cNvPr id="9307" name="Google Shape;9307;p1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08" name="Google Shape;9308;p1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09" name="Google Shape;9309;p13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10" name="Google Shape;9310;p13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11" name="Google Shape;9311;p1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12" name="Google Shape;9312;p1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Comparison">
  <p:cSld name="Comparison 12 3">
    <p:spTree>
      <p:nvGrpSpPr>
        <p:cNvPr id="1" name="Shape 9313"/>
        <p:cNvGrpSpPr/>
        <p:nvPr/>
      </p:nvGrpSpPr>
      <p:grpSpPr>
        <a:xfrm>
          <a:off x="0" y="0"/>
          <a:ext cx="0" cy="0"/>
          <a:chOff x="0" y="0"/>
          <a:chExt cx="0" cy="0"/>
        </a:xfrm>
      </p:grpSpPr>
      <p:grpSp>
        <p:nvGrpSpPr>
          <p:cNvPr id="9314" name="Google Shape;9314;p1115"/>
          <p:cNvGrpSpPr/>
          <p:nvPr/>
        </p:nvGrpSpPr>
        <p:grpSpPr>
          <a:xfrm>
            <a:off x="7191542" y="1"/>
            <a:ext cx="5000459" cy="1425992"/>
            <a:chOff x="7191542" y="1"/>
            <a:chExt cx="5000459" cy="1425992"/>
          </a:xfrm>
        </p:grpSpPr>
        <p:pic>
          <p:nvPicPr>
            <p:cNvPr id="9315" name="Google Shape;9315;p11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16" name="Google Shape;9316;p1115"/>
            <p:cNvGrpSpPr/>
            <p:nvPr/>
          </p:nvGrpSpPr>
          <p:grpSpPr>
            <a:xfrm>
              <a:off x="7191542" y="1"/>
              <a:ext cx="5000459" cy="1425992"/>
              <a:chOff x="7186272" y="0"/>
              <a:chExt cx="5005729" cy="1427495"/>
            </a:xfrm>
          </p:grpSpPr>
          <p:sp>
            <p:nvSpPr>
              <p:cNvPr id="9317" name="Google Shape;9317;p11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18" name="Google Shape;9318;p11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19" name="Google Shape;9319;p11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0" name="Google Shape;9320;p11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21" name="Google Shape;9321;p11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2" name="Google Shape;9322;p11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323" name="Google Shape;9323;p11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24" name="Google Shape;9324;p1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25" name="Google Shape;9325;p11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26" name="Google Shape;9326;p1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Title Only">
  <p:cSld name="Title Only 12 3">
    <p:spTree>
      <p:nvGrpSpPr>
        <p:cNvPr id="1" name="Shape 9327"/>
        <p:cNvGrpSpPr/>
        <p:nvPr/>
      </p:nvGrpSpPr>
      <p:grpSpPr>
        <a:xfrm>
          <a:off x="0" y="0"/>
          <a:ext cx="0" cy="0"/>
          <a:chOff x="0" y="0"/>
          <a:chExt cx="0" cy="0"/>
        </a:xfrm>
      </p:grpSpPr>
      <p:grpSp>
        <p:nvGrpSpPr>
          <p:cNvPr id="9328" name="Google Shape;9328;p1116"/>
          <p:cNvGrpSpPr/>
          <p:nvPr/>
        </p:nvGrpSpPr>
        <p:grpSpPr>
          <a:xfrm>
            <a:off x="7191542" y="1"/>
            <a:ext cx="5000459" cy="1425992"/>
            <a:chOff x="7191542" y="1"/>
            <a:chExt cx="5000459" cy="1425992"/>
          </a:xfrm>
        </p:grpSpPr>
        <p:pic>
          <p:nvPicPr>
            <p:cNvPr id="9329" name="Google Shape;9329;p11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30" name="Google Shape;9330;p1116"/>
            <p:cNvGrpSpPr/>
            <p:nvPr/>
          </p:nvGrpSpPr>
          <p:grpSpPr>
            <a:xfrm>
              <a:off x="7191542" y="1"/>
              <a:ext cx="5000459" cy="1425992"/>
              <a:chOff x="7186272" y="0"/>
              <a:chExt cx="5005729" cy="1427495"/>
            </a:xfrm>
          </p:grpSpPr>
          <p:sp>
            <p:nvSpPr>
              <p:cNvPr id="9331" name="Google Shape;9331;p1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32" name="Google Shape;9332;p1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33" name="Google Shape;9333;p11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34" name="Google Shape;9334;p1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35" name="Google Shape;9335;p1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36" name="Google Shape;9336;p1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End">
  <p:cSld name="End 13 3">
    <p:spTree>
      <p:nvGrpSpPr>
        <p:cNvPr id="1" name="Shape 9337"/>
        <p:cNvGrpSpPr/>
        <p:nvPr/>
      </p:nvGrpSpPr>
      <p:grpSpPr>
        <a:xfrm>
          <a:off x="0" y="0"/>
          <a:ext cx="0" cy="0"/>
          <a:chOff x="0" y="0"/>
          <a:chExt cx="0" cy="0"/>
        </a:xfrm>
      </p:grpSpPr>
      <p:grpSp>
        <p:nvGrpSpPr>
          <p:cNvPr id="9338" name="Google Shape;9338;p1117"/>
          <p:cNvGrpSpPr/>
          <p:nvPr/>
        </p:nvGrpSpPr>
        <p:grpSpPr>
          <a:xfrm>
            <a:off x="0" y="0"/>
            <a:ext cx="12192000" cy="2148830"/>
            <a:chOff x="0" y="0"/>
            <a:chExt cx="12192000" cy="2148830"/>
          </a:xfrm>
        </p:grpSpPr>
        <p:sp>
          <p:nvSpPr>
            <p:cNvPr id="9339" name="Google Shape;9339;p11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0" name="Google Shape;9340;p11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41" name="Google Shape;9341;p11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42" name="Google Shape;9342;p11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43" name="Google Shape;9343;p11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44" name="Google Shape;9344;p11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45" name="Google Shape;9345;p11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Blank">
  <p:cSld name="Blank 12 3">
    <p:spTree>
      <p:nvGrpSpPr>
        <p:cNvPr id="1" name="Shape 9346"/>
        <p:cNvGrpSpPr/>
        <p:nvPr/>
      </p:nvGrpSpPr>
      <p:grpSpPr>
        <a:xfrm>
          <a:off x="0" y="0"/>
          <a:ext cx="0" cy="0"/>
          <a:chOff x="0" y="0"/>
          <a:chExt cx="0" cy="0"/>
        </a:xfrm>
      </p:grpSpPr>
      <p:sp>
        <p:nvSpPr>
          <p:cNvPr id="9347" name="Google Shape;9347;p1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48" name="Google Shape;9348;p1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49" name="Google Shape;9349;p1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350" name="Google Shape;9350;p1312"/>
          <p:cNvGrpSpPr/>
          <p:nvPr/>
        </p:nvGrpSpPr>
        <p:grpSpPr>
          <a:xfrm>
            <a:off x="7191542" y="1"/>
            <a:ext cx="5000459" cy="1425992"/>
            <a:chOff x="7191542" y="1"/>
            <a:chExt cx="5000459" cy="1425992"/>
          </a:xfrm>
        </p:grpSpPr>
        <p:pic>
          <p:nvPicPr>
            <p:cNvPr id="9351" name="Google Shape;9351;p1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52" name="Google Shape;9352;p1312"/>
            <p:cNvGrpSpPr/>
            <p:nvPr/>
          </p:nvGrpSpPr>
          <p:grpSpPr>
            <a:xfrm>
              <a:off x="7191542" y="1"/>
              <a:ext cx="5000459" cy="1425992"/>
              <a:chOff x="7186272" y="0"/>
              <a:chExt cx="5005729" cy="1427495"/>
            </a:xfrm>
          </p:grpSpPr>
          <p:sp>
            <p:nvSpPr>
              <p:cNvPr id="9353" name="Google Shape;9353;p1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54" name="Google Shape;9354;p1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showMasterSp="0" matchingName="Title Slide">
  <p:cSld name="Title Slide 2 2">
    <p:bg>
      <p:bgPr>
        <a:solidFill>
          <a:schemeClr val="lt1"/>
        </a:solidFill>
        <a:effectLst/>
      </p:bgPr>
    </p:bg>
    <p:spTree>
      <p:nvGrpSpPr>
        <p:cNvPr id="1" name="Shape 9355"/>
        <p:cNvGrpSpPr/>
        <p:nvPr/>
      </p:nvGrpSpPr>
      <p:grpSpPr>
        <a:xfrm>
          <a:off x="0" y="0"/>
          <a:ext cx="0" cy="0"/>
          <a:chOff x="0" y="0"/>
          <a:chExt cx="0" cy="0"/>
        </a:xfrm>
      </p:grpSpPr>
      <p:sp>
        <p:nvSpPr>
          <p:cNvPr id="9356" name="Google Shape;9356;p1119"/>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57" name="Google Shape;9357;p1119"/>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358" name="Google Shape;9358;p1119"/>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359" name="Google Shape;9359;p1119"/>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360" name="Google Shape;9360;p1119"/>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361" name="Google Shape;9361;p1119"/>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62" name="Google Shape;9362;p1119"/>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63" name="Google Shape;9363;p1119"/>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364" name="Google Shape;9364;p1119"/>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1400"/>
              <a:buFont typeface="Calibri"/>
              <a:buNone/>
              <a:defRPr>
                <a:solidFill>
                  <a:srgbClr val="919497"/>
                </a:solidFill>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9365" name="Google Shape;9365;p1119"/>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4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9366" name="Google Shape;9366;p1119"/>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74"/>
        <p:cNvGrpSpPr/>
        <p:nvPr/>
      </p:nvGrpSpPr>
      <p:grpSpPr>
        <a:xfrm>
          <a:off x="0" y="0"/>
          <a:ext cx="0" cy="0"/>
          <a:chOff x="0" y="0"/>
          <a:chExt cx="0" cy="0"/>
        </a:xfrm>
      </p:grpSpPr>
      <p:sp>
        <p:nvSpPr>
          <p:cNvPr id="975" name="Google Shape;975;p1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76" name="Google Shape;976;p1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77" name="Google Shape;977;p149"/>
          <p:cNvGrpSpPr/>
          <p:nvPr/>
        </p:nvGrpSpPr>
        <p:grpSpPr>
          <a:xfrm>
            <a:off x="0" y="5379426"/>
            <a:ext cx="2807368" cy="753891"/>
            <a:chOff x="0" y="5379426"/>
            <a:chExt cx="2807368" cy="753891"/>
          </a:xfrm>
        </p:grpSpPr>
        <p:sp>
          <p:nvSpPr>
            <p:cNvPr id="978" name="Google Shape;978;p1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9" name="Google Shape;979;p1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80" name="Google Shape;980;p149"/>
          <p:cNvSpPr>
            <a:spLocks noGrp="1"/>
          </p:cNvSpPr>
          <p:nvPr>
            <p:ph type="pic" idx="2"/>
          </p:nvPr>
        </p:nvSpPr>
        <p:spPr>
          <a:xfrm>
            <a:off x="2807368" y="457202"/>
            <a:ext cx="8915400" cy="5943598"/>
          </a:xfrm>
          <a:prstGeom prst="rect">
            <a:avLst/>
          </a:prstGeom>
          <a:noFill/>
          <a:ln>
            <a:noFill/>
          </a:ln>
        </p:spPr>
      </p:sp>
      <p:pic>
        <p:nvPicPr>
          <p:cNvPr id="981" name="Google Shape;981;p14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2_Quotation">
  <p:cSld name="2_Quotation 3 2">
    <p:spTree>
      <p:nvGrpSpPr>
        <p:cNvPr id="1" name="Shape 9367"/>
        <p:cNvGrpSpPr/>
        <p:nvPr/>
      </p:nvGrpSpPr>
      <p:grpSpPr>
        <a:xfrm>
          <a:off x="0" y="0"/>
          <a:ext cx="0" cy="0"/>
          <a:chOff x="0" y="0"/>
          <a:chExt cx="0" cy="0"/>
        </a:xfrm>
      </p:grpSpPr>
      <p:sp>
        <p:nvSpPr>
          <p:cNvPr id="9368" name="Google Shape;9368;p1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9" name="Google Shape;9369;p1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70" name="Google Shape;9370;p1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1" name="Google Shape;9371;p1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72" name="Google Shape;9372;p1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3" name="Google Shape;9373;p1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374" name="Google Shape;9374;p1313"/>
          <p:cNvGrpSpPr/>
          <p:nvPr/>
        </p:nvGrpSpPr>
        <p:grpSpPr>
          <a:xfrm>
            <a:off x="7191542" y="1"/>
            <a:ext cx="5000459" cy="1425992"/>
            <a:chOff x="7191542" y="1"/>
            <a:chExt cx="5000459" cy="1425992"/>
          </a:xfrm>
        </p:grpSpPr>
        <p:pic>
          <p:nvPicPr>
            <p:cNvPr id="9375" name="Google Shape;9375;p1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76" name="Google Shape;9376;p1313"/>
            <p:cNvGrpSpPr/>
            <p:nvPr/>
          </p:nvGrpSpPr>
          <p:grpSpPr>
            <a:xfrm>
              <a:off x="7191542" y="1"/>
              <a:ext cx="5000459" cy="1425992"/>
              <a:chOff x="7186272" y="0"/>
              <a:chExt cx="5005729" cy="1427495"/>
            </a:xfrm>
          </p:grpSpPr>
          <p:sp>
            <p:nvSpPr>
              <p:cNvPr id="9377" name="Google Shape;9377;p1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78" name="Google Shape;9378;p1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79" name="Google Shape;9379;p13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2_Quotation">
  <p:cSld name="2_Quotation 3 3">
    <p:spTree>
      <p:nvGrpSpPr>
        <p:cNvPr id="1" name="Shape 9380"/>
        <p:cNvGrpSpPr/>
        <p:nvPr/>
      </p:nvGrpSpPr>
      <p:grpSpPr>
        <a:xfrm>
          <a:off x="0" y="0"/>
          <a:ext cx="0" cy="0"/>
          <a:chOff x="0" y="0"/>
          <a:chExt cx="0" cy="0"/>
        </a:xfrm>
      </p:grpSpPr>
      <p:sp>
        <p:nvSpPr>
          <p:cNvPr id="9381" name="Google Shape;9381;p11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82" name="Google Shape;9382;p11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83" name="Google Shape;9383;p11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84" name="Google Shape;9384;p1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85" name="Google Shape;9385;p1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6" name="Google Shape;9386;p1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387" name="Google Shape;9387;p1121"/>
          <p:cNvGrpSpPr/>
          <p:nvPr/>
        </p:nvGrpSpPr>
        <p:grpSpPr>
          <a:xfrm>
            <a:off x="7191542" y="1"/>
            <a:ext cx="5000459" cy="1425992"/>
            <a:chOff x="7191542" y="1"/>
            <a:chExt cx="5000459" cy="1425992"/>
          </a:xfrm>
        </p:grpSpPr>
        <p:pic>
          <p:nvPicPr>
            <p:cNvPr id="9388" name="Google Shape;9388;p1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89" name="Google Shape;9389;p1121"/>
            <p:cNvGrpSpPr/>
            <p:nvPr/>
          </p:nvGrpSpPr>
          <p:grpSpPr>
            <a:xfrm>
              <a:off x="7191542" y="1"/>
              <a:ext cx="5000459" cy="1425992"/>
              <a:chOff x="7186272" y="0"/>
              <a:chExt cx="5005729" cy="1427495"/>
            </a:xfrm>
          </p:grpSpPr>
          <p:sp>
            <p:nvSpPr>
              <p:cNvPr id="9390" name="Google Shape;9390;p1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91" name="Google Shape;9391;p1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392" name="Google Shape;9392;p11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showMasterSp="0" matchingName="Title Slide">
  <p:cSld name="Title Slide 2 3">
    <p:bg>
      <p:bgPr>
        <a:solidFill>
          <a:schemeClr val="lt1"/>
        </a:solidFill>
        <a:effectLst/>
      </p:bgPr>
    </p:bg>
    <p:spTree>
      <p:nvGrpSpPr>
        <p:cNvPr id="1" name="Shape 9393"/>
        <p:cNvGrpSpPr/>
        <p:nvPr/>
      </p:nvGrpSpPr>
      <p:grpSpPr>
        <a:xfrm>
          <a:off x="0" y="0"/>
          <a:ext cx="0" cy="0"/>
          <a:chOff x="0" y="0"/>
          <a:chExt cx="0" cy="0"/>
        </a:xfrm>
      </p:grpSpPr>
      <p:sp>
        <p:nvSpPr>
          <p:cNvPr id="9394" name="Google Shape;9394;p112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95" name="Google Shape;9395;p112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396" name="Google Shape;9396;p112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397" name="Google Shape;9397;p112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398" name="Google Shape;9398;p112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399" name="Google Shape;9399;p112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00" name="Google Shape;9400;p112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01" name="Google Shape;9401;p112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402" name="Google Shape;9402;p112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Clr>
                <a:srgbClr val="919497"/>
              </a:buClr>
              <a:buSzPts val="1400"/>
              <a:buFont typeface="Calibri"/>
              <a:buNone/>
              <a:defRPr>
                <a:solidFill>
                  <a:srgbClr val="919497"/>
                </a:solidFill>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
        <p:nvSpPr>
          <p:cNvPr id="9403" name="Google Shape;9403;p112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919497"/>
              </a:buClr>
              <a:buSzPts val="1400"/>
              <a:buFont typeface="Calibri"/>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9404" name="Google Shape;9404;p112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929599"/>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2_Quotation">
  <p:cSld name="2_Quotation 3 4">
    <p:spTree>
      <p:nvGrpSpPr>
        <p:cNvPr id="1" name="Shape 9405"/>
        <p:cNvGrpSpPr/>
        <p:nvPr/>
      </p:nvGrpSpPr>
      <p:grpSpPr>
        <a:xfrm>
          <a:off x="0" y="0"/>
          <a:ext cx="0" cy="0"/>
          <a:chOff x="0" y="0"/>
          <a:chExt cx="0" cy="0"/>
        </a:xfrm>
      </p:grpSpPr>
      <p:sp>
        <p:nvSpPr>
          <p:cNvPr id="9406" name="Google Shape;9406;p11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07" name="Google Shape;9407;p11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08" name="Google Shape;9408;p11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09" name="Google Shape;9409;p1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10" name="Google Shape;9410;p1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11" name="Google Shape;9411;p1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412" name="Google Shape;9412;p1123"/>
          <p:cNvGrpSpPr/>
          <p:nvPr/>
        </p:nvGrpSpPr>
        <p:grpSpPr>
          <a:xfrm>
            <a:off x="7191542" y="1"/>
            <a:ext cx="5000459" cy="1425992"/>
            <a:chOff x="7191542" y="1"/>
            <a:chExt cx="5000459" cy="1425992"/>
          </a:xfrm>
        </p:grpSpPr>
        <p:pic>
          <p:nvPicPr>
            <p:cNvPr id="9413" name="Google Shape;9413;p1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14" name="Google Shape;9414;p1123"/>
            <p:cNvGrpSpPr/>
            <p:nvPr/>
          </p:nvGrpSpPr>
          <p:grpSpPr>
            <a:xfrm>
              <a:off x="7191542" y="1"/>
              <a:ext cx="5000459" cy="1425992"/>
              <a:chOff x="7186272" y="0"/>
              <a:chExt cx="5005729" cy="1427495"/>
            </a:xfrm>
          </p:grpSpPr>
          <p:sp>
            <p:nvSpPr>
              <p:cNvPr id="9415" name="Google Shape;9415;p1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16" name="Google Shape;9416;p1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17" name="Google Shape;9417;p11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2_Quotation">
  <p:cSld name="2_Quotation 3 5">
    <p:spTree>
      <p:nvGrpSpPr>
        <p:cNvPr id="1" name="Shape 9418"/>
        <p:cNvGrpSpPr/>
        <p:nvPr/>
      </p:nvGrpSpPr>
      <p:grpSpPr>
        <a:xfrm>
          <a:off x="0" y="0"/>
          <a:ext cx="0" cy="0"/>
          <a:chOff x="0" y="0"/>
          <a:chExt cx="0" cy="0"/>
        </a:xfrm>
      </p:grpSpPr>
      <p:sp>
        <p:nvSpPr>
          <p:cNvPr id="9419" name="Google Shape;9419;p1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20" name="Google Shape;9420;p1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21" name="Google Shape;9421;p1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22" name="Google Shape;9422;p1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3" name="Google Shape;9423;p1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24" name="Google Shape;9424;p1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425" name="Google Shape;9425;p1124"/>
          <p:cNvGrpSpPr/>
          <p:nvPr/>
        </p:nvGrpSpPr>
        <p:grpSpPr>
          <a:xfrm>
            <a:off x="7191542" y="1"/>
            <a:ext cx="5000459" cy="1425992"/>
            <a:chOff x="7191542" y="1"/>
            <a:chExt cx="5000459" cy="1425992"/>
          </a:xfrm>
        </p:grpSpPr>
        <p:pic>
          <p:nvPicPr>
            <p:cNvPr id="9426" name="Google Shape;9426;p1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7" name="Google Shape;9427;p1124"/>
            <p:cNvGrpSpPr/>
            <p:nvPr/>
          </p:nvGrpSpPr>
          <p:grpSpPr>
            <a:xfrm>
              <a:off x="7191542" y="1"/>
              <a:ext cx="5000459" cy="1425992"/>
              <a:chOff x="7186272" y="0"/>
              <a:chExt cx="5005729" cy="1427495"/>
            </a:xfrm>
          </p:grpSpPr>
          <p:sp>
            <p:nvSpPr>
              <p:cNvPr id="9428" name="Google Shape;9428;p1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29" name="Google Shape;9429;p1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30" name="Google Shape;9430;p11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2_Quotation">
  <p:cSld name="2_Quotation 3 6">
    <p:spTree>
      <p:nvGrpSpPr>
        <p:cNvPr id="1" name="Shape 9431"/>
        <p:cNvGrpSpPr/>
        <p:nvPr/>
      </p:nvGrpSpPr>
      <p:grpSpPr>
        <a:xfrm>
          <a:off x="0" y="0"/>
          <a:ext cx="0" cy="0"/>
          <a:chOff x="0" y="0"/>
          <a:chExt cx="0" cy="0"/>
        </a:xfrm>
      </p:grpSpPr>
      <p:sp>
        <p:nvSpPr>
          <p:cNvPr id="9432" name="Google Shape;9432;p11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33" name="Google Shape;9433;p11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34" name="Google Shape;9434;p11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35" name="Google Shape;9435;p1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36" name="Google Shape;9436;p1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7" name="Google Shape;9437;p1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grpSp>
        <p:nvGrpSpPr>
          <p:cNvPr id="9438" name="Google Shape;9438;p1125"/>
          <p:cNvGrpSpPr/>
          <p:nvPr/>
        </p:nvGrpSpPr>
        <p:grpSpPr>
          <a:xfrm>
            <a:off x="7191542" y="1"/>
            <a:ext cx="5000459" cy="1425992"/>
            <a:chOff x="7191542" y="1"/>
            <a:chExt cx="5000459" cy="1425992"/>
          </a:xfrm>
        </p:grpSpPr>
        <p:pic>
          <p:nvPicPr>
            <p:cNvPr id="9439" name="Google Shape;9439;p1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40" name="Google Shape;9440;p1125"/>
            <p:cNvGrpSpPr/>
            <p:nvPr/>
          </p:nvGrpSpPr>
          <p:grpSpPr>
            <a:xfrm>
              <a:off x="7191542" y="1"/>
              <a:ext cx="5000459" cy="1425992"/>
              <a:chOff x="7186272" y="0"/>
              <a:chExt cx="5005729" cy="1427495"/>
            </a:xfrm>
          </p:grpSpPr>
          <p:sp>
            <p:nvSpPr>
              <p:cNvPr id="9441" name="Google Shape;9441;p1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42" name="Google Shape;9442;p1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443" name="Google Shape;9443;p11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9579"/>
        <p:cNvGrpSpPr/>
        <p:nvPr/>
      </p:nvGrpSpPr>
      <p:grpSpPr>
        <a:xfrm>
          <a:off x="0" y="0"/>
          <a:ext cx="0" cy="0"/>
          <a:chOff x="0" y="0"/>
          <a:chExt cx="0" cy="0"/>
        </a:xfrm>
      </p:grpSpPr>
      <p:sp>
        <p:nvSpPr>
          <p:cNvPr id="9580" name="Google Shape;9580;p13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581" name="Google Shape;9581;p13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82" name="Google Shape;9582;p13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83" name="Google Shape;9583;p13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584" name="Google Shape;9584;p1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85" name="Google Shape;9585;p1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86" name="Google Shape;9586;p1316"/>
          <p:cNvGrpSpPr/>
          <p:nvPr/>
        </p:nvGrpSpPr>
        <p:grpSpPr>
          <a:xfrm>
            <a:off x="7191542" y="1"/>
            <a:ext cx="5000459" cy="1425992"/>
            <a:chOff x="7191542" y="1"/>
            <a:chExt cx="5000459" cy="1425992"/>
          </a:xfrm>
        </p:grpSpPr>
        <p:pic>
          <p:nvPicPr>
            <p:cNvPr id="9587" name="Google Shape;9587;p1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88" name="Google Shape;9588;p1316"/>
            <p:cNvGrpSpPr/>
            <p:nvPr/>
          </p:nvGrpSpPr>
          <p:grpSpPr>
            <a:xfrm>
              <a:off x="7191542" y="1"/>
              <a:ext cx="5000459" cy="1425992"/>
              <a:chOff x="7186272" y="0"/>
              <a:chExt cx="5005729" cy="1427495"/>
            </a:xfrm>
          </p:grpSpPr>
          <p:sp>
            <p:nvSpPr>
              <p:cNvPr id="9589" name="Google Shape;9589;p1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590" name="Google Shape;9590;p1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591" name="Google Shape;9591;p13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9592"/>
        <p:cNvGrpSpPr/>
        <p:nvPr/>
      </p:nvGrpSpPr>
      <p:grpSpPr>
        <a:xfrm>
          <a:off x="0" y="0"/>
          <a:ext cx="0" cy="0"/>
          <a:chOff x="0" y="0"/>
          <a:chExt cx="0" cy="0"/>
        </a:xfrm>
      </p:grpSpPr>
      <p:sp>
        <p:nvSpPr>
          <p:cNvPr id="9593" name="Google Shape;9593;p1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594" name="Google Shape;9594;p1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595" name="Google Shape;9595;p1317"/>
          <p:cNvGrpSpPr/>
          <p:nvPr/>
        </p:nvGrpSpPr>
        <p:grpSpPr>
          <a:xfrm>
            <a:off x="0" y="5379426"/>
            <a:ext cx="2807368" cy="753891"/>
            <a:chOff x="0" y="5379426"/>
            <a:chExt cx="2807368" cy="753891"/>
          </a:xfrm>
        </p:grpSpPr>
        <p:sp>
          <p:nvSpPr>
            <p:cNvPr id="9596" name="Google Shape;9596;p1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597" name="Google Shape;9597;p1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9598" name="Google Shape;9598;p1317"/>
          <p:cNvSpPr>
            <a:spLocks noGrp="1"/>
          </p:cNvSpPr>
          <p:nvPr>
            <p:ph type="pic" idx="2"/>
          </p:nvPr>
        </p:nvSpPr>
        <p:spPr>
          <a:xfrm>
            <a:off x="2807368" y="457202"/>
            <a:ext cx="8915400" cy="5943598"/>
          </a:xfrm>
          <a:prstGeom prst="rect">
            <a:avLst/>
          </a:prstGeom>
          <a:noFill/>
          <a:ln>
            <a:noFill/>
          </a:ln>
        </p:spPr>
      </p:sp>
      <p:pic>
        <p:nvPicPr>
          <p:cNvPr id="9599" name="Google Shape;9599;p1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9600"/>
        <p:cNvGrpSpPr/>
        <p:nvPr/>
      </p:nvGrpSpPr>
      <p:grpSpPr>
        <a:xfrm>
          <a:off x="0" y="0"/>
          <a:ext cx="0" cy="0"/>
          <a:chOff x="0" y="0"/>
          <a:chExt cx="0" cy="0"/>
        </a:xfrm>
      </p:grpSpPr>
      <p:sp>
        <p:nvSpPr>
          <p:cNvPr id="9601" name="Google Shape;9601;p1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02" name="Google Shape;9602;p1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03" name="Google Shape;9603;p1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04" name="Google Shape;9604;p1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605" name="Google Shape;9605;p1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06" name="Google Shape;9606;p1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07" name="Google Shape;9607;p1318"/>
          <p:cNvGrpSpPr/>
          <p:nvPr/>
        </p:nvGrpSpPr>
        <p:grpSpPr>
          <a:xfrm>
            <a:off x="7191542" y="1"/>
            <a:ext cx="5000459" cy="1425992"/>
            <a:chOff x="7191542" y="1"/>
            <a:chExt cx="5000459" cy="1425992"/>
          </a:xfrm>
        </p:grpSpPr>
        <p:pic>
          <p:nvPicPr>
            <p:cNvPr id="9608" name="Google Shape;9608;p1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09" name="Google Shape;9609;p1318"/>
            <p:cNvGrpSpPr/>
            <p:nvPr/>
          </p:nvGrpSpPr>
          <p:grpSpPr>
            <a:xfrm>
              <a:off x="7191542" y="1"/>
              <a:ext cx="5000459" cy="1425992"/>
              <a:chOff x="7186272" y="0"/>
              <a:chExt cx="5005729" cy="1427495"/>
            </a:xfrm>
          </p:grpSpPr>
          <p:sp>
            <p:nvSpPr>
              <p:cNvPr id="9610" name="Google Shape;9610;p1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11" name="Google Shape;9611;p1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612" name="Google Shape;9612;p131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613"/>
        <p:cNvGrpSpPr/>
        <p:nvPr/>
      </p:nvGrpSpPr>
      <p:grpSpPr>
        <a:xfrm>
          <a:off x="0" y="0"/>
          <a:ext cx="0" cy="0"/>
          <a:chOff x="0" y="0"/>
          <a:chExt cx="0" cy="0"/>
        </a:xfrm>
      </p:grpSpPr>
      <p:sp>
        <p:nvSpPr>
          <p:cNvPr id="9614" name="Google Shape;9614;p13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5" name="Google Shape;9615;p13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16" name="Google Shape;9616;p1319"/>
          <p:cNvGrpSpPr/>
          <p:nvPr/>
        </p:nvGrpSpPr>
        <p:grpSpPr>
          <a:xfrm>
            <a:off x="7191542" y="1"/>
            <a:ext cx="5000459" cy="1425992"/>
            <a:chOff x="7191542" y="1"/>
            <a:chExt cx="5000459" cy="1425992"/>
          </a:xfrm>
        </p:grpSpPr>
        <p:pic>
          <p:nvPicPr>
            <p:cNvPr id="9617" name="Google Shape;9617;p1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18" name="Google Shape;9618;p1319"/>
            <p:cNvGrpSpPr/>
            <p:nvPr/>
          </p:nvGrpSpPr>
          <p:grpSpPr>
            <a:xfrm>
              <a:off x="7191542" y="1"/>
              <a:ext cx="5000459" cy="1425992"/>
              <a:chOff x="7186272" y="0"/>
              <a:chExt cx="5005729" cy="1427495"/>
            </a:xfrm>
          </p:grpSpPr>
          <p:sp>
            <p:nvSpPr>
              <p:cNvPr id="9619" name="Google Shape;9619;p1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20" name="Google Shape;9620;p1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621" name="Google Shape;9621;p13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22" name="Google Shape;9622;p13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623" name="Google Shape;9623;p1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24" name="Google Shape;9624;p1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82"/>
        <p:cNvGrpSpPr/>
        <p:nvPr/>
      </p:nvGrpSpPr>
      <p:grpSpPr>
        <a:xfrm>
          <a:off x="0" y="0"/>
          <a:ext cx="0" cy="0"/>
          <a:chOff x="0" y="0"/>
          <a:chExt cx="0" cy="0"/>
        </a:xfrm>
      </p:grpSpPr>
      <p:sp>
        <p:nvSpPr>
          <p:cNvPr id="983" name="Google Shape;983;p1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4" name="Google Shape;984;p1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5" name="Google Shape;985;p1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1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7" name="Google Shape;987;p1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 name="Google Shape;988;p1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9" name="Google Shape;989;p150"/>
          <p:cNvGrpSpPr/>
          <p:nvPr/>
        </p:nvGrpSpPr>
        <p:grpSpPr>
          <a:xfrm>
            <a:off x="7191542" y="1"/>
            <a:ext cx="5000459" cy="1425992"/>
            <a:chOff x="7191542" y="1"/>
            <a:chExt cx="5000459" cy="1425992"/>
          </a:xfrm>
        </p:grpSpPr>
        <p:pic>
          <p:nvPicPr>
            <p:cNvPr id="990" name="Google Shape;990;p1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1" name="Google Shape;991;p150"/>
            <p:cNvGrpSpPr/>
            <p:nvPr/>
          </p:nvGrpSpPr>
          <p:grpSpPr>
            <a:xfrm>
              <a:off x="7191542" y="1"/>
              <a:ext cx="5000459" cy="1425992"/>
              <a:chOff x="7186272" y="0"/>
              <a:chExt cx="5005729" cy="1427495"/>
            </a:xfrm>
          </p:grpSpPr>
          <p:sp>
            <p:nvSpPr>
              <p:cNvPr id="992" name="Google Shape;992;p1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3" name="Google Shape;993;p1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4" name="Google Shape;994;p1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625"/>
        <p:cNvGrpSpPr/>
        <p:nvPr/>
      </p:nvGrpSpPr>
      <p:grpSpPr>
        <a:xfrm>
          <a:off x="0" y="0"/>
          <a:ext cx="0" cy="0"/>
          <a:chOff x="0" y="0"/>
          <a:chExt cx="0" cy="0"/>
        </a:xfrm>
      </p:grpSpPr>
      <p:grpSp>
        <p:nvGrpSpPr>
          <p:cNvPr id="9626" name="Google Shape;9626;p1320"/>
          <p:cNvGrpSpPr/>
          <p:nvPr/>
        </p:nvGrpSpPr>
        <p:grpSpPr>
          <a:xfrm>
            <a:off x="7191542" y="1"/>
            <a:ext cx="5000459" cy="1425992"/>
            <a:chOff x="7191542" y="1"/>
            <a:chExt cx="5000459" cy="1425992"/>
          </a:xfrm>
        </p:grpSpPr>
        <p:pic>
          <p:nvPicPr>
            <p:cNvPr id="9627" name="Google Shape;9627;p1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28" name="Google Shape;9628;p1320"/>
            <p:cNvGrpSpPr/>
            <p:nvPr/>
          </p:nvGrpSpPr>
          <p:grpSpPr>
            <a:xfrm>
              <a:off x="7191542" y="1"/>
              <a:ext cx="5000459" cy="1425992"/>
              <a:chOff x="7186272" y="0"/>
              <a:chExt cx="5005729" cy="1427495"/>
            </a:xfrm>
          </p:grpSpPr>
          <p:sp>
            <p:nvSpPr>
              <p:cNvPr id="9629" name="Google Shape;9629;p1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30" name="Google Shape;9630;p1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631" name="Google Shape;9631;p13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32" name="Google Shape;9632;p13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3" name="Google Shape;9633;p13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4" name="Google Shape;9634;p13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635" name="Google Shape;9635;p13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36" name="Google Shape;9636;p1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637" name="Google Shape;9637;p1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38" name="Google Shape;9638;p1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639"/>
        <p:cNvGrpSpPr/>
        <p:nvPr/>
      </p:nvGrpSpPr>
      <p:grpSpPr>
        <a:xfrm>
          <a:off x="0" y="0"/>
          <a:ext cx="0" cy="0"/>
          <a:chOff x="0" y="0"/>
          <a:chExt cx="0" cy="0"/>
        </a:xfrm>
      </p:grpSpPr>
      <p:grpSp>
        <p:nvGrpSpPr>
          <p:cNvPr id="9640" name="Google Shape;9640;p1321"/>
          <p:cNvGrpSpPr/>
          <p:nvPr/>
        </p:nvGrpSpPr>
        <p:grpSpPr>
          <a:xfrm>
            <a:off x="7191542" y="1"/>
            <a:ext cx="5000459" cy="1425992"/>
            <a:chOff x="7191542" y="1"/>
            <a:chExt cx="5000459" cy="1425992"/>
          </a:xfrm>
        </p:grpSpPr>
        <p:pic>
          <p:nvPicPr>
            <p:cNvPr id="9641" name="Google Shape;9641;p1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42" name="Google Shape;9642;p1321"/>
            <p:cNvGrpSpPr/>
            <p:nvPr/>
          </p:nvGrpSpPr>
          <p:grpSpPr>
            <a:xfrm>
              <a:off x="7191542" y="1"/>
              <a:ext cx="5000459" cy="1425992"/>
              <a:chOff x="7186272" y="0"/>
              <a:chExt cx="5005729" cy="1427495"/>
            </a:xfrm>
          </p:grpSpPr>
          <p:sp>
            <p:nvSpPr>
              <p:cNvPr id="9643" name="Google Shape;9643;p1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44" name="Google Shape;9644;p1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645" name="Google Shape;9645;p13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46" name="Google Shape;9646;p1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647" name="Google Shape;9647;p1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8" name="Google Shape;9648;p1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9649"/>
        <p:cNvGrpSpPr/>
        <p:nvPr/>
      </p:nvGrpSpPr>
      <p:grpSpPr>
        <a:xfrm>
          <a:off x="0" y="0"/>
          <a:ext cx="0" cy="0"/>
          <a:chOff x="0" y="0"/>
          <a:chExt cx="0" cy="0"/>
        </a:xfrm>
      </p:grpSpPr>
      <p:grpSp>
        <p:nvGrpSpPr>
          <p:cNvPr id="9650" name="Google Shape;9650;p1322"/>
          <p:cNvGrpSpPr/>
          <p:nvPr/>
        </p:nvGrpSpPr>
        <p:grpSpPr>
          <a:xfrm>
            <a:off x="0" y="0"/>
            <a:ext cx="12192000" cy="2148830"/>
            <a:chOff x="0" y="0"/>
            <a:chExt cx="12192000" cy="2148830"/>
          </a:xfrm>
        </p:grpSpPr>
        <p:sp>
          <p:nvSpPr>
            <p:cNvPr id="9651" name="Google Shape;9651;p13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52" name="Google Shape;9652;p13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9653" name="Google Shape;9653;p13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54" name="Google Shape;9654;p13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55" name="Google Shape;9655;p13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656" name="Google Shape;9656;p13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657" name="Google Shape;9657;p13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658"/>
        <p:cNvGrpSpPr/>
        <p:nvPr/>
      </p:nvGrpSpPr>
      <p:grpSpPr>
        <a:xfrm>
          <a:off x="0" y="0"/>
          <a:ext cx="0" cy="0"/>
          <a:chOff x="0" y="0"/>
          <a:chExt cx="0" cy="0"/>
        </a:xfrm>
      </p:grpSpPr>
      <p:sp>
        <p:nvSpPr>
          <p:cNvPr id="9659" name="Google Shape;9659;p13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660" name="Google Shape;9660;p1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61" name="Google Shape;9661;p1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62" name="Google Shape;9662;p1323"/>
          <p:cNvGrpSpPr/>
          <p:nvPr/>
        </p:nvGrpSpPr>
        <p:grpSpPr>
          <a:xfrm>
            <a:off x="7191542" y="1"/>
            <a:ext cx="5000459" cy="1425992"/>
            <a:chOff x="7191542" y="1"/>
            <a:chExt cx="5000459" cy="1425992"/>
          </a:xfrm>
        </p:grpSpPr>
        <p:pic>
          <p:nvPicPr>
            <p:cNvPr id="9663" name="Google Shape;9663;p1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64" name="Google Shape;9664;p1323"/>
            <p:cNvGrpSpPr/>
            <p:nvPr/>
          </p:nvGrpSpPr>
          <p:grpSpPr>
            <a:xfrm>
              <a:off x="7191542" y="1"/>
              <a:ext cx="5000459" cy="1425992"/>
              <a:chOff x="7186272" y="0"/>
              <a:chExt cx="5005729" cy="1427495"/>
            </a:xfrm>
          </p:grpSpPr>
          <p:sp>
            <p:nvSpPr>
              <p:cNvPr id="9665" name="Google Shape;9665;p1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666" name="Google Shape;9666;p1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667"/>
        <p:cNvGrpSpPr/>
        <p:nvPr/>
      </p:nvGrpSpPr>
      <p:grpSpPr>
        <a:xfrm>
          <a:off x="0" y="0"/>
          <a:ext cx="0" cy="0"/>
          <a:chOff x="0" y="0"/>
          <a:chExt cx="0" cy="0"/>
        </a:xfrm>
      </p:grpSpPr>
      <p:sp>
        <p:nvSpPr>
          <p:cNvPr id="9668" name="Google Shape;9668;p3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69" name="Google Shape;9669;p3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0" name="Google Shape;9670;p3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671" name="Google Shape;9671;p344"/>
          <p:cNvSpPr>
            <a:spLocks noGrp="1"/>
          </p:cNvSpPr>
          <p:nvPr>
            <p:ph type="pic" idx="2"/>
          </p:nvPr>
        </p:nvSpPr>
        <p:spPr>
          <a:xfrm>
            <a:off x="7118684" y="233915"/>
            <a:ext cx="5073316" cy="5943600"/>
          </a:xfrm>
          <a:prstGeom prst="rect">
            <a:avLst/>
          </a:prstGeom>
          <a:noFill/>
          <a:ln>
            <a:noFill/>
          </a:ln>
        </p:spPr>
      </p:sp>
      <p:grpSp>
        <p:nvGrpSpPr>
          <p:cNvPr id="9672" name="Google Shape;9672;p344"/>
          <p:cNvGrpSpPr/>
          <p:nvPr/>
        </p:nvGrpSpPr>
        <p:grpSpPr>
          <a:xfrm>
            <a:off x="0" y="5020348"/>
            <a:ext cx="12192000" cy="1837653"/>
            <a:chOff x="0" y="5020348"/>
            <a:chExt cx="12192000" cy="1837653"/>
          </a:xfrm>
        </p:grpSpPr>
        <p:sp>
          <p:nvSpPr>
            <p:cNvPr id="9673" name="Google Shape;9673;p3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74" name="Google Shape;9674;p3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675" name="Google Shape;9675;p34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76"/>
        <p:cNvGrpSpPr/>
        <p:nvPr/>
      </p:nvGrpSpPr>
      <p:grpSpPr>
        <a:xfrm>
          <a:off x="0" y="0"/>
          <a:ext cx="0" cy="0"/>
          <a:chOff x="0" y="0"/>
          <a:chExt cx="0" cy="0"/>
        </a:xfrm>
      </p:grpSpPr>
      <p:grpSp>
        <p:nvGrpSpPr>
          <p:cNvPr id="9677" name="Google Shape;9677;p1324"/>
          <p:cNvGrpSpPr/>
          <p:nvPr/>
        </p:nvGrpSpPr>
        <p:grpSpPr>
          <a:xfrm>
            <a:off x="0" y="5020347"/>
            <a:ext cx="12192000" cy="1837653"/>
            <a:chOff x="0" y="5020347"/>
            <a:chExt cx="12192000" cy="1837653"/>
          </a:xfrm>
        </p:grpSpPr>
        <p:sp>
          <p:nvSpPr>
            <p:cNvPr id="9678" name="Google Shape;9678;p132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79" name="Google Shape;9679;p13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80" name="Google Shape;9680;p132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681" name="Google Shape;9681;p13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682" name="Google Shape;9682;p132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83" name="Google Shape;9683;p132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9684"/>
        <p:cNvGrpSpPr/>
        <p:nvPr/>
      </p:nvGrpSpPr>
      <p:grpSpPr>
        <a:xfrm>
          <a:off x="0" y="0"/>
          <a:ext cx="0" cy="0"/>
          <a:chOff x="0" y="0"/>
          <a:chExt cx="0" cy="0"/>
        </a:xfrm>
      </p:grpSpPr>
      <p:sp>
        <p:nvSpPr>
          <p:cNvPr id="9685" name="Google Shape;9685;p3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686" name="Google Shape;9686;p3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687" name="Google Shape;9687;p346"/>
          <p:cNvGrpSpPr/>
          <p:nvPr/>
        </p:nvGrpSpPr>
        <p:grpSpPr>
          <a:xfrm>
            <a:off x="0" y="5379426"/>
            <a:ext cx="2807368" cy="753891"/>
            <a:chOff x="0" y="5379426"/>
            <a:chExt cx="2807368" cy="753891"/>
          </a:xfrm>
        </p:grpSpPr>
        <p:sp>
          <p:nvSpPr>
            <p:cNvPr id="9688" name="Google Shape;9688;p3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89" name="Google Shape;9689;p3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9690" name="Google Shape;9690;p346"/>
          <p:cNvSpPr>
            <a:spLocks noGrp="1"/>
          </p:cNvSpPr>
          <p:nvPr>
            <p:ph type="pic" idx="2"/>
          </p:nvPr>
        </p:nvSpPr>
        <p:spPr>
          <a:xfrm>
            <a:off x="2807368" y="457202"/>
            <a:ext cx="8915400" cy="5943598"/>
          </a:xfrm>
          <a:prstGeom prst="rect">
            <a:avLst/>
          </a:prstGeom>
          <a:noFill/>
          <a:ln>
            <a:noFill/>
          </a:ln>
        </p:spPr>
      </p:sp>
      <p:pic>
        <p:nvPicPr>
          <p:cNvPr id="9691" name="Google Shape;9691;p3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9692"/>
        <p:cNvGrpSpPr/>
        <p:nvPr/>
      </p:nvGrpSpPr>
      <p:grpSpPr>
        <a:xfrm>
          <a:off x="0" y="0"/>
          <a:ext cx="0" cy="0"/>
          <a:chOff x="0" y="0"/>
          <a:chExt cx="0" cy="0"/>
        </a:xfrm>
      </p:grpSpPr>
      <p:sp>
        <p:nvSpPr>
          <p:cNvPr id="9693" name="Google Shape;9693;p3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694" name="Google Shape;9694;p3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95" name="Google Shape;9695;p3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96" name="Google Shape;9696;p3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697" name="Google Shape;9697;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98" name="Google Shape;9698;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9" name="Google Shape;9699;p374"/>
          <p:cNvGrpSpPr/>
          <p:nvPr/>
        </p:nvGrpSpPr>
        <p:grpSpPr>
          <a:xfrm>
            <a:off x="7191542" y="1"/>
            <a:ext cx="5000459" cy="1425992"/>
            <a:chOff x="7191542" y="1"/>
            <a:chExt cx="5000459" cy="1425992"/>
          </a:xfrm>
        </p:grpSpPr>
        <p:pic>
          <p:nvPicPr>
            <p:cNvPr id="9700" name="Google Shape;9700;p3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1" name="Google Shape;9701;p374"/>
            <p:cNvGrpSpPr/>
            <p:nvPr/>
          </p:nvGrpSpPr>
          <p:grpSpPr>
            <a:xfrm>
              <a:off x="7191542" y="1"/>
              <a:ext cx="5000459" cy="1425992"/>
              <a:chOff x="7186272" y="0"/>
              <a:chExt cx="5005729" cy="1427495"/>
            </a:xfrm>
          </p:grpSpPr>
          <p:sp>
            <p:nvSpPr>
              <p:cNvPr id="9702" name="Google Shape;9702;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03" name="Google Shape;9703;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704" name="Google Shape;9704;p3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9716"/>
        <p:cNvGrpSpPr/>
        <p:nvPr/>
      </p:nvGrpSpPr>
      <p:grpSpPr>
        <a:xfrm>
          <a:off x="0" y="0"/>
          <a:ext cx="0" cy="0"/>
          <a:chOff x="0" y="0"/>
          <a:chExt cx="0" cy="0"/>
        </a:xfrm>
      </p:grpSpPr>
      <p:sp>
        <p:nvSpPr>
          <p:cNvPr id="9717" name="Google Shape;9717;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18" name="Google Shape;9718;p13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719" name="Google Shape;9719;p1326"/>
          <p:cNvGrpSpPr/>
          <p:nvPr/>
        </p:nvGrpSpPr>
        <p:grpSpPr>
          <a:xfrm>
            <a:off x="7191542" y="1"/>
            <a:ext cx="5000459" cy="1425992"/>
            <a:chOff x="7191542" y="1"/>
            <a:chExt cx="5000459" cy="1425992"/>
          </a:xfrm>
        </p:grpSpPr>
        <p:pic>
          <p:nvPicPr>
            <p:cNvPr id="9720" name="Google Shape;9720;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21" name="Google Shape;9721;p1326"/>
            <p:cNvGrpSpPr/>
            <p:nvPr/>
          </p:nvGrpSpPr>
          <p:grpSpPr>
            <a:xfrm>
              <a:off x="7191542" y="1"/>
              <a:ext cx="5000459" cy="1425992"/>
              <a:chOff x="7186272" y="0"/>
              <a:chExt cx="5005729" cy="1427495"/>
            </a:xfrm>
          </p:grpSpPr>
          <p:sp>
            <p:nvSpPr>
              <p:cNvPr id="9722" name="Google Shape;9722;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23" name="Google Shape;9723;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724" name="Google Shape;9724;p13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25" name="Google Shape;9725;p13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726" name="Google Shape;9726;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27" name="Google Shape;9727;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9728"/>
        <p:cNvGrpSpPr/>
        <p:nvPr/>
      </p:nvGrpSpPr>
      <p:grpSpPr>
        <a:xfrm>
          <a:off x="0" y="0"/>
          <a:ext cx="0" cy="0"/>
          <a:chOff x="0" y="0"/>
          <a:chExt cx="0" cy="0"/>
        </a:xfrm>
      </p:grpSpPr>
      <p:grpSp>
        <p:nvGrpSpPr>
          <p:cNvPr id="9729" name="Google Shape;9729;p349"/>
          <p:cNvGrpSpPr/>
          <p:nvPr/>
        </p:nvGrpSpPr>
        <p:grpSpPr>
          <a:xfrm>
            <a:off x="7191542" y="1"/>
            <a:ext cx="5000459" cy="1425992"/>
            <a:chOff x="7191542" y="1"/>
            <a:chExt cx="5000459" cy="1425992"/>
          </a:xfrm>
        </p:grpSpPr>
        <p:pic>
          <p:nvPicPr>
            <p:cNvPr id="9730" name="Google Shape;9730;p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31" name="Google Shape;9731;p349"/>
            <p:cNvGrpSpPr/>
            <p:nvPr/>
          </p:nvGrpSpPr>
          <p:grpSpPr>
            <a:xfrm>
              <a:off x="7191542" y="1"/>
              <a:ext cx="5000459" cy="1425992"/>
              <a:chOff x="7186272" y="0"/>
              <a:chExt cx="5005729" cy="1427495"/>
            </a:xfrm>
          </p:grpSpPr>
          <p:sp>
            <p:nvSpPr>
              <p:cNvPr id="9732" name="Google Shape;9732;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33" name="Google Shape;9733;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734" name="Google Shape;9734;p3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35" name="Google Shape;9735;p3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36" name="Google Shape;9736;p3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7" name="Google Shape;9737;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738" name="Google Shape;9738;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9" name="Google Shape;9739;p3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740" name="Google Shape;9740;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41" name="Google Shape;9741;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95"/>
        <p:cNvGrpSpPr/>
        <p:nvPr/>
      </p:nvGrpSpPr>
      <p:grpSpPr>
        <a:xfrm>
          <a:off x="0" y="0"/>
          <a:ext cx="0" cy="0"/>
          <a:chOff x="0" y="0"/>
          <a:chExt cx="0" cy="0"/>
        </a:xfrm>
      </p:grpSpPr>
      <p:sp>
        <p:nvSpPr>
          <p:cNvPr id="996" name="Google Shape;996;p1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8" name="Google Shape;998;p1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 name="Google Shape;999;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0" name="Google Shape;1000;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1" name="Google Shape;1001;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2" name="Google Shape;1002;p151"/>
          <p:cNvGrpSpPr/>
          <p:nvPr/>
        </p:nvGrpSpPr>
        <p:grpSpPr>
          <a:xfrm>
            <a:off x="7191542" y="1"/>
            <a:ext cx="5000459" cy="1425992"/>
            <a:chOff x="7191542" y="1"/>
            <a:chExt cx="5000459" cy="1425992"/>
          </a:xfrm>
        </p:grpSpPr>
        <p:pic>
          <p:nvPicPr>
            <p:cNvPr id="1003" name="Google Shape;1003;p1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4" name="Google Shape;1004;p151"/>
            <p:cNvGrpSpPr/>
            <p:nvPr/>
          </p:nvGrpSpPr>
          <p:grpSpPr>
            <a:xfrm>
              <a:off x="7191542" y="1"/>
              <a:ext cx="5000459" cy="1425992"/>
              <a:chOff x="7186272" y="0"/>
              <a:chExt cx="5005729" cy="1427495"/>
            </a:xfrm>
          </p:grpSpPr>
          <p:sp>
            <p:nvSpPr>
              <p:cNvPr id="1005" name="Google Shape;1005;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6" name="Google Shape;1006;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07" name="Google Shape;1007;p1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9742"/>
        <p:cNvGrpSpPr/>
        <p:nvPr/>
      </p:nvGrpSpPr>
      <p:grpSpPr>
        <a:xfrm>
          <a:off x="0" y="0"/>
          <a:ext cx="0" cy="0"/>
          <a:chOff x="0" y="0"/>
          <a:chExt cx="0" cy="0"/>
        </a:xfrm>
      </p:grpSpPr>
      <p:grpSp>
        <p:nvGrpSpPr>
          <p:cNvPr id="9743" name="Google Shape;9743;p350"/>
          <p:cNvGrpSpPr/>
          <p:nvPr/>
        </p:nvGrpSpPr>
        <p:grpSpPr>
          <a:xfrm>
            <a:off x="7191542" y="1"/>
            <a:ext cx="5000459" cy="1425992"/>
            <a:chOff x="7191542" y="1"/>
            <a:chExt cx="5000459" cy="1425992"/>
          </a:xfrm>
        </p:grpSpPr>
        <p:pic>
          <p:nvPicPr>
            <p:cNvPr id="9744" name="Google Shape;9744;p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45" name="Google Shape;9745;p350"/>
            <p:cNvGrpSpPr/>
            <p:nvPr/>
          </p:nvGrpSpPr>
          <p:grpSpPr>
            <a:xfrm>
              <a:off x="7191542" y="1"/>
              <a:ext cx="5000459" cy="1425992"/>
              <a:chOff x="7186272" y="0"/>
              <a:chExt cx="5005729" cy="1427495"/>
            </a:xfrm>
          </p:grpSpPr>
          <p:sp>
            <p:nvSpPr>
              <p:cNvPr id="9746" name="Google Shape;9746;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47" name="Google Shape;9747;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748" name="Google Shape;9748;p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49" name="Google Shape;9749;p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750" name="Google Shape;9750;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1" name="Google Shape;9751;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9752"/>
        <p:cNvGrpSpPr/>
        <p:nvPr/>
      </p:nvGrpSpPr>
      <p:grpSpPr>
        <a:xfrm>
          <a:off x="0" y="0"/>
          <a:ext cx="0" cy="0"/>
          <a:chOff x="0" y="0"/>
          <a:chExt cx="0" cy="0"/>
        </a:xfrm>
      </p:grpSpPr>
      <p:grpSp>
        <p:nvGrpSpPr>
          <p:cNvPr id="9753" name="Google Shape;9753;p351"/>
          <p:cNvGrpSpPr/>
          <p:nvPr/>
        </p:nvGrpSpPr>
        <p:grpSpPr>
          <a:xfrm>
            <a:off x="0" y="0"/>
            <a:ext cx="12192000" cy="2148830"/>
            <a:chOff x="0" y="0"/>
            <a:chExt cx="12192000" cy="2148830"/>
          </a:xfrm>
        </p:grpSpPr>
        <p:sp>
          <p:nvSpPr>
            <p:cNvPr id="9754" name="Google Shape;9754;p3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55" name="Google Shape;9755;p3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9756" name="Google Shape;9756;p3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57" name="Google Shape;9757;p3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58" name="Google Shape;9758;p3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759" name="Google Shape;9759;p3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760" name="Google Shape;9760;p3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9761"/>
        <p:cNvGrpSpPr/>
        <p:nvPr/>
      </p:nvGrpSpPr>
      <p:grpSpPr>
        <a:xfrm>
          <a:off x="0" y="0"/>
          <a:ext cx="0" cy="0"/>
          <a:chOff x="0" y="0"/>
          <a:chExt cx="0" cy="0"/>
        </a:xfrm>
      </p:grpSpPr>
      <p:sp>
        <p:nvSpPr>
          <p:cNvPr id="9762" name="Google Shape;9762;p3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763" name="Google Shape;9763;p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4" name="Google Shape;9764;p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65" name="Google Shape;9765;p352"/>
          <p:cNvGrpSpPr/>
          <p:nvPr/>
        </p:nvGrpSpPr>
        <p:grpSpPr>
          <a:xfrm>
            <a:off x="7191542" y="1"/>
            <a:ext cx="5000459" cy="1425992"/>
            <a:chOff x="7191542" y="1"/>
            <a:chExt cx="5000459" cy="1425992"/>
          </a:xfrm>
        </p:grpSpPr>
        <p:pic>
          <p:nvPicPr>
            <p:cNvPr id="9766" name="Google Shape;9766;p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67" name="Google Shape;9767;p352"/>
            <p:cNvGrpSpPr/>
            <p:nvPr/>
          </p:nvGrpSpPr>
          <p:grpSpPr>
            <a:xfrm>
              <a:off x="7191542" y="1"/>
              <a:ext cx="5000459" cy="1425992"/>
              <a:chOff x="7186272" y="0"/>
              <a:chExt cx="5005729" cy="1427495"/>
            </a:xfrm>
          </p:grpSpPr>
          <p:sp>
            <p:nvSpPr>
              <p:cNvPr id="9768" name="Google Shape;9768;p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69" name="Google Shape;9769;p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9770"/>
        <p:cNvGrpSpPr/>
        <p:nvPr/>
      </p:nvGrpSpPr>
      <p:grpSpPr>
        <a:xfrm>
          <a:off x="0" y="0"/>
          <a:ext cx="0" cy="0"/>
          <a:chOff x="0" y="0"/>
          <a:chExt cx="0" cy="0"/>
        </a:xfrm>
      </p:grpSpPr>
      <p:sp>
        <p:nvSpPr>
          <p:cNvPr id="9771" name="Google Shape;9771;p13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72" name="Google Shape;9772;p13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73" name="Google Shape;9773;p1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74" name="Google Shape;9774;p1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75" name="Google Shape;9775;p1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76" name="Google Shape;9776;p1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77" name="Google Shape;9777;p1327"/>
          <p:cNvGrpSpPr/>
          <p:nvPr/>
        </p:nvGrpSpPr>
        <p:grpSpPr>
          <a:xfrm>
            <a:off x="7191542" y="1"/>
            <a:ext cx="5000459" cy="1425992"/>
            <a:chOff x="7191542" y="1"/>
            <a:chExt cx="5000459" cy="1425992"/>
          </a:xfrm>
        </p:grpSpPr>
        <p:pic>
          <p:nvPicPr>
            <p:cNvPr id="9778" name="Google Shape;9778;p1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79" name="Google Shape;9779;p1327"/>
            <p:cNvGrpSpPr/>
            <p:nvPr/>
          </p:nvGrpSpPr>
          <p:grpSpPr>
            <a:xfrm>
              <a:off x="7191542" y="1"/>
              <a:ext cx="5000459" cy="1425992"/>
              <a:chOff x="7186272" y="0"/>
              <a:chExt cx="5005729" cy="1427495"/>
            </a:xfrm>
          </p:grpSpPr>
          <p:sp>
            <p:nvSpPr>
              <p:cNvPr id="9780" name="Google Shape;9780;p1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781" name="Google Shape;9781;p1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782" name="Google Shape;9782;p13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9783"/>
        <p:cNvGrpSpPr/>
        <p:nvPr/>
      </p:nvGrpSpPr>
      <p:grpSpPr>
        <a:xfrm>
          <a:off x="0" y="0"/>
          <a:ext cx="0" cy="0"/>
          <a:chOff x="0" y="0"/>
          <a:chExt cx="0" cy="0"/>
        </a:xfrm>
      </p:grpSpPr>
      <p:sp>
        <p:nvSpPr>
          <p:cNvPr id="9784" name="Google Shape;9784;p13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85" name="Google Shape;9785;p13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86" name="Google Shape;9786;p13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87" name="Google Shape;9787;p1328"/>
          <p:cNvSpPr>
            <a:spLocks noGrp="1"/>
          </p:cNvSpPr>
          <p:nvPr>
            <p:ph type="pic" idx="2"/>
          </p:nvPr>
        </p:nvSpPr>
        <p:spPr>
          <a:xfrm>
            <a:off x="7118684" y="233915"/>
            <a:ext cx="5073316" cy="5943600"/>
          </a:xfrm>
          <a:prstGeom prst="rect">
            <a:avLst/>
          </a:prstGeom>
          <a:noFill/>
          <a:ln>
            <a:noFill/>
          </a:ln>
        </p:spPr>
      </p:sp>
      <p:grpSp>
        <p:nvGrpSpPr>
          <p:cNvPr id="9788" name="Google Shape;9788;p1328"/>
          <p:cNvGrpSpPr/>
          <p:nvPr/>
        </p:nvGrpSpPr>
        <p:grpSpPr>
          <a:xfrm>
            <a:off x="0" y="5020348"/>
            <a:ext cx="12192000" cy="1837653"/>
            <a:chOff x="0" y="5020348"/>
            <a:chExt cx="12192000" cy="1837653"/>
          </a:xfrm>
        </p:grpSpPr>
        <p:sp>
          <p:nvSpPr>
            <p:cNvPr id="9789" name="Google Shape;9789;p13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90" name="Google Shape;9790;p13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791" name="Google Shape;9791;p13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9792"/>
        <p:cNvGrpSpPr/>
        <p:nvPr/>
      </p:nvGrpSpPr>
      <p:grpSpPr>
        <a:xfrm>
          <a:off x="0" y="0"/>
          <a:ext cx="0" cy="0"/>
          <a:chOff x="0" y="0"/>
          <a:chExt cx="0" cy="0"/>
        </a:xfrm>
      </p:grpSpPr>
      <p:grpSp>
        <p:nvGrpSpPr>
          <p:cNvPr id="9793" name="Google Shape;9793;p1329"/>
          <p:cNvGrpSpPr/>
          <p:nvPr/>
        </p:nvGrpSpPr>
        <p:grpSpPr>
          <a:xfrm>
            <a:off x="0" y="5020347"/>
            <a:ext cx="12192000" cy="1837653"/>
            <a:chOff x="0" y="5020347"/>
            <a:chExt cx="12192000" cy="1837653"/>
          </a:xfrm>
        </p:grpSpPr>
        <p:sp>
          <p:nvSpPr>
            <p:cNvPr id="9794" name="Google Shape;9794;p13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95" name="Google Shape;9795;p13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796" name="Google Shape;9796;p13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797" name="Google Shape;9797;p13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98" name="Google Shape;9798;p13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99" name="Google Shape;9799;p13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9800"/>
        <p:cNvGrpSpPr/>
        <p:nvPr/>
      </p:nvGrpSpPr>
      <p:grpSpPr>
        <a:xfrm>
          <a:off x="0" y="0"/>
          <a:ext cx="0" cy="0"/>
          <a:chOff x="0" y="0"/>
          <a:chExt cx="0" cy="0"/>
        </a:xfrm>
      </p:grpSpPr>
      <p:sp>
        <p:nvSpPr>
          <p:cNvPr id="9801" name="Google Shape;9801;p13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02" name="Google Shape;9802;p13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03" name="Google Shape;9803;p1330"/>
          <p:cNvGrpSpPr/>
          <p:nvPr/>
        </p:nvGrpSpPr>
        <p:grpSpPr>
          <a:xfrm>
            <a:off x="0" y="5379426"/>
            <a:ext cx="2807368" cy="753891"/>
            <a:chOff x="0" y="5379426"/>
            <a:chExt cx="2807368" cy="753891"/>
          </a:xfrm>
        </p:grpSpPr>
        <p:sp>
          <p:nvSpPr>
            <p:cNvPr id="9804" name="Google Shape;9804;p13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05" name="Google Shape;9805;p13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9806" name="Google Shape;9806;p1330"/>
          <p:cNvSpPr>
            <a:spLocks noGrp="1"/>
          </p:cNvSpPr>
          <p:nvPr>
            <p:ph type="pic" idx="2"/>
          </p:nvPr>
        </p:nvSpPr>
        <p:spPr>
          <a:xfrm>
            <a:off x="2807368" y="457202"/>
            <a:ext cx="8915400" cy="5943598"/>
          </a:xfrm>
          <a:prstGeom prst="rect">
            <a:avLst/>
          </a:prstGeom>
          <a:noFill/>
          <a:ln>
            <a:noFill/>
          </a:ln>
        </p:spPr>
      </p:sp>
      <p:pic>
        <p:nvPicPr>
          <p:cNvPr id="9807" name="Google Shape;9807;p13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9808"/>
        <p:cNvGrpSpPr/>
        <p:nvPr/>
      </p:nvGrpSpPr>
      <p:grpSpPr>
        <a:xfrm>
          <a:off x="0" y="0"/>
          <a:ext cx="0" cy="0"/>
          <a:chOff x="0" y="0"/>
          <a:chExt cx="0" cy="0"/>
        </a:xfrm>
      </p:grpSpPr>
      <p:sp>
        <p:nvSpPr>
          <p:cNvPr id="9809" name="Google Shape;9809;p13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10" name="Google Shape;9810;p13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11" name="Google Shape;9811;p13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12" name="Google Shape;9812;p13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13" name="Google Shape;9813;p1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14" name="Google Shape;9814;p1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15" name="Google Shape;9815;p1331"/>
          <p:cNvGrpSpPr/>
          <p:nvPr/>
        </p:nvGrpSpPr>
        <p:grpSpPr>
          <a:xfrm>
            <a:off x="7191542" y="1"/>
            <a:ext cx="5000459" cy="1425992"/>
            <a:chOff x="7191542" y="1"/>
            <a:chExt cx="5000459" cy="1425992"/>
          </a:xfrm>
        </p:grpSpPr>
        <p:pic>
          <p:nvPicPr>
            <p:cNvPr id="9816" name="Google Shape;9816;p1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7" name="Google Shape;9817;p1331"/>
            <p:cNvGrpSpPr/>
            <p:nvPr/>
          </p:nvGrpSpPr>
          <p:grpSpPr>
            <a:xfrm>
              <a:off x="7191542" y="1"/>
              <a:ext cx="5000459" cy="1425992"/>
              <a:chOff x="7186272" y="0"/>
              <a:chExt cx="5005729" cy="1427495"/>
            </a:xfrm>
          </p:grpSpPr>
          <p:sp>
            <p:nvSpPr>
              <p:cNvPr id="9818" name="Google Shape;9818;p1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19" name="Google Shape;9819;p1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820" name="Google Shape;9820;p13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9821"/>
        <p:cNvGrpSpPr/>
        <p:nvPr/>
      </p:nvGrpSpPr>
      <p:grpSpPr>
        <a:xfrm>
          <a:off x="0" y="0"/>
          <a:ext cx="0" cy="0"/>
          <a:chOff x="0" y="0"/>
          <a:chExt cx="0" cy="0"/>
        </a:xfrm>
      </p:grpSpPr>
      <p:grpSp>
        <p:nvGrpSpPr>
          <p:cNvPr id="9822" name="Google Shape;9822;p1332"/>
          <p:cNvGrpSpPr/>
          <p:nvPr/>
        </p:nvGrpSpPr>
        <p:grpSpPr>
          <a:xfrm>
            <a:off x="7191542" y="1"/>
            <a:ext cx="5000459" cy="1425992"/>
            <a:chOff x="7191542" y="1"/>
            <a:chExt cx="5000459" cy="1425992"/>
          </a:xfrm>
        </p:grpSpPr>
        <p:pic>
          <p:nvPicPr>
            <p:cNvPr id="9823" name="Google Shape;9823;p1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24" name="Google Shape;9824;p1332"/>
            <p:cNvGrpSpPr/>
            <p:nvPr/>
          </p:nvGrpSpPr>
          <p:grpSpPr>
            <a:xfrm>
              <a:off x="7191542" y="1"/>
              <a:ext cx="5000459" cy="1425992"/>
              <a:chOff x="7186272" y="0"/>
              <a:chExt cx="5005729" cy="1427495"/>
            </a:xfrm>
          </p:grpSpPr>
          <p:sp>
            <p:nvSpPr>
              <p:cNvPr id="9825" name="Google Shape;9825;p1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26" name="Google Shape;9826;p1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827" name="Google Shape;9827;p13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28" name="Google Shape;9828;p13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29" name="Google Shape;9829;p1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30" name="Google Shape;9830;p1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31" name="Google Shape;9831;p1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9832"/>
        <p:cNvGrpSpPr/>
        <p:nvPr/>
      </p:nvGrpSpPr>
      <p:grpSpPr>
        <a:xfrm>
          <a:off x="0" y="0"/>
          <a:ext cx="0" cy="0"/>
          <a:chOff x="0" y="0"/>
          <a:chExt cx="0" cy="0"/>
        </a:xfrm>
      </p:grpSpPr>
      <p:sp>
        <p:nvSpPr>
          <p:cNvPr id="9833" name="Google Shape;9833;p1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34" name="Google Shape;9834;p13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835" name="Google Shape;9835;p1333"/>
          <p:cNvGrpSpPr/>
          <p:nvPr/>
        </p:nvGrpSpPr>
        <p:grpSpPr>
          <a:xfrm>
            <a:off x="7191542" y="1"/>
            <a:ext cx="5000459" cy="1425992"/>
            <a:chOff x="7191542" y="1"/>
            <a:chExt cx="5000459" cy="1425992"/>
          </a:xfrm>
        </p:grpSpPr>
        <p:pic>
          <p:nvPicPr>
            <p:cNvPr id="9836" name="Google Shape;9836;p1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37" name="Google Shape;9837;p1333"/>
            <p:cNvGrpSpPr/>
            <p:nvPr/>
          </p:nvGrpSpPr>
          <p:grpSpPr>
            <a:xfrm>
              <a:off x="7191542" y="1"/>
              <a:ext cx="5000459" cy="1425992"/>
              <a:chOff x="7186272" y="0"/>
              <a:chExt cx="5005729" cy="1427495"/>
            </a:xfrm>
          </p:grpSpPr>
          <p:sp>
            <p:nvSpPr>
              <p:cNvPr id="9838" name="Google Shape;9838;p1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39" name="Google Shape;9839;p1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840" name="Google Shape;9840;p13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41" name="Google Shape;9841;p13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42" name="Google Shape;9842;p1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43" name="Google Shape;9843;p1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08"/>
        <p:cNvGrpSpPr/>
        <p:nvPr/>
      </p:nvGrpSpPr>
      <p:grpSpPr>
        <a:xfrm>
          <a:off x="0" y="0"/>
          <a:ext cx="0" cy="0"/>
          <a:chOff x="0" y="0"/>
          <a:chExt cx="0" cy="0"/>
        </a:xfrm>
      </p:grpSpPr>
      <p:grpSp>
        <p:nvGrpSpPr>
          <p:cNvPr id="1009" name="Google Shape;1009;p152"/>
          <p:cNvGrpSpPr/>
          <p:nvPr/>
        </p:nvGrpSpPr>
        <p:grpSpPr>
          <a:xfrm>
            <a:off x="7191542" y="1"/>
            <a:ext cx="5000459" cy="1425992"/>
            <a:chOff x="7191542" y="1"/>
            <a:chExt cx="5000459" cy="1425992"/>
          </a:xfrm>
        </p:grpSpPr>
        <p:pic>
          <p:nvPicPr>
            <p:cNvPr id="1010" name="Google Shape;1010;p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 name="Google Shape;1011;p152"/>
            <p:cNvGrpSpPr/>
            <p:nvPr/>
          </p:nvGrpSpPr>
          <p:grpSpPr>
            <a:xfrm>
              <a:off x="7191542" y="1"/>
              <a:ext cx="5000459" cy="1425992"/>
              <a:chOff x="7186272" y="0"/>
              <a:chExt cx="5005729" cy="1427495"/>
            </a:xfrm>
          </p:grpSpPr>
          <p:sp>
            <p:nvSpPr>
              <p:cNvPr id="1012" name="Google Shape;1012;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3" name="Google Shape;1013;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4" name="Google Shape;1014;p1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 name="Google Shape;1015;p1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6" name="Google Shape;1016;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7" name="Google Shape;1017;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 name="Google Shape;1018;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9844"/>
        <p:cNvGrpSpPr/>
        <p:nvPr/>
      </p:nvGrpSpPr>
      <p:grpSpPr>
        <a:xfrm>
          <a:off x="0" y="0"/>
          <a:ext cx="0" cy="0"/>
          <a:chOff x="0" y="0"/>
          <a:chExt cx="0" cy="0"/>
        </a:xfrm>
      </p:grpSpPr>
      <p:grpSp>
        <p:nvGrpSpPr>
          <p:cNvPr id="9845" name="Google Shape;9845;p1334"/>
          <p:cNvGrpSpPr/>
          <p:nvPr/>
        </p:nvGrpSpPr>
        <p:grpSpPr>
          <a:xfrm>
            <a:off x="7191542" y="1"/>
            <a:ext cx="5000459" cy="1425992"/>
            <a:chOff x="7191542" y="1"/>
            <a:chExt cx="5000459" cy="1425992"/>
          </a:xfrm>
        </p:grpSpPr>
        <p:pic>
          <p:nvPicPr>
            <p:cNvPr id="9846" name="Google Shape;9846;p1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47" name="Google Shape;9847;p1334"/>
            <p:cNvGrpSpPr/>
            <p:nvPr/>
          </p:nvGrpSpPr>
          <p:grpSpPr>
            <a:xfrm>
              <a:off x="7191542" y="1"/>
              <a:ext cx="5000459" cy="1425992"/>
              <a:chOff x="7186272" y="0"/>
              <a:chExt cx="5005729" cy="1427495"/>
            </a:xfrm>
          </p:grpSpPr>
          <p:sp>
            <p:nvSpPr>
              <p:cNvPr id="9848" name="Google Shape;9848;p1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49" name="Google Shape;9849;p1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850" name="Google Shape;9850;p13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1" name="Google Shape;9851;p13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2" name="Google Shape;9852;p13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53" name="Google Shape;9853;p13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4" name="Google Shape;9854;p13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55" name="Google Shape;9855;p13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56" name="Google Shape;9856;p1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57" name="Google Shape;9857;p1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9858"/>
        <p:cNvGrpSpPr/>
        <p:nvPr/>
      </p:nvGrpSpPr>
      <p:grpSpPr>
        <a:xfrm>
          <a:off x="0" y="0"/>
          <a:ext cx="0" cy="0"/>
          <a:chOff x="0" y="0"/>
          <a:chExt cx="0" cy="0"/>
        </a:xfrm>
      </p:grpSpPr>
      <p:grpSp>
        <p:nvGrpSpPr>
          <p:cNvPr id="9859" name="Google Shape;9859;p1335"/>
          <p:cNvGrpSpPr/>
          <p:nvPr/>
        </p:nvGrpSpPr>
        <p:grpSpPr>
          <a:xfrm>
            <a:off x="7191542" y="1"/>
            <a:ext cx="5000459" cy="1425992"/>
            <a:chOff x="7191542" y="1"/>
            <a:chExt cx="5000459" cy="1425992"/>
          </a:xfrm>
        </p:grpSpPr>
        <p:pic>
          <p:nvPicPr>
            <p:cNvPr id="9860" name="Google Shape;9860;p1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61" name="Google Shape;9861;p1335"/>
            <p:cNvGrpSpPr/>
            <p:nvPr/>
          </p:nvGrpSpPr>
          <p:grpSpPr>
            <a:xfrm>
              <a:off x="7191542" y="1"/>
              <a:ext cx="5000459" cy="1425992"/>
              <a:chOff x="7186272" y="0"/>
              <a:chExt cx="5005729" cy="1427495"/>
            </a:xfrm>
          </p:grpSpPr>
          <p:sp>
            <p:nvSpPr>
              <p:cNvPr id="9862" name="Google Shape;9862;p1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63" name="Google Shape;9863;p1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864" name="Google Shape;9864;p1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65" name="Google Shape;9865;p13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66" name="Google Shape;9866;p1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67" name="Google Shape;9867;p1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9868"/>
        <p:cNvGrpSpPr/>
        <p:nvPr/>
      </p:nvGrpSpPr>
      <p:grpSpPr>
        <a:xfrm>
          <a:off x="0" y="0"/>
          <a:ext cx="0" cy="0"/>
          <a:chOff x="0" y="0"/>
          <a:chExt cx="0" cy="0"/>
        </a:xfrm>
      </p:grpSpPr>
      <p:grpSp>
        <p:nvGrpSpPr>
          <p:cNvPr id="9869" name="Google Shape;9869;p1336"/>
          <p:cNvGrpSpPr/>
          <p:nvPr/>
        </p:nvGrpSpPr>
        <p:grpSpPr>
          <a:xfrm>
            <a:off x="0" y="0"/>
            <a:ext cx="12192000" cy="2148830"/>
            <a:chOff x="0" y="0"/>
            <a:chExt cx="12192000" cy="2148830"/>
          </a:xfrm>
        </p:grpSpPr>
        <p:sp>
          <p:nvSpPr>
            <p:cNvPr id="9870" name="Google Shape;9870;p133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71" name="Google Shape;9871;p133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9872" name="Google Shape;9872;p133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73" name="Google Shape;9873;p133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74" name="Google Shape;9874;p133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875" name="Google Shape;9875;p133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876" name="Google Shape;9876;p133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9877"/>
        <p:cNvGrpSpPr/>
        <p:nvPr/>
      </p:nvGrpSpPr>
      <p:grpSpPr>
        <a:xfrm>
          <a:off x="0" y="0"/>
          <a:ext cx="0" cy="0"/>
          <a:chOff x="0" y="0"/>
          <a:chExt cx="0" cy="0"/>
        </a:xfrm>
      </p:grpSpPr>
      <p:sp>
        <p:nvSpPr>
          <p:cNvPr id="9878" name="Google Shape;9878;p13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79" name="Google Shape;9879;p13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0" name="Google Shape;9880;p13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81" name="Google Shape;9881;p1337"/>
          <p:cNvGrpSpPr/>
          <p:nvPr/>
        </p:nvGrpSpPr>
        <p:grpSpPr>
          <a:xfrm>
            <a:off x="7191542" y="1"/>
            <a:ext cx="5000459" cy="1425992"/>
            <a:chOff x="7191542" y="1"/>
            <a:chExt cx="5000459" cy="1425992"/>
          </a:xfrm>
        </p:grpSpPr>
        <p:pic>
          <p:nvPicPr>
            <p:cNvPr id="9882" name="Google Shape;9882;p13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3" name="Google Shape;9883;p1337"/>
            <p:cNvGrpSpPr/>
            <p:nvPr/>
          </p:nvGrpSpPr>
          <p:grpSpPr>
            <a:xfrm>
              <a:off x="7191542" y="1"/>
              <a:ext cx="5000459" cy="1425992"/>
              <a:chOff x="7186272" y="0"/>
              <a:chExt cx="5005729" cy="1427495"/>
            </a:xfrm>
          </p:grpSpPr>
          <p:sp>
            <p:nvSpPr>
              <p:cNvPr id="9884" name="Google Shape;9884;p13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885" name="Google Shape;9885;p13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9886"/>
        <p:cNvGrpSpPr/>
        <p:nvPr/>
      </p:nvGrpSpPr>
      <p:grpSpPr>
        <a:xfrm>
          <a:off x="0" y="0"/>
          <a:ext cx="0" cy="0"/>
          <a:chOff x="0" y="0"/>
          <a:chExt cx="0" cy="0"/>
        </a:xfrm>
      </p:grpSpPr>
      <p:sp>
        <p:nvSpPr>
          <p:cNvPr id="9887" name="Google Shape;9887;p9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88" name="Google Shape;9888;p9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89" name="Google Shape;9889;p9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90" name="Google Shape;9890;p932"/>
          <p:cNvSpPr>
            <a:spLocks noGrp="1"/>
          </p:cNvSpPr>
          <p:nvPr>
            <p:ph type="pic" idx="2"/>
          </p:nvPr>
        </p:nvSpPr>
        <p:spPr>
          <a:xfrm>
            <a:off x="7118684" y="233915"/>
            <a:ext cx="5073316" cy="5943600"/>
          </a:xfrm>
          <a:prstGeom prst="rect">
            <a:avLst/>
          </a:prstGeom>
          <a:noFill/>
          <a:ln>
            <a:noFill/>
          </a:ln>
        </p:spPr>
      </p:sp>
      <p:grpSp>
        <p:nvGrpSpPr>
          <p:cNvPr id="9891" name="Google Shape;9891;p932"/>
          <p:cNvGrpSpPr/>
          <p:nvPr/>
        </p:nvGrpSpPr>
        <p:grpSpPr>
          <a:xfrm>
            <a:off x="0" y="5020348"/>
            <a:ext cx="12192000" cy="1837653"/>
            <a:chOff x="0" y="5020348"/>
            <a:chExt cx="12192000" cy="1837653"/>
          </a:xfrm>
        </p:grpSpPr>
        <p:sp>
          <p:nvSpPr>
            <p:cNvPr id="9892" name="Google Shape;9892;p9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93" name="Google Shape;9893;p9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894" name="Google Shape;9894;p9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9895"/>
        <p:cNvGrpSpPr/>
        <p:nvPr/>
      </p:nvGrpSpPr>
      <p:grpSpPr>
        <a:xfrm>
          <a:off x="0" y="0"/>
          <a:ext cx="0" cy="0"/>
          <a:chOff x="0" y="0"/>
          <a:chExt cx="0" cy="0"/>
        </a:xfrm>
      </p:grpSpPr>
      <p:grpSp>
        <p:nvGrpSpPr>
          <p:cNvPr id="9896" name="Google Shape;9896;p1338"/>
          <p:cNvGrpSpPr/>
          <p:nvPr/>
        </p:nvGrpSpPr>
        <p:grpSpPr>
          <a:xfrm>
            <a:off x="0" y="5020347"/>
            <a:ext cx="12192000" cy="1837653"/>
            <a:chOff x="0" y="5020347"/>
            <a:chExt cx="12192000" cy="1837653"/>
          </a:xfrm>
        </p:grpSpPr>
        <p:sp>
          <p:nvSpPr>
            <p:cNvPr id="9897" name="Google Shape;9897;p13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98" name="Google Shape;9898;p1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899" name="Google Shape;9899;p13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9900" name="Google Shape;9900;p1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1" name="Google Shape;9901;p133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2" name="Google Shape;9902;p133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9903"/>
        <p:cNvGrpSpPr/>
        <p:nvPr/>
      </p:nvGrpSpPr>
      <p:grpSpPr>
        <a:xfrm>
          <a:off x="0" y="0"/>
          <a:ext cx="0" cy="0"/>
          <a:chOff x="0" y="0"/>
          <a:chExt cx="0" cy="0"/>
        </a:xfrm>
      </p:grpSpPr>
      <p:sp>
        <p:nvSpPr>
          <p:cNvPr id="9904" name="Google Shape;9904;p1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905" name="Google Shape;9905;p1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6" name="Google Shape;9906;p1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07" name="Google Shape;9907;p1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08" name="Google Shape;9908;p1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9" name="Google Shape;9909;p1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10" name="Google Shape;9910;p1107"/>
          <p:cNvGrpSpPr/>
          <p:nvPr/>
        </p:nvGrpSpPr>
        <p:grpSpPr>
          <a:xfrm>
            <a:off x="7191542" y="1"/>
            <a:ext cx="5000459" cy="1425992"/>
            <a:chOff x="7191542" y="1"/>
            <a:chExt cx="5000459" cy="1425992"/>
          </a:xfrm>
        </p:grpSpPr>
        <p:pic>
          <p:nvPicPr>
            <p:cNvPr id="9911" name="Google Shape;9911;p11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12" name="Google Shape;9912;p1107"/>
            <p:cNvGrpSpPr/>
            <p:nvPr/>
          </p:nvGrpSpPr>
          <p:grpSpPr>
            <a:xfrm>
              <a:off x="7191542" y="1"/>
              <a:ext cx="5000459" cy="1425992"/>
              <a:chOff x="7186272" y="0"/>
              <a:chExt cx="5005729" cy="1427495"/>
            </a:xfrm>
          </p:grpSpPr>
          <p:sp>
            <p:nvSpPr>
              <p:cNvPr id="9913" name="Google Shape;9913;p1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14" name="Google Shape;9914;p1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915" name="Google Shape;9915;p1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9916"/>
        <p:cNvGrpSpPr/>
        <p:nvPr/>
      </p:nvGrpSpPr>
      <p:grpSpPr>
        <a:xfrm>
          <a:off x="0" y="0"/>
          <a:ext cx="0" cy="0"/>
          <a:chOff x="0" y="0"/>
          <a:chExt cx="0" cy="0"/>
        </a:xfrm>
      </p:grpSpPr>
      <p:sp>
        <p:nvSpPr>
          <p:cNvPr id="9917" name="Google Shape;9917;p9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18" name="Google Shape;9918;p9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19" name="Google Shape;9919;p933"/>
          <p:cNvGrpSpPr/>
          <p:nvPr/>
        </p:nvGrpSpPr>
        <p:grpSpPr>
          <a:xfrm>
            <a:off x="0" y="5379426"/>
            <a:ext cx="2807368" cy="753891"/>
            <a:chOff x="0" y="5379426"/>
            <a:chExt cx="2807368" cy="753891"/>
          </a:xfrm>
        </p:grpSpPr>
        <p:sp>
          <p:nvSpPr>
            <p:cNvPr id="9920" name="Google Shape;9920;p9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921" name="Google Shape;9921;p9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9922" name="Google Shape;9922;p933"/>
          <p:cNvSpPr>
            <a:spLocks noGrp="1"/>
          </p:cNvSpPr>
          <p:nvPr>
            <p:ph type="pic" idx="2"/>
          </p:nvPr>
        </p:nvSpPr>
        <p:spPr>
          <a:xfrm>
            <a:off x="2807368" y="457202"/>
            <a:ext cx="8915400" cy="5943598"/>
          </a:xfrm>
          <a:prstGeom prst="rect">
            <a:avLst/>
          </a:prstGeom>
          <a:noFill/>
          <a:ln>
            <a:noFill/>
          </a:ln>
        </p:spPr>
      </p:sp>
      <p:pic>
        <p:nvPicPr>
          <p:cNvPr id="9923" name="Google Shape;9923;p9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9924"/>
        <p:cNvGrpSpPr/>
        <p:nvPr/>
      </p:nvGrpSpPr>
      <p:grpSpPr>
        <a:xfrm>
          <a:off x="0" y="0"/>
          <a:ext cx="0" cy="0"/>
          <a:chOff x="0" y="0"/>
          <a:chExt cx="0" cy="0"/>
        </a:xfrm>
      </p:grpSpPr>
      <p:sp>
        <p:nvSpPr>
          <p:cNvPr id="9925" name="Google Shape;9925;p13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926" name="Google Shape;9926;p13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7" name="Google Shape;9927;p1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28" name="Google Shape;9928;p1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29" name="Google Shape;9929;p1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30" name="Google Shape;9930;p1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31" name="Google Shape;9931;p1339"/>
          <p:cNvGrpSpPr/>
          <p:nvPr/>
        </p:nvGrpSpPr>
        <p:grpSpPr>
          <a:xfrm>
            <a:off x="7191542" y="1"/>
            <a:ext cx="5000459" cy="1425992"/>
            <a:chOff x="7191542" y="1"/>
            <a:chExt cx="5000459" cy="1425992"/>
          </a:xfrm>
        </p:grpSpPr>
        <p:pic>
          <p:nvPicPr>
            <p:cNvPr id="9932" name="Google Shape;9932;p1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33" name="Google Shape;9933;p1339"/>
            <p:cNvGrpSpPr/>
            <p:nvPr/>
          </p:nvGrpSpPr>
          <p:grpSpPr>
            <a:xfrm>
              <a:off x="7191542" y="1"/>
              <a:ext cx="5000459" cy="1425992"/>
              <a:chOff x="7186272" y="0"/>
              <a:chExt cx="5005729" cy="1427495"/>
            </a:xfrm>
          </p:grpSpPr>
          <p:sp>
            <p:nvSpPr>
              <p:cNvPr id="9934" name="Google Shape;9934;p1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35" name="Google Shape;9935;p1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9936" name="Google Shape;9936;p133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9937"/>
        <p:cNvGrpSpPr/>
        <p:nvPr/>
      </p:nvGrpSpPr>
      <p:grpSpPr>
        <a:xfrm>
          <a:off x="0" y="0"/>
          <a:ext cx="0" cy="0"/>
          <a:chOff x="0" y="0"/>
          <a:chExt cx="0" cy="0"/>
        </a:xfrm>
      </p:grpSpPr>
      <p:grpSp>
        <p:nvGrpSpPr>
          <p:cNvPr id="9938" name="Google Shape;9938;p935"/>
          <p:cNvGrpSpPr/>
          <p:nvPr/>
        </p:nvGrpSpPr>
        <p:grpSpPr>
          <a:xfrm>
            <a:off x="7191542" y="1"/>
            <a:ext cx="5000459" cy="1425992"/>
            <a:chOff x="7191542" y="1"/>
            <a:chExt cx="5000459" cy="1425992"/>
          </a:xfrm>
        </p:grpSpPr>
        <p:pic>
          <p:nvPicPr>
            <p:cNvPr id="9939" name="Google Shape;9939;p9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0" name="Google Shape;9940;p935"/>
            <p:cNvGrpSpPr/>
            <p:nvPr/>
          </p:nvGrpSpPr>
          <p:grpSpPr>
            <a:xfrm>
              <a:off x="7191542" y="1"/>
              <a:ext cx="5000459" cy="1425992"/>
              <a:chOff x="7186272" y="0"/>
              <a:chExt cx="5005729" cy="1427495"/>
            </a:xfrm>
          </p:grpSpPr>
          <p:sp>
            <p:nvSpPr>
              <p:cNvPr id="9941" name="Google Shape;9941;p9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42" name="Google Shape;9942;p9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943" name="Google Shape;9943;p9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44" name="Google Shape;9944;p9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45" name="Google Shape;9945;p9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46" name="Google Shape;9946;p9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47" name="Google Shape;9947;p9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19"/>
        <p:cNvGrpSpPr/>
        <p:nvPr/>
      </p:nvGrpSpPr>
      <p:grpSpPr>
        <a:xfrm>
          <a:off x="0" y="0"/>
          <a:ext cx="0" cy="0"/>
          <a:chOff x="0" y="0"/>
          <a:chExt cx="0" cy="0"/>
        </a:xfrm>
      </p:grpSpPr>
      <p:sp>
        <p:nvSpPr>
          <p:cNvPr id="1020" name="Google Shape;1020;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1" name="Google Shape;1021;p1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2" name="Google Shape;1022;p153"/>
          <p:cNvGrpSpPr/>
          <p:nvPr/>
        </p:nvGrpSpPr>
        <p:grpSpPr>
          <a:xfrm>
            <a:off x="7191542" y="1"/>
            <a:ext cx="5000459" cy="1425992"/>
            <a:chOff x="7191542" y="1"/>
            <a:chExt cx="5000459" cy="1425992"/>
          </a:xfrm>
        </p:grpSpPr>
        <p:pic>
          <p:nvPicPr>
            <p:cNvPr id="1023" name="Google Shape;1023;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4" name="Google Shape;1024;p153"/>
            <p:cNvGrpSpPr/>
            <p:nvPr/>
          </p:nvGrpSpPr>
          <p:grpSpPr>
            <a:xfrm>
              <a:off x="7191542" y="1"/>
              <a:ext cx="5000459" cy="1425992"/>
              <a:chOff x="7186272" y="0"/>
              <a:chExt cx="5005729" cy="1427495"/>
            </a:xfrm>
          </p:grpSpPr>
          <p:sp>
            <p:nvSpPr>
              <p:cNvPr id="1025" name="Google Shape;1025;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6" name="Google Shape;1026;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7" name="Google Shape;1027;p1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9948"/>
        <p:cNvGrpSpPr/>
        <p:nvPr/>
      </p:nvGrpSpPr>
      <p:grpSpPr>
        <a:xfrm>
          <a:off x="0" y="0"/>
          <a:ext cx="0" cy="0"/>
          <a:chOff x="0" y="0"/>
          <a:chExt cx="0" cy="0"/>
        </a:xfrm>
      </p:grpSpPr>
      <p:sp>
        <p:nvSpPr>
          <p:cNvPr id="9949" name="Google Shape;9949;p9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50" name="Google Shape;9950;p93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51" name="Google Shape;9951;p936"/>
          <p:cNvGrpSpPr/>
          <p:nvPr/>
        </p:nvGrpSpPr>
        <p:grpSpPr>
          <a:xfrm>
            <a:off x="7191542" y="1"/>
            <a:ext cx="5000459" cy="1425992"/>
            <a:chOff x="7191542" y="1"/>
            <a:chExt cx="5000459" cy="1425992"/>
          </a:xfrm>
        </p:grpSpPr>
        <p:pic>
          <p:nvPicPr>
            <p:cNvPr id="9952" name="Google Shape;9952;p9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53" name="Google Shape;9953;p936"/>
            <p:cNvGrpSpPr/>
            <p:nvPr/>
          </p:nvGrpSpPr>
          <p:grpSpPr>
            <a:xfrm>
              <a:off x="7191542" y="1"/>
              <a:ext cx="5000459" cy="1425992"/>
              <a:chOff x="7186272" y="0"/>
              <a:chExt cx="5005729" cy="1427495"/>
            </a:xfrm>
          </p:grpSpPr>
          <p:sp>
            <p:nvSpPr>
              <p:cNvPr id="9954" name="Google Shape;9954;p9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55" name="Google Shape;9955;p9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956" name="Google Shape;9956;p93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57" name="Google Shape;9957;p93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58" name="Google Shape;9958;p9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9" name="Google Shape;9959;p9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9960"/>
        <p:cNvGrpSpPr/>
        <p:nvPr/>
      </p:nvGrpSpPr>
      <p:grpSpPr>
        <a:xfrm>
          <a:off x="0" y="0"/>
          <a:ext cx="0" cy="0"/>
          <a:chOff x="0" y="0"/>
          <a:chExt cx="0" cy="0"/>
        </a:xfrm>
      </p:grpSpPr>
      <p:grpSp>
        <p:nvGrpSpPr>
          <p:cNvPr id="9961" name="Google Shape;9961;p937"/>
          <p:cNvGrpSpPr/>
          <p:nvPr/>
        </p:nvGrpSpPr>
        <p:grpSpPr>
          <a:xfrm>
            <a:off x="7191542" y="1"/>
            <a:ext cx="5000459" cy="1425992"/>
            <a:chOff x="7191542" y="1"/>
            <a:chExt cx="5000459" cy="1425992"/>
          </a:xfrm>
        </p:grpSpPr>
        <p:pic>
          <p:nvPicPr>
            <p:cNvPr id="9962" name="Google Shape;9962;p9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3" name="Google Shape;9963;p937"/>
            <p:cNvGrpSpPr/>
            <p:nvPr/>
          </p:nvGrpSpPr>
          <p:grpSpPr>
            <a:xfrm>
              <a:off x="7191542" y="1"/>
              <a:ext cx="5000459" cy="1425992"/>
              <a:chOff x="7186272" y="0"/>
              <a:chExt cx="5005729" cy="1427495"/>
            </a:xfrm>
          </p:grpSpPr>
          <p:sp>
            <p:nvSpPr>
              <p:cNvPr id="9964" name="Google Shape;9964;p9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65" name="Google Shape;9965;p9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966" name="Google Shape;9966;p9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7" name="Google Shape;9967;p9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68" name="Google Shape;9968;p9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69" name="Google Shape;9969;p9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70" name="Google Shape;9970;p9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71" name="Google Shape;9971;p9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72" name="Google Shape;9972;p9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73" name="Google Shape;9973;p9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9974"/>
        <p:cNvGrpSpPr/>
        <p:nvPr/>
      </p:nvGrpSpPr>
      <p:grpSpPr>
        <a:xfrm>
          <a:off x="0" y="0"/>
          <a:ext cx="0" cy="0"/>
          <a:chOff x="0" y="0"/>
          <a:chExt cx="0" cy="0"/>
        </a:xfrm>
      </p:grpSpPr>
      <p:grpSp>
        <p:nvGrpSpPr>
          <p:cNvPr id="9975" name="Google Shape;9975;p938"/>
          <p:cNvGrpSpPr/>
          <p:nvPr/>
        </p:nvGrpSpPr>
        <p:grpSpPr>
          <a:xfrm>
            <a:off x="7191542" y="1"/>
            <a:ext cx="5000459" cy="1425992"/>
            <a:chOff x="7191542" y="1"/>
            <a:chExt cx="5000459" cy="1425992"/>
          </a:xfrm>
        </p:grpSpPr>
        <p:pic>
          <p:nvPicPr>
            <p:cNvPr id="9976" name="Google Shape;9976;p9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77" name="Google Shape;9977;p938"/>
            <p:cNvGrpSpPr/>
            <p:nvPr/>
          </p:nvGrpSpPr>
          <p:grpSpPr>
            <a:xfrm>
              <a:off x="7191542" y="1"/>
              <a:ext cx="5000459" cy="1425992"/>
              <a:chOff x="7186272" y="0"/>
              <a:chExt cx="5005729" cy="1427495"/>
            </a:xfrm>
          </p:grpSpPr>
          <p:sp>
            <p:nvSpPr>
              <p:cNvPr id="9978" name="Google Shape;9978;p9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79" name="Google Shape;9979;p9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9980" name="Google Shape;9980;p9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1" name="Google Shape;9981;p9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82" name="Google Shape;9982;p9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83" name="Google Shape;9983;p9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9984"/>
        <p:cNvGrpSpPr/>
        <p:nvPr/>
      </p:nvGrpSpPr>
      <p:grpSpPr>
        <a:xfrm>
          <a:off x="0" y="0"/>
          <a:ext cx="0" cy="0"/>
          <a:chOff x="0" y="0"/>
          <a:chExt cx="0" cy="0"/>
        </a:xfrm>
      </p:grpSpPr>
      <p:grpSp>
        <p:nvGrpSpPr>
          <p:cNvPr id="9985" name="Google Shape;9985;p939"/>
          <p:cNvGrpSpPr/>
          <p:nvPr/>
        </p:nvGrpSpPr>
        <p:grpSpPr>
          <a:xfrm>
            <a:off x="0" y="0"/>
            <a:ext cx="12192000" cy="2148830"/>
            <a:chOff x="0" y="0"/>
            <a:chExt cx="12192000" cy="2148830"/>
          </a:xfrm>
        </p:grpSpPr>
        <p:sp>
          <p:nvSpPr>
            <p:cNvPr id="9986" name="Google Shape;9986;p9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9987" name="Google Shape;9987;p9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9988" name="Google Shape;9988;p9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9989" name="Google Shape;9989;p9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0" name="Google Shape;9990;p9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991" name="Google Shape;9991;p9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992" name="Google Shape;9992;p9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9993"/>
        <p:cNvGrpSpPr/>
        <p:nvPr/>
      </p:nvGrpSpPr>
      <p:grpSpPr>
        <a:xfrm>
          <a:off x="0" y="0"/>
          <a:ext cx="0" cy="0"/>
          <a:chOff x="0" y="0"/>
          <a:chExt cx="0" cy="0"/>
        </a:xfrm>
      </p:grpSpPr>
      <p:sp>
        <p:nvSpPr>
          <p:cNvPr id="9994" name="Google Shape;9994;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95" name="Google Shape;9995;p9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96" name="Google Shape;9996;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97" name="Google Shape;9997;p940"/>
          <p:cNvGrpSpPr/>
          <p:nvPr/>
        </p:nvGrpSpPr>
        <p:grpSpPr>
          <a:xfrm>
            <a:off x="7191542" y="1"/>
            <a:ext cx="5000459" cy="1425992"/>
            <a:chOff x="7191542" y="1"/>
            <a:chExt cx="5000459" cy="1425992"/>
          </a:xfrm>
        </p:grpSpPr>
        <p:pic>
          <p:nvPicPr>
            <p:cNvPr id="9998" name="Google Shape;9998;p9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99" name="Google Shape;9999;p940"/>
            <p:cNvGrpSpPr/>
            <p:nvPr/>
          </p:nvGrpSpPr>
          <p:grpSpPr>
            <a:xfrm>
              <a:off x="7191542" y="1"/>
              <a:ext cx="5000459" cy="1425992"/>
              <a:chOff x="7186272" y="0"/>
              <a:chExt cx="5005729" cy="1427495"/>
            </a:xfrm>
          </p:grpSpPr>
          <p:sp>
            <p:nvSpPr>
              <p:cNvPr id="10000" name="Google Shape;10000;p9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01" name="Google Shape;10001;p9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10002"/>
        <p:cNvGrpSpPr/>
        <p:nvPr/>
      </p:nvGrpSpPr>
      <p:grpSpPr>
        <a:xfrm>
          <a:off x="0" y="0"/>
          <a:ext cx="0" cy="0"/>
          <a:chOff x="0" y="0"/>
          <a:chExt cx="0" cy="0"/>
        </a:xfrm>
      </p:grpSpPr>
      <p:sp>
        <p:nvSpPr>
          <p:cNvPr id="10003" name="Google Shape;10003;p90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04" name="Google Shape;10004;p90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05" name="Google Shape;10005;p90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06" name="Google Shape;10006;p901"/>
          <p:cNvSpPr>
            <a:spLocks noGrp="1"/>
          </p:cNvSpPr>
          <p:nvPr>
            <p:ph type="pic" idx="2"/>
          </p:nvPr>
        </p:nvSpPr>
        <p:spPr>
          <a:xfrm>
            <a:off x="7118684" y="233915"/>
            <a:ext cx="5073316" cy="5943600"/>
          </a:xfrm>
          <a:prstGeom prst="rect">
            <a:avLst/>
          </a:prstGeom>
          <a:noFill/>
          <a:ln>
            <a:noFill/>
          </a:ln>
        </p:spPr>
      </p:sp>
      <p:grpSp>
        <p:nvGrpSpPr>
          <p:cNvPr id="10007" name="Google Shape;10007;p901"/>
          <p:cNvGrpSpPr/>
          <p:nvPr/>
        </p:nvGrpSpPr>
        <p:grpSpPr>
          <a:xfrm>
            <a:off x="0" y="5020348"/>
            <a:ext cx="12192000" cy="1837653"/>
            <a:chOff x="0" y="5020348"/>
            <a:chExt cx="12192000" cy="1837653"/>
          </a:xfrm>
        </p:grpSpPr>
        <p:sp>
          <p:nvSpPr>
            <p:cNvPr id="10008" name="Google Shape;10008;p9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09" name="Google Shape;10009;p9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010" name="Google Shape;10010;p9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10011"/>
        <p:cNvGrpSpPr/>
        <p:nvPr/>
      </p:nvGrpSpPr>
      <p:grpSpPr>
        <a:xfrm>
          <a:off x="0" y="0"/>
          <a:ext cx="0" cy="0"/>
          <a:chOff x="0" y="0"/>
          <a:chExt cx="0" cy="0"/>
        </a:xfrm>
      </p:grpSpPr>
      <p:grpSp>
        <p:nvGrpSpPr>
          <p:cNvPr id="10012" name="Google Shape;10012;p375"/>
          <p:cNvGrpSpPr/>
          <p:nvPr/>
        </p:nvGrpSpPr>
        <p:grpSpPr>
          <a:xfrm>
            <a:off x="0" y="5020347"/>
            <a:ext cx="12192000" cy="1837653"/>
            <a:chOff x="0" y="5020347"/>
            <a:chExt cx="12192000" cy="1837653"/>
          </a:xfrm>
        </p:grpSpPr>
        <p:sp>
          <p:nvSpPr>
            <p:cNvPr id="10013" name="Google Shape;10013;p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14" name="Google Shape;10014;p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15" name="Google Shape;10015;p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016" name="Google Shape;10016;p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017" name="Google Shape;10017;p3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18" name="Google Shape;10018;p3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10019"/>
        <p:cNvGrpSpPr/>
        <p:nvPr/>
      </p:nvGrpSpPr>
      <p:grpSpPr>
        <a:xfrm>
          <a:off x="0" y="0"/>
          <a:ext cx="0" cy="0"/>
          <a:chOff x="0" y="0"/>
          <a:chExt cx="0" cy="0"/>
        </a:xfrm>
      </p:grpSpPr>
      <p:sp>
        <p:nvSpPr>
          <p:cNvPr id="10020" name="Google Shape;10020;p13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21" name="Google Shape;10021;p13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2" name="Google Shape;10022;p1340"/>
          <p:cNvGrpSpPr/>
          <p:nvPr/>
        </p:nvGrpSpPr>
        <p:grpSpPr>
          <a:xfrm>
            <a:off x="0" y="5379426"/>
            <a:ext cx="2807368" cy="753891"/>
            <a:chOff x="0" y="5379426"/>
            <a:chExt cx="2807368" cy="753891"/>
          </a:xfrm>
        </p:grpSpPr>
        <p:sp>
          <p:nvSpPr>
            <p:cNvPr id="10023" name="Google Shape;10023;p13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24" name="Google Shape;10024;p13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025" name="Google Shape;10025;p1340"/>
          <p:cNvSpPr>
            <a:spLocks noGrp="1"/>
          </p:cNvSpPr>
          <p:nvPr>
            <p:ph type="pic" idx="2"/>
          </p:nvPr>
        </p:nvSpPr>
        <p:spPr>
          <a:xfrm>
            <a:off x="2807368" y="457202"/>
            <a:ext cx="8915400" cy="5943598"/>
          </a:xfrm>
          <a:prstGeom prst="rect">
            <a:avLst/>
          </a:prstGeom>
          <a:noFill/>
          <a:ln>
            <a:noFill/>
          </a:ln>
        </p:spPr>
      </p:sp>
      <p:pic>
        <p:nvPicPr>
          <p:cNvPr id="10026" name="Google Shape;10026;p13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10027"/>
        <p:cNvGrpSpPr/>
        <p:nvPr/>
      </p:nvGrpSpPr>
      <p:grpSpPr>
        <a:xfrm>
          <a:off x="0" y="0"/>
          <a:ext cx="0" cy="0"/>
          <a:chOff x="0" y="0"/>
          <a:chExt cx="0" cy="0"/>
        </a:xfrm>
      </p:grpSpPr>
      <p:sp>
        <p:nvSpPr>
          <p:cNvPr id="10028" name="Google Shape;10028;p13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29" name="Google Shape;10029;p13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30" name="Google Shape;10030;p1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31" name="Google Shape;10031;p13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32" name="Google Shape;10032;p1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33" name="Google Shape;10033;p1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34" name="Google Shape;10034;p1341"/>
          <p:cNvGrpSpPr/>
          <p:nvPr/>
        </p:nvGrpSpPr>
        <p:grpSpPr>
          <a:xfrm>
            <a:off x="7191542" y="1"/>
            <a:ext cx="5000459" cy="1425992"/>
            <a:chOff x="7191542" y="1"/>
            <a:chExt cx="5000459" cy="1425992"/>
          </a:xfrm>
        </p:grpSpPr>
        <p:pic>
          <p:nvPicPr>
            <p:cNvPr id="10035" name="Google Shape;10035;p1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36" name="Google Shape;10036;p1341"/>
            <p:cNvGrpSpPr/>
            <p:nvPr/>
          </p:nvGrpSpPr>
          <p:grpSpPr>
            <a:xfrm>
              <a:off x="7191542" y="1"/>
              <a:ext cx="5000459" cy="1425992"/>
              <a:chOff x="7186272" y="0"/>
              <a:chExt cx="5005729" cy="1427495"/>
            </a:xfrm>
          </p:grpSpPr>
          <p:sp>
            <p:nvSpPr>
              <p:cNvPr id="10037" name="Google Shape;10037;p1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38" name="Google Shape;10038;p1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039" name="Google Shape;10039;p13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10040"/>
        <p:cNvGrpSpPr/>
        <p:nvPr/>
      </p:nvGrpSpPr>
      <p:grpSpPr>
        <a:xfrm>
          <a:off x="0" y="0"/>
          <a:ext cx="0" cy="0"/>
          <a:chOff x="0" y="0"/>
          <a:chExt cx="0" cy="0"/>
        </a:xfrm>
      </p:grpSpPr>
      <p:sp>
        <p:nvSpPr>
          <p:cNvPr id="10041" name="Google Shape;10041;p13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042" name="Google Shape;10042;p13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43" name="Google Shape;10043;p13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4" name="Google Shape;10044;p13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45" name="Google Shape;10045;p1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46" name="Google Shape;10046;p1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47" name="Google Shape;10047;p1342"/>
          <p:cNvGrpSpPr/>
          <p:nvPr/>
        </p:nvGrpSpPr>
        <p:grpSpPr>
          <a:xfrm>
            <a:off x="7191542" y="1"/>
            <a:ext cx="5000459" cy="1425992"/>
            <a:chOff x="7191542" y="1"/>
            <a:chExt cx="5000459" cy="1425992"/>
          </a:xfrm>
        </p:grpSpPr>
        <p:pic>
          <p:nvPicPr>
            <p:cNvPr id="10048" name="Google Shape;10048;p1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49" name="Google Shape;10049;p1342"/>
            <p:cNvGrpSpPr/>
            <p:nvPr/>
          </p:nvGrpSpPr>
          <p:grpSpPr>
            <a:xfrm>
              <a:off x="7191542" y="1"/>
              <a:ext cx="5000459" cy="1425992"/>
              <a:chOff x="7186272" y="0"/>
              <a:chExt cx="5005729" cy="1427495"/>
            </a:xfrm>
          </p:grpSpPr>
          <p:sp>
            <p:nvSpPr>
              <p:cNvPr id="10050" name="Google Shape;10050;p1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51" name="Google Shape;10051;p1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052" name="Google Shape;10052;p134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1"/>
        <p:cNvGrpSpPr/>
        <p:nvPr/>
      </p:nvGrpSpPr>
      <p:grpSpPr>
        <a:xfrm>
          <a:off x="0" y="0"/>
          <a:ext cx="0" cy="0"/>
          <a:chOff x="0" y="0"/>
          <a:chExt cx="0" cy="0"/>
        </a:xfrm>
      </p:grpSpPr>
      <p:grpSp>
        <p:nvGrpSpPr>
          <p:cNvPr id="1032" name="Google Shape;1032;p154"/>
          <p:cNvGrpSpPr/>
          <p:nvPr/>
        </p:nvGrpSpPr>
        <p:grpSpPr>
          <a:xfrm>
            <a:off x="7191542" y="1"/>
            <a:ext cx="5000459" cy="1425992"/>
            <a:chOff x="7191542" y="1"/>
            <a:chExt cx="5000459" cy="1425992"/>
          </a:xfrm>
        </p:grpSpPr>
        <p:pic>
          <p:nvPicPr>
            <p:cNvPr id="1033" name="Google Shape;1033;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 name="Google Shape;1034;p154"/>
            <p:cNvGrpSpPr/>
            <p:nvPr/>
          </p:nvGrpSpPr>
          <p:grpSpPr>
            <a:xfrm>
              <a:off x="7191542" y="1"/>
              <a:ext cx="5000459" cy="1425992"/>
              <a:chOff x="7186272" y="0"/>
              <a:chExt cx="5005729" cy="1427495"/>
            </a:xfrm>
          </p:grpSpPr>
          <p:sp>
            <p:nvSpPr>
              <p:cNvPr id="1035" name="Google Shape;103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6" name="Google Shape;103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7" name="Google Shape;103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38" name="Google Shape;1038;p1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9" name="Google Shape;1039;p1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1" name="Google Shape;1041;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 name="Google Shape;1042;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3" name="Google Shape;1043;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4" name="Google Shape;1044;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0053"/>
        <p:cNvGrpSpPr/>
        <p:nvPr/>
      </p:nvGrpSpPr>
      <p:grpSpPr>
        <a:xfrm>
          <a:off x="0" y="0"/>
          <a:ext cx="0" cy="0"/>
          <a:chOff x="0" y="0"/>
          <a:chExt cx="0" cy="0"/>
        </a:xfrm>
      </p:grpSpPr>
      <p:grpSp>
        <p:nvGrpSpPr>
          <p:cNvPr id="10054" name="Google Shape;10054;p1343"/>
          <p:cNvGrpSpPr/>
          <p:nvPr/>
        </p:nvGrpSpPr>
        <p:grpSpPr>
          <a:xfrm>
            <a:off x="7191542" y="1"/>
            <a:ext cx="5000459" cy="1425992"/>
            <a:chOff x="7191542" y="1"/>
            <a:chExt cx="5000459" cy="1425992"/>
          </a:xfrm>
        </p:grpSpPr>
        <p:pic>
          <p:nvPicPr>
            <p:cNvPr id="10055" name="Google Shape;10055;p13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56" name="Google Shape;10056;p1343"/>
            <p:cNvGrpSpPr/>
            <p:nvPr/>
          </p:nvGrpSpPr>
          <p:grpSpPr>
            <a:xfrm>
              <a:off x="7191542" y="1"/>
              <a:ext cx="5000459" cy="1425992"/>
              <a:chOff x="7186272" y="0"/>
              <a:chExt cx="5005729" cy="1427495"/>
            </a:xfrm>
          </p:grpSpPr>
          <p:sp>
            <p:nvSpPr>
              <p:cNvPr id="10057" name="Google Shape;10057;p1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58" name="Google Shape;10058;p1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059" name="Google Shape;10059;p13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60" name="Google Shape;10060;p13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61" name="Google Shape;10061;p13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62" name="Google Shape;10062;p1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3" name="Google Shape;10063;p1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10064"/>
        <p:cNvGrpSpPr/>
        <p:nvPr/>
      </p:nvGrpSpPr>
      <p:grpSpPr>
        <a:xfrm>
          <a:off x="0" y="0"/>
          <a:ext cx="0" cy="0"/>
          <a:chOff x="0" y="0"/>
          <a:chExt cx="0" cy="0"/>
        </a:xfrm>
      </p:grpSpPr>
      <p:sp>
        <p:nvSpPr>
          <p:cNvPr id="10065" name="Google Shape;10065;p13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66" name="Google Shape;10066;p13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067" name="Google Shape;10067;p1344"/>
          <p:cNvGrpSpPr/>
          <p:nvPr/>
        </p:nvGrpSpPr>
        <p:grpSpPr>
          <a:xfrm>
            <a:off x="7191542" y="1"/>
            <a:ext cx="5000459" cy="1425992"/>
            <a:chOff x="7191542" y="1"/>
            <a:chExt cx="5000459" cy="1425992"/>
          </a:xfrm>
        </p:grpSpPr>
        <p:pic>
          <p:nvPicPr>
            <p:cNvPr id="10068" name="Google Shape;10068;p13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9" name="Google Shape;10069;p1344"/>
            <p:cNvGrpSpPr/>
            <p:nvPr/>
          </p:nvGrpSpPr>
          <p:grpSpPr>
            <a:xfrm>
              <a:off x="7191542" y="1"/>
              <a:ext cx="5000459" cy="1425992"/>
              <a:chOff x="7186272" y="0"/>
              <a:chExt cx="5005729" cy="1427495"/>
            </a:xfrm>
          </p:grpSpPr>
          <p:sp>
            <p:nvSpPr>
              <p:cNvPr id="10070" name="Google Shape;10070;p1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71" name="Google Shape;10071;p1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072" name="Google Shape;10072;p13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3" name="Google Shape;10073;p13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74" name="Google Shape;10074;p1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5" name="Google Shape;10075;p1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10076"/>
        <p:cNvGrpSpPr/>
        <p:nvPr/>
      </p:nvGrpSpPr>
      <p:grpSpPr>
        <a:xfrm>
          <a:off x="0" y="0"/>
          <a:ext cx="0" cy="0"/>
          <a:chOff x="0" y="0"/>
          <a:chExt cx="0" cy="0"/>
        </a:xfrm>
      </p:grpSpPr>
      <p:grpSp>
        <p:nvGrpSpPr>
          <p:cNvPr id="10077" name="Google Shape;10077;p1345"/>
          <p:cNvGrpSpPr/>
          <p:nvPr/>
        </p:nvGrpSpPr>
        <p:grpSpPr>
          <a:xfrm>
            <a:off x="7191542" y="1"/>
            <a:ext cx="5000459" cy="1425992"/>
            <a:chOff x="7191542" y="1"/>
            <a:chExt cx="5000459" cy="1425992"/>
          </a:xfrm>
        </p:grpSpPr>
        <p:pic>
          <p:nvPicPr>
            <p:cNvPr id="10078" name="Google Shape;10078;p1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79" name="Google Shape;10079;p1345"/>
            <p:cNvGrpSpPr/>
            <p:nvPr/>
          </p:nvGrpSpPr>
          <p:grpSpPr>
            <a:xfrm>
              <a:off x="7191542" y="1"/>
              <a:ext cx="5000459" cy="1425992"/>
              <a:chOff x="7186272" y="0"/>
              <a:chExt cx="5005729" cy="1427495"/>
            </a:xfrm>
          </p:grpSpPr>
          <p:sp>
            <p:nvSpPr>
              <p:cNvPr id="10080" name="Google Shape;10080;p1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81" name="Google Shape;10081;p1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082" name="Google Shape;10082;p13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83" name="Google Shape;10083;p13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84" name="Google Shape;10084;p13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5" name="Google Shape;10085;p13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86" name="Google Shape;10086;p13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7" name="Google Shape;10087;p13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88" name="Google Shape;10088;p1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89" name="Google Shape;10089;p1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10090"/>
        <p:cNvGrpSpPr/>
        <p:nvPr/>
      </p:nvGrpSpPr>
      <p:grpSpPr>
        <a:xfrm>
          <a:off x="0" y="0"/>
          <a:ext cx="0" cy="0"/>
          <a:chOff x="0" y="0"/>
          <a:chExt cx="0" cy="0"/>
        </a:xfrm>
      </p:grpSpPr>
      <p:grpSp>
        <p:nvGrpSpPr>
          <p:cNvPr id="10091" name="Google Shape;10091;p1346"/>
          <p:cNvGrpSpPr/>
          <p:nvPr/>
        </p:nvGrpSpPr>
        <p:grpSpPr>
          <a:xfrm>
            <a:off x="7191542" y="1"/>
            <a:ext cx="5000459" cy="1425992"/>
            <a:chOff x="7191542" y="1"/>
            <a:chExt cx="5000459" cy="1425992"/>
          </a:xfrm>
        </p:grpSpPr>
        <p:pic>
          <p:nvPicPr>
            <p:cNvPr id="10092" name="Google Shape;10092;p1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3" name="Google Shape;10093;p1346"/>
            <p:cNvGrpSpPr/>
            <p:nvPr/>
          </p:nvGrpSpPr>
          <p:grpSpPr>
            <a:xfrm>
              <a:off x="7191542" y="1"/>
              <a:ext cx="5000459" cy="1425992"/>
              <a:chOff x="7186272" y="0"/>
              <a:chExt cx="5005729" cy="1427495"/>
            </a:xfrm>
          </p:grpSpPr>
          <p:sp>
            <p:nvSpPr>
              <p:cNvPr id="10094" name="Google Shape;10094;p1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095" name="Google Shape;10095;p1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096" name="Google Shape;10096;p13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97" name="Google Shape;10097;p13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98" name="Google Shape;10098;p1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99" name="Google Shape;10099;p13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10100"/>
        <p:cNvGrpSpPr/>
        <p:nvPr/>
      </p:nvGrpSpPr>
      <p:grpSpPr>
        <a:xfrm>
          <a:off x="0" y="0"/>
          <a:ext cx="0" cy="0"/>
          <a:chOff x="0" y="0"/>
          <a:chExt cx="0" cy="0"/>
        </a:xfrm>
      </p:grpSpPr>
      <p:grpSp>
        <p:nvGrpSpPr>
          <p:cNvPr id="10101" name="Google Shape;10101;p382"/>
          <p:cNvGrpSpPr/>
          <p:nvPr/>
        </p:nvGrpSpPr>
        <p:grpSpPr>
          <a:xfrm>
            <a:off x="0" y="0"/>
            <a:ext cx="12192000" cy="2148830"/>
            <a:chOff x="0" y="0"/>
            <a:chExt cx="12192000" cy="2148830"/>
          </a:xfrm>
        </p:grpSpPr>
        <p:sp>
          <p:nvSpPr>
            <p:cNvPr id="10102" name="Google Shape;10102;p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03" name="Google Shape;10103;p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104" name="Google Shape;10104;p3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05" name="Google Shape;10105;p3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06" name="Google Shape;10106;p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07" name="Google Shape;10107;p3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108" name="Google Shape;10108;p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0109"/>
        <p:cNvGrpSpPr/>
        <p:nvPr/>
      </p:nvGrpSpPr>
      <p:grpSpPr>
        <a:xfrm>
          <a:off x="0" y="0"/>
          <a:ext cx="0" cy="0"/>
          <a:chOff x="0" y="0"/>
          <a:chExt cx="0" cy="0"/>
        </a:xfrm>
      </p:grpSpPr>
      <p:sp>
        <p:nvSpPr>
          <p:cNvPr id="10110" name="Google Shape;10110;p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11" name="Google Shape;10111;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12" name="Google Shape;10112;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13" name="Google Shape;10113;p383"/>
          <p:cNvGrpSpPr/>
          <p:nvPr/>
        </p:nvGrpSpPr>
        <p:grpSpPr>
          <a:xfrm>
            <a:off x="7191542" y="1"/>
            <a:ext cx="5000459" cy="1425992"/>
            <a:chOff x="7191542" y="1"/>
            <a:chExt cx="5000459" cy="1425992"/>
          </a:xfrm>
        </p:grpSpPr>
        <p:pic>
          <p:nvPicPr>
            <p:cNvPr id="10114" name="Google Shape;10114;p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15" name="Google Shape;10115;p383"/>
            <p:cNvGrpSpPr/>
            <p:nvPr/>
          </p:nvGrpSpPr>
          <p:grpSpPr>
            <a:xfrm>
              <a:off x="7191542" y="1"/>
              <a:ext cx="5000459" cy="1425992"/>
              <a:chOff x="7186272" y="0"/>
              <a:chExt cx="5005729" cy="1427495"/>
            </a:xfrm>
          </p:grpSpPr>
          <p:sp>
            <p:nvSpPr>
              <p:cNvPr id="10116" name="Google Shape;10116;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17" name="Google Shape;10117;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10118"/>
        <p:cNvGrpSpPr/>
        <p:nvPr/>
      </p:nvGrpSpPr>
      <p:grpSpPr>
        <a:xfrm>
          <a:off x="0" y="0"/>
          <a:ext cx="0" cy="0"/>
          <a:chOff x="0" y="0"/>
          <a:chExt cx="0" cy="0"/>
        </a:xfrm>
      </p:grpSpPr>
      <p:sp>
        <p:nvSpPr>
          <p:cNvPr id="10119" name="Google Shape;10119;p7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20" name="Google Shape;10120;p7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21" name="Google Shape;10121;p7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122" name="Google Shape;10122;p786"/>
          <p:cNvSpPr>
            <a:spLocks noGrp="1"/>
          </p:cNvSpPr>
          <p:nvPr>
            <p:ph type="pic" idx="2"/>
          </p:nvPr>
        </p:nvSpPr>
        <p:spPr>
          <a:xfrm>
            <a:off x="7118684" y="233915"/>
            <a:ext cx="5073316" cy="5943600"/>
          </a:xfrm>
          <a:prstGeom prst="rect">
            <a:avLst/>
          </a:prstGeom>
          <a:noFill/>
          <a:ln>
            <a:noFill/>
          </a:ln>
        </p:spPr>
      </p:sp>
      <p:grpSp>
        <p:nvGrpSpPr>
          <p:cNvPr id="10123" name="Google Shape;10123;p786"/>
          <p:cNvGrpSpPr/>
          <p:nvPr/>
        </p:nvGrpSpPr>
        <p:grpSpPr>
          <a:xfrm>
            <a:off x="0" y="5020348"/>
            <a:ext cx="12192000" cy="1837653"/>
            <a:chOff x="0" y="5020348"/>
            <a:chExt cx="12192000" cy="1837653"/>
          </a:xfrm>
        </p:grpSpPr>
        <p:sp>
          <p:nvSpPr>
            <p:cNvPr id="10124" name="Google Shape;10124;p7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25" name="Google Shape;10125;p7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126" name="Google Shape;10126;p7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10127"/>
        <p:cNvGrpSpPr/>
        <p:nvPr/>
      </p:nvGrpSpPr>
      <p:grpSpPr>
        <a:xfrm>
          <a:off x="0" y="0"/>
          <a:ext cx="0" cy="0"/>
          <a:chOff x="0" y="0"/>
          <a:chExt cx="0" cy="0"/>
        </a:xfrm>
      </p:grpSpPr>
      <p:grpSp>
        <p:nvGrpSpPr>
          <p:cNvPr id="10128" name="Google Shape;10128;p748"/>
          <p:cNvGrpSpPr/>
          <p:nvPr/>
        </p:nvGrpSpPr>
        <p:grpSpPr>
          <a:xfrm>
            <a:off x="0" y="5020347"/>
            <a:ext cx="12192000" cy="1837653"/>
            <a:chOff x="0" y="5020347"/>
            <a:chExt cx="12192000" cy="1837653"/>
          </a:xfrm>
        </p:grpSpPr>
        <p:sp>
          <p:nvSpPr>
            <p:cNvPr id="10129" name="Google Shape;10129;p7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30" name="Google Shape;10130;p7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31" name="Google Shape;10131;p7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132" name="Google Shape;10132;p7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33" name="Google Shape;10133;p7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4" name="Google Shape;10134;p7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10135"/>
        <p:cNvGrpSpPr/>
        <p:nvPr/>
      </p:nvGrpSpPr>
      <p:grpSpPr>
        <a:xfrm>
          <a:off x="0" y="0"/>
          <a:ext cx="0" cy="0"/>
          <a:chOff x="0" y="0"/>
          <a:chExt cx="0" cy="0"/>
        </a:xfrm>
      </p:grpSpPr>
      <p:sp>
        <p:nvSpPr>
          <p:cNvPr id="10136" name="Google Shape;10136;p13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37" name="Google Shape;10137;p13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8" name="Google Shape;10138;p13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39" name="Google Shape;10139;p13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40" name="Google Shape;10140;p1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41" name="Google Shape;10141;p1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42" name="Google Shape;10142;p1347"/>
          <p:cNvGrpSpPr/>
          <p:nvPr/>
        </p:nvGrpSpPr>
        <p:grpSpPr>
          <a:xfrm>
            <a:off x="7191542" y="1"/>
            <a:ext cx="5000459" cy="1425992"/>
            <a:chOff x="7191542" y="1"/>
            <a:chExt cx="5000459" cy="1425992"/>
          </a:xfrm>
        </p:grpSpPr>
        <p:pic>
          <p:nvPicPr>
            <p:cNvPr id="10143" name="Google Shape;10143;p1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44" name="Google Shape;10144;p1347"/>
            <p:cNvGrpSpPr/>
            <p:nvPr/>
          </p:nvGrpSpPr>
          <p:grpSpPr>
            <a:xfrm>
              <a:off x="7191542" y="1"/>
              <a:ext cx="5000459" cy="1425992"/>
              <a:chOff x="7186272" y="0"/>
              <a:chExt cx="5005729" cy="1427495"/>
            </a:xfrm>
          </p:grpSpPr>
          <p:sp>
            <p:nvSpPr>
              <p:cNvPr id="10145" name="Google Shape;10145;p1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46" name="Google Shape;10146;p1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147" name="Google Shape;10147;p13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0148"/>
        <p:cNvGrpSpPr/>
        <p:nvPr/>
      </p:nvGrpSpPr>
      <p:grpSpPr>
        <a:xfrm>
          <a:off x="0" y="0"/>
          <a:ext cx="0" cy="0"/>
          <a:chOff x="0" y="0"/>
          <a:chExt cx="0" cy="0"/>
        </a:xfrm>
      </p:grpSpPr>
      <p:grpSp>
        <p:nvGrpSpPr>
          <p:cNvPr id="10149" name="Google Shape;10149;p750"/>
          <p:cNvGrpSpPr/>
          <p:nvPr/>
        </p:nvGrpSpPr>
        <p:grpSpPr>
          <a:xfrm>
            <a:off x="7191542" y="1"/>
            <a:ext cx="5000459" cy="1425992"/>
            <a:chOff x="7191542" y="1"/>
            <a:chExt cx="5000459" cy="1425992"/>
          </a:xfrm>
        </p:grpSpPr>
        <p:pic>
          <p:nvPicPr>
            <p:cNvPr id="10150" name="Google Shape;10150;p7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51" name="Google Shape;10151;p750"/>
            <p:cNvGrpSpPr/>
            <p:nvPr/>
          </p:nvGrpSpPr>
          <p:grpSpPr>
            <a:xfrm>
              <a:off x="7191542" y="1"/>
              <a:ext cx="5000459" cy="1425992"/>
              <a:chOff x="7186272" y="0"/>
              <a:chExt cx="5005729" cy="1427495"/>
            </a:xfrm>
          </p:grpSpPr>
          <p:sp>
            <p:nvSpPr>
              <p:cNvPr id="10152" name="Google Shape;10152;p7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53" name="Google Shape;10153;p7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154" name="Google Shape;10154;p7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5" name="Google Shape;10155;p75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6" name="Google Shape;10156;p7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57" name="Google Shape;10157;p7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58" name="Google Shape;10158;p7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45"/>
        <p:cNvGrpSpPr/>
        <p:nvPr/>
      </p:nvGrpSpPr>
      <p:grpSpPr>
        <a:xfrm>
          <a:off x="0" y="0"/>
          <a:ext cx="0" cy="0"/>
          <a:chOff x="0" y="0"/>
          <a:chExt cx="0" cy="0"/>
        </a:xfrm>
      </p:grpSpPr>
      <p:grpSp>
        <p:nvGrpSpPr>
          <p:cNvPr id="1046" name="Google Shape;1046;p155"/>
          <p:cNvGrpSpPr/>
          <p:nvPr/>
        </p:nvGrpSpPr>
        <p:grpSpPr>
          <a:xfrm>
            <a:off x="7191542" y="1"/>
            <a:ext cx="5000459" cy="1425992"/>
            <a:chOff x="7191542" y="1"/>
            <a:chExt cx="5000459" cy="1425992"/>
          </a:xfrm>
        </p:grpSpPr>
        <p:pic>
          <p:nvPicPr>
            <p:cNvPr id="1047" name="Google Shape;1047;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8" name="Google Shape;1048;p155"/>
            <p:cNvGrpSpPr/>
            <p:nvPr/>
          </p:nvGrpSpPr>
          <p:grpSpPr>
            <a:xfrm>
              <a:off x="7191542" y="1"/>
              <a:ext cx="5000459" cy="1425992"/>
              <a:chOff x="7186272" y="0"/>
              <a:chExt cx="5005729" cy="1427495"/>
            </a:xfrm>
          </p:grpSpPr>
          <p:sp>
            <p:nvSpPr>
              <p:cNvPr id="1049" name="Google Shape;1049;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0" name="Google Shape;1050;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1" name="Google Shape;1051;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2" name="Google Shape;105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3" name="Google Shape;1053;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 name="Google Shape;1054;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10159"/>
        <p:cNvGrpSpPr/>
        <p:nvPr/>
      </p:nvGrpSpPr>
      <p:grpSpPr>
        <a:xfrm>
          <a:off x="0" y="0"/>
          <a:ext cx="0" cy="0"/>
          <a:chOff x="0" y="0"/>
          <a:chExt cx="0" cy="0"/>
        </a:xfrm>
      </p:grpSpPr>
      <p:sp>
        <p:nvSpPr>
          <p:cNvPr id="10160" name="Google Shape;10160;p7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61" name="Google Shape;10161;p75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162" name="Google Shape;10162;p751"/>
          <p:cNvGrpSpPr/>
          <p:nvPr/>
        </p:nvGrpSpPr>
        <p:grpSpPr>
          <a:xfrm>
            <a:off x="7191542" y="1"/>
            <a:ext cx="5000459" cy="1425992"/>
            <a:chOff x="7191542" y="1"/>
            <a:chExt cx="5000459" cy="1425992"/>
          </a:xfrm>
        </p:grpSpPr>
        <p:pic>
          <p:nvPicPr>
            <p:cNvPr id="10163" name="Google Shape;10163;p7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4" name="Google Shape;10164;p751"/>
            <p:cNvGrpSpPr/>
            <p:nvPr/>
          </p:nvGrpSpPr>
          <p:grpSpPr>
            <a:xfrm>
              <a:off x="7191542" y="1"/>
              <a:ext cx="5000459" cy="1425992"/>
              <a:chOff x="7186272" y="0"/>
              <a:chExt cx="5005729" cy="1427495"/>
            </a:xfrm>
          </p:grpSpPr>
          <p:sp>
            <p:nvSpPr>
              <p:cNvPr id="10165" name="Google Shape;10165;p7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66" name="Google Shape;10166;p7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167" name="Google Shape;10167;p75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68" name="Google Shape;10168;p75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69" name="Google Shape;10169;p7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70" name="Google Shape;10170;p7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10171"/>
        <p:cNvGrpSpPr/>
        <p:nvPr/>
      </p:nvGrpSpPr>
      <p:grpSpPr>
        <a:xfrm>
          <a:off x="0" y="0"/>
          <a:ext cx="0" cy="0"/>
          <a:chOff x="0" y="0"/>
          <a:chExt cx="0" cy="0"/>
        </a:xfrm>
      </p:grpSpPr>
      <p:grpSp>
        <p:nvGrpSpPr>
          <p:cNvPr id="10172" name="Google Shape;10172;p752"/>
          <p:cNvGrpSpPr/>
          <p:nvPr/>
        </p:nvGrpSpPr>
        <p:grpSpPr>
          <a:xfrm>
            <a:off x="7191542" y="1"/>
            <a:ext cx="5000459" cy="1425992"/>
            <a:chOff x="7191542" y="1"/>
            <a:chExt cx="5000459" cy="1425992"/>
          </a:xfrm>
        </p:grpSpPr>
        <p:pic>
          <p:nvPicPr>
            <p:cNvPr id="10173" name="Google Shape;10173;p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74" name="Google Shape;10174;p752"/>
            <p:cNvGrpSpPr/>
            <p:nvPr/>
          </p:nvGrpSpPr>
          <p:grpSpPr>
            <a:xfrm>
              <a:off x="7191542" y="1"/>
              <a:ext cx="5000459" cy="1425992"/>
              <a:chOff x="7186272" y="0"/>
              <a:chExt cx="5005729" cy="1427495"/>
            </a:xfrm>
          </p:grpSpPr>
          <p:sp>
            <p:nvSpPr>
              <p:cNvPr id="10175" name="Google Shape;10175;p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76" name="Google Shape;10176;p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177" name="Google Shape;10177;p7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78" name="Google Shape;10178;p7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79" name="Google Shape;10179;p7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0" name="Google Shape;10180;p7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1" name="Google Shape;10181;p7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2" name="Google Shape;10182;p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83" name="Google Shape;10183;p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84" name="Google Shape;10184;p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10185"/>
        <p:cNvGrpSpPr/>
        <p:nvPr/>
      </p:nvGrpSpPr>
      <p:grpSpPr>
        <a:xfrm>
          <a:off x="0" y="0"/>
          <a:ext cx="0" cy="0"/>
          <a:chOff x="0" y="0"/>
          <a:chExt cx="0" cy="0"/>
        </a:xfrm>
      </p:grpSpPr>
      <p:sp>
        <p:nvSpPr>
          <p:cNvPr id="10186" name="Google Shape;10186;p7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187" name="Google Shape;10187;p7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188" name="Google Shape;10188;p753"/>
          <p:cNvGrpSpPr/>
          <p:nvPr/>
        </p:nvGrpSpPr>
        <p:grpSpPr>
          <a:xfrm>
            <a:off x="0" y="5379426"/>
            <a:ext cx="2807368" cy="753891"/>
            <a:chOff x="0" y="5379426"/>
            <a:chExt cx="2807368" cy="753891"/>
          </a:xfrm>
        </p:grpSpPr>
        <p:sp>
          <p:nvSpPr>
            <p:cNvPr id="10189" name="Google Shape;10189;p7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90" name="Google Shape;10190;p7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191" name="Google Shape;10191;p753"/>
          <p:cNvSpPr>
            <a:spLocks noGrp="1"/>
          </p:cNvSpPr>
          <p:nvPr>
            <p:ph type="pic" idx="2"/>
          </p:nvPr>
        </p:nvSpPr>
        <p:spPr>
          <a:xfrm>
            <a:off x="2807368" y="457202"/>
            <a:ext cx="8915400" cy="5943598"/>
          </a:xfrm>
          <a:prstGeom prst="rect">
            <a:avLst/>
          </a:prstGeom>
          <a:noFill/>
          <a:ln>
            <a:noFill/>
          </a:ln>
        </p:spPr>
      </p:sp>
      <p:pic>
        <p:nvPicPr>
          <p:cNvPr id="10192" name="Google Shape;10192;p7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10193"/>
        <p:cNvGrpSpPr/>
        <p:nvPr/>
      </p:nvGrpSpPr>
      <p:grpSpPr>
        <a:xfrm>
          <a:off x="0" y="0"/>
          <a:ext cx="0" cy="0"/>
          <a:chOff x="0" y="0"/>
          <a:chExt cx="0" cy="0"/>
        </a:xfrm>
      </p:grpSpPr>
      <p:grpSp>
        <p:nvGrpSpPr>
          <p:cNvPr id="10194" name="Google Shape;10194;p754"/>
          <p:cNvGrpSpPr/>
          <p:nvPr/>
        </p:nvGrpSpPr>
        <p:grpSpPr>
          <a:xfrm>
            <a:off x="0" y="0"/>
            <a:ext cx="12192000" cy="2148830"/>
            <a:chOff x="0" y="0"/>
            <a:chExt cx="12192000" cy="2148830"/>
          </a:xfrm>
        </p:grpSpPr>
        <p:sp>
          <p:nvSpPr>
            <p:cNvPr id="10195" name="Google Shape;10195;p75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196" name="Google Shape;10196;p75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197" name="Google Shape;10197;p75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198" name="Google Shape;10198;p75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9" name="Google Shape;10199;p75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200" name="Google Shape;10200;p75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201" name="Google Shape;10201;p75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10202"/>
        <p:cNvGrpSpPr/>
        <p:nvPr/>
      </p:nvGrpSpPr>
      <p:grpSpPr>
        <a:xfrm>
          <a:off x="0" y="0"/>
          <a:ext cx="0" cy="0"/>
          <a:chOff x="0" y="0"/>
          <a:chExt cx="0" cy="0"/>
        </a:xfrm>
      </p:grpSpPr>
      <p:sp>
        <p:nvSpPr>
          <p:cNvPr id="10203" name="Google Shape;10203;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4" name="Google Shape;10204;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05" name="Google Shape;10205;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06" name="Google Shape;10206;p785"/>
          <p:cNvGrpSpPr/>
          <p:nvPr/>
        </p:nvGrpSpPr>
        <p:grpSpPr>
          <a:xfrm>
            <a:off x="7191542" y="1"/>
            <a:ext cx="5000459" cy="1425992"/>
            <a:chOff x="7191542" y="1"/>
            <a:chExt cx="5000459" cy="1425992"/>
          </a:xfrm>
        </p:grpSpPr>
        <p:pic>
          <p:nvPicPr>
            <p:cNvPr id="10207" name="Google Shape;10207;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8" name="Google Shape;10208;p785"/>
            <p:cNvGrpSpPr/>
            <p:nvPr/>
          </p:nvGrpSpPr>
          <p:grpSpPr>
            <a:xfrm>
              <a:off x="7191542" y="1"/>
              <a:ext cx="5000459" cy="1425992"/>
              <a:chOff x="7186272" y="0"/>
              <a:chExt cx="5005729" cy="1427495"/>
            </a:xfrm>
          </p:grpSpPr>
          <p:sp>
            <p:nvSpPr>
              <p:cNvPr id="10209" name="Google Shape;10209;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10" name="Google Shape;10210;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10211"/>
        <p:cNvGrpSpPr/>
        <p:nvPr/>
      </p:nvGrpSpPr>
      <p:grpSpPr>
        <a:xfrm>
          <a:off x="0" y="0"/>
          <a:ext cx="0" cy="0"/>
          <a:chOff x="0" y="0"/>
          <a:chExt cx="0" cy="0"/>
        </a:xfrm>
      </p:grpSpPr>
      <p:grpSp>
        <p:nvGrpSpPr>
          <p:cNvPr id="10212" name="Google Shape;10212;p756"/>
          <p:cNvGrpSpPr/>
          <p:nvPr/>
        </p:nvGrpSpPr>
        <p:grpSpPr>
          <a:xfrm>
            <a:off x="7191542" y="1"/>
            <a:ext cx="5000459" cy="1425992"/>
            <a:chOff x="7191542" y="1"/>
            <a:chExt cx="5000459" cy="1425992"/>
          </a:xfrm>
        </p:grpSpPr>
        <p:pic>
          <p:nvPicPr>
            <p:cNvPr id="10213" name="Google Shape;10213;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14" name="Google Shape;10214;p756"/>
            <p:cNvGrpSpPr/>
            <p:nvPr/>
          </p:nvGrpSpPr>
          <p:grpSpPr>
            <a:xfrm>
              <a:off x="7191542" y="1"/>
              <a:ext cx="5000459" cy="1425992"/>
              <a:chOff x="7186272" y="0"/>
              <a:chExt cx="5005729" cy="1427495"/>
            </a:xfrm>
          </p:grpSpPr>
          <p:sp>
            <p:nvSpPr>
              <p:cNvPr id="10215" name="Google Shape;10215;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16" name="Google Shape;10216;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217" name="Google Shape;10217;p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18" name="Google Shape;10218;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19" name="Google Shape;10219;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20" name="Google Shape;10220;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10221"/>
        <p:cNvGrpSpPr/>
        <p:nvPr/>
      </p:nvGrpSpPr>
      <p:grpSpPr>
        <a:xfrm>
          <a:off x="0" y="0"/>
          <a:ext cx="0" cy="0"/>
          <a:chOff x="0" y="0"/>
          <a:chExt cx="0" cy="0"/>
        </a:xfrm>
      </p:grpSpPr>
      <p:sp>
        <p:nvSpPr>
          <p:cNvPr id="10222" name="Google Shape;10222;p13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23" name="Google Shape;10223;p13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24" name="Google Shape;10224;p13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225" name="Google Shape;10225;p1348"/>
          <p:cNvSpPr>
            <a:spLocks noGrp="1"/>
          </p:cNvSpPr>
          <p:nvPr>
            <p:ph type="pic" idx="2"/>
          </p:nvPr>
        </p:nvSpPr>
        <p:spPr>
          <a:xfrm>
            <a:off x="7118684" y="233915"/>
            <a:ext cx="5073316" cy="5943600"/>
          </a:xfrm>
          <a:prstGeom prst="rect">
            <a:avLst/>
          </a:prstGeom>
          <a:noFill/>
          <a:ln>
            <a:noFill/>
          </a:ln>
        </p:spPr>
      </p:sp>
      <p:grpSp>
        <p:nvGrpSpPr>
          <p:cNvPr id="10226" name="Google Shape;10226;p1348"/>
          <p:cNvGrpSpPr/>
          <p:nvPr/>
        </p:nvGrpSpPr>
        <p:grpSpPr>
          <a:xfrm>
            <a:off x="0" y="5020348"/>
            <a:ext cx="12192000" cy="1837653"/>
            <a:chOff x="0" y="5020348"/>
            <a:chExt cx="12192000" cy="1837653"/>
          </a:xfrm>
        </p:grpSpPr>
        <p:sp>
          <p:nvSpPr>
            <p:cNvPr id="10227" name="Google Shape;10227;p13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28" name="Google Shape;10228;p13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229" name="Google Shape;10229;p13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10230"/>
        <p:cNvGrpSpPr/>
        <p:nvPr/>
      </p:nvGrpSpPr>
      <p:grpSpPr>
        <a:xfrm>
          <a:off x="0" y="0"/>
          <a:ext cx="0" cy="0"/>
          <a:chOff x="0" y="0"/>
          <a:chExt cx="0" cy="0"/>
        </a:xfrm>
      </p:grpSpPr>
      <p:grpSp>
        <p:nvGrpSpPr>
          <p:cNvPr id="10231" name="Google Shape;10231;p1349"/>
          <p:cNvGrpSpPr/>
          <p:nvPr/>
        </p:nvGrpSpPr>
        <p:grpSpPr>
          <a:xfrm>
            <a:off x="0" y="5020347"/>
            <a:ext cx="12192000" cy="1837653"/>
            <a:chOff x="0" y="5020347"/>
            <a:chExt cx="12192000" cy="1837653"/>
          </a:xfrm>
        </p:grpSpPr>
        <p:sp>
          <p:nvSpPr>
            <p:cNvPr id="10232" name="Google Shape;10232;p13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33" name="Google Shape;10233;p13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34" name="Google Shape;10234;p13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235" name="Google Shape;10235;p13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36" name="Google Shape;10236;p13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37" name="Google Shape;10237;p13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10238"/>
        <p:cNvGrpSpPr/>
        <p:nvPr/>
      </p:nvGrpSpPr>
      <p:grpSpPr>
        <a:xfrm>
          <a:off x="0" y="0"/>
          <a:ext cx="0" cy="0"/>
          <a:chOff x="0" y="0"/>
          <a:chExt cx="0" cy="0"/>
        </a:xfrm>
      </p:grpSpPr>
      <p:sp>
        <p:nvSpPr>
          <p:cNvPr id="10239" name="Google Shape;10239;p13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40" name="Google Shape;10240;p13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41" name="Google Shape;10241;p13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42" name="Google Shape;10242;p1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243" name="Google Shape;10243;p1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44" name="Google Shape;10244;p1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45" name="Google Shape;10245;p1350"/>
          <p:cNvGrpSpPr/>
          <p:nvPr/>
        </p:nvGrpSpPr>
        <p:grpSpPr>
          <a:xfrm>
            <a:off x="7191542" y="1"/>
            <a:ext cx="5000459" cy="1425992"/>
            <a:chOff x="7191542" y="1"/>
            <a:chExt cx="5000459" cy="1425992"/>
          </a:xfrm>
        </p:grpSpPr>
        <p:pic>
          <p:nvPicPr>
            <p:cNvPr id="10246" name="Google Shape;10246;p1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47" name="Google Shape;10247;p1350"/>
            <p:cNvGrpSpPr/>
            <p:nvPr/>
          </p:nvGrpSpPr>
          <p:grpSpPr>
            <a:xfrm>
              <a:off x="7191542" y="1"/>
              <a:ext cx="5000459" cy="1425992"/>
              <a:chOff x="7186272" y="0"/>
              <a:chExt cx="5005729" cy="1427495"/>
            </a:xfrm>
          </p:grpSpPr>
          <p:sp>
            <p:nvSpPr>
              <p:cNvPr id="10248" name="Google Shape;10248;p1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49" name="Google Shape;10249;p1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250" name="Google Shape;10250;p13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0251"/>
        <p:cNvGrpSpPr/>
        <p:nvPr/>
      </p:nvGrpSpPr>
      <p:grpSpPr>
        <a:xfrm>
          <a:off x="0" y="0"/>
          <a:ext cx="0" cy="0"/>
          <a:chOff x="0" y="0"/>
          <a:chExt cx="0" cy="0"/>
        </a:xfrm>
      </p:grpSpPr>
      <p:grpSp>
        <p:nvGrpSpPr>
          <p:cNvPr id="10252" name="Google Shape;10252;p1351"/>
          <p:cNvGrpSpPr/>
          <p:nvPr/>
        </p:nvGrpSpPr>
        <p:grpSpPr>
          <a:xfrm>
            <a:off x="7191542" y="1"/>
            <a:ext cx="5000459" cy="1425992"/>
            <a:chOff x="7191542" y="1"/>
            <a:chExt cx="5000459" cy="1425992"/>
          </a:xfrm>
        </p:grpSpPr>
        <p:pic>
          <p:nvPicPr>
            <p:cNvPr id="10253" name="Google Shape;10253;p13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4" name="Google Shape;10254;p1351"/>
            <p:cNvGrpSpPr/>
            <p:nvPr/>
          </p:nvGrpSpPr>
          <p:grpSpPr>
            <a:xfrm>
              <a:off x="7191542" y="1"/>
              <a:ext cx="5000459" cy="1425992"/>
              <a:chOff x="7186272" y="0"/>
              <a:chExt cx="5005729" cy="1427495"/>
            </a:xfrm>
          </p:grpSpPr>
          <p:sp>
            <p:nvSpPr>
              <p:cNvPr id="10255" name="Google Shape;10255;p1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56" name="Google Shape;10256;p1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257" name="Google Shape;10257;p1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58" name="Google Shape;10258;p13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59" name="Google Shape;10259;p13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260" name="Google Shape;10260;p1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61" name="Google Shape;10261;p1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55"/>
        <p:cNvGrpSpPr/>
        <p:nvPr/>
      </p:nvGrpSpPr>
      <p:grpSpPr>
        <a:xfrm>
          <a:off x="0" y="0"/>
          <a:ext cx="0" cy="0"/>
          <a:chOff x="0" y="0"/>
          <a:chExt cx="0" cy="0"/>
        </a:xfrm>
      </p:grpSpPr>
      <p:grpSp>
        <p:nvGrpSpPr>
          <p:cNvPr id="1056" name="Google Shape;1056;p156"/>
          <p:cNvGrpSpPr/>
          <p:nvPr/>
        </p:nvGrpSpPr>
        <p:grpSpPr>
          <a:xfrm>
            <a:off x="0" y="0"/>
            <a:ext cx="12192000" cy="2148830"/>
            <a:chOff x="0" y="0"/>
            <a:chExt cx="12192000" cy="2148830"/>
          </a:xfrm>
        </p:grpSpPr>
        <p:sp>
          <p:nvSpPr>
            <p:cNvPr id="1057" name="Google Shape;1057;p1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8" name="Google Shape;1058;p1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59" name="Google Shape;1059;p1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0" name="Google Shape;1060;p1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1" name="Google Shape;1061;p1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2" name="Google Shape;1062;p1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3" name="Google Shape;1063;p1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10262"/>
        <p:cNvGrpSpPr/>
        <p:nvPr/>
      </p:nvGrpSpPr>
      <p:grpSpPr>
        <a:xfrm>
          <a:off x="0" y="0"/>
          <a:ext cx="0" cy="0"/>
          <a:chOff x="0" y="0"/>
          <a:chExt cx="0" cy="0"/>
        </a:xfrm>
      </p:grpSpPr>
      <p:sp>
        <p:nvSpPr>
          <p:cNvPr id="10263" name="Google Shape;10263;p13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64" name="Google Shape;10264;p135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65" name="Google Shape;10265;p1352"/>
          <p:cNvGrpSpPr/>
          <p:nvPr/>
        </p:nvGrpSpPr>
        <p:grpSpPr>
          <a:xfrm>
            <a:off x="7191542" y="1"/>
            <a:ext cx="5000459" cy="1425992"/>
            <a:chOff x="7191542" y="1"/>
            <a:chExt cx="5000459" cy="1425992"/>
          </a:xfrm>
        </p:grpSpPr>
        <p:pic>
          <p:nvPicPr>
            <p:cNvPr id="10266" name="Google Shape;10266;p1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67" name="Google Shape;10267;p1352"/>
            <p:cNvGrpSpPr/>
            <p:nvPr/>
          </p:nvGrpSpPr>
          <p:grpSpPr>
            <a:xfrm>
              <a:off x="7191542" y="1"/>
              <a:ext cx="5000459" cy="1425992"/>
              <a:chOff x="7186272" y="0"/>
              <a:chExt cx="5005729" cy="1427495"/>
            </a:xfrm>
          </p:grpSpPr>
          <p:sp>
            <p:nvSpPr>
              <p:cNvPr id="10268" name="Google Shape;10268;p1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69" name="Google Shape;10269;p1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270" name="Google Shape;10270;p135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71" name="Google Shape;10271;p135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72" name="Google Shape;10272;p1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73" name="Google Shape;10273;p1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10274"/>
        <p:cNvGrpSpPr/>
        <p:nvPr/>
      </p:nvGrpSpPr>
      <p:grpSpPr>
        <a:xfrm>
          <a:off x="0" y="0"/>
          <a:ext cx="0" cy="0"/>
          <a:chOff x="0" y="0"/>
          <a:chExt cx="0" cy="0"/>
        </a:xfrm>
      </p:grpSpPr>
      <p:grpSp>
        <p:nvGrpSpPr>
          <p:cNvPr id="10275" name="Google Shape;10275;p1353"/>
          <p:cNvGrpSpPr/>
          <p:nvPr/>
        </p:nvGrpSpPr>
        <p:grpSpPr>
          <a:xfrm>
            <a:off x="7191542" y="1"/>
            <a:ext cx="5000459" cy="1425992"/>
            <a:chOff x="7191542" y="1"/>
            <a:chExt cx="5000459" cy="1425992"/>
          </a:xfrm>
        </p:grpSpPr>
        <p:pic>
          <p:nvPicPr>
            <p:cNvPr id="10276" name="Google Shape;10276;p1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77" name="Google Shape;10277;p1353"/>
            <p:cNvGrpSpPr/>
            <p:nvPr/>
          </p:nvGrpSpPr>
          <p:grpSpPr>
            <a:xfrm>
              <a:off x="7191542" y="1"/>
              <a:ext cx="5000459" cy="1425992"/>
              <a:chOff x="7186272" y="0"/>
              <a:chExt cx="5005729" cy="1427495"/>
            </a:xfrm>
          </p:grpSpPr>
          <p:sp>
            <p:nvSpPr>
              <p:cNvPr id="10278" name="Google Shape;10278;p1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279" name="Google Shape;10279;p1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280" name="Google Shape;10280;p13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81" name="Google Shape;10281;p135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82" name="Google Shape;10282;p135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3" name="Google Shape;10283;p135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284" name="Google Shape;10284;p135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5" name="Google Shape;10285;p13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86" name="Google Shape;10286;p1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87" name="Google Shape;10287;p1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10288"/>
        <p:cNvGrpSpPr/>
        <p:nvPr/>
      </p:nvGrpSpPr>
      <p:grpSpPr>
        <a:xfrm>
          <a:off x="0" y="0"/>
          <a:ext cx="0" cy="0"/>
          <a:chOff x="0" y="0"/>
          <a:chExt cx="0" cy="0"/>
        </a:xfrm>
      </p:grpSpPr>
      <p:sp>
        <p:nvSpPr>
          <p:cNvPr id="10289" name="Google Shape;10289;p13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90" name="Google Shape;10290;p13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91" name="Google Shape;10291;p1354"/>
          <p:cNvGrpSpPr/>
          <p:nvPr/>
        </p:nvGrpSpPr>
        <p:grpSpPr>
          <a:xfrm>
            <a:off x="0" y="5379426"/>
            <a:ext cx="2807368" cy="753891"/>
            <a:chOff x="0" y="5379426"/>
            <a:chExt cx="2807368" cy="753891"/>
          </a:xfrm>
        </p:grpSpPr>
        <p:sp>
          <p:nvSpPr>
            <p:cNvPr id="10292" name="Google Shape;10292;p13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93" name="Google Shape;10293;p13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294" name="Google Shape;10294;p1354"/>
          <p:cNvSpPr>
            <a:spLocks noGrp="1"/>
          </p:cNvSpPr>
          <p:nvPr>
            <p:ph type="pic" idx="2"/>
          </p:nvPr>
        </p:nvSpPr>
        <p:spPr>
          <a:xfrm>
            <a:off x="2807368" y="457202"/>
            <a:ext cx="8915400" cy="5943598"/>
          </a:xfrm>
          <a:prstGeom prst="rect">
            <a:avLst/>
          </a:prstGeom>
          <a:noFill/>
          <a:ln>
            <a:noFill/>
          </a:ln>
        </p:spPr>
      </p:sp>
      <p:pic>
        <p:nvPicPr>
          <p:cNvPr id="10295" name="Google Shape;10295;p13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10296"/>
        <p:cNvGrpSpPr/>
        <p:nvPr/>
      </p:nvGrpSpPr>
      <p:grpSpPr>
        <a:xfrm>
          <a:off x="0" y="0"/>
          <a:ext cx="0" cy="0"/>
          <a:chOff x="0" y="0"/>
          <a:chExt cx="0" cy="0"/>
        </a:xfrm>
      </p:grpSpPr>
      <p:sp>
        <p:nvSpPr>
          <p:cNvPr id="10297" name="Google Shape;10297;p13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298" name="Google Shape;10298;p13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9" name="Google Shape;10299;p13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00" name="Google Shape;10300;p13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01" name="Google Shape;10301;p1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2" name="Google Shape;10302;p1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3" name="Google Shape;10303;p1355"/>
          <p:cNvGrpSpPr/>
          <p:nvPr/>
        </p:nvGrpSpPr>
        <p:grpSpPr>
          <a:xfrm>
            <a:off x="7191542" y="1"/>
            <a:ext cx="5000459" cy="1425992"/>
            <a:chOff x="7191542" y="1"/>
            <a:chExt cx="5000459" cy="1425992"/>
          </a:xfrm>
        </p:grpSpPr>
        <p:pic>
          <p:nvPicPr>
            <p:cNvPr id="10304" name="Google Shape;10304;p1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05" name="Google Shape;10305;p1355"/>
            <p:cNvGrpSpPr/>
            <p:nvPr/>
          </p:nvGrpSpPr>
          <p:grpSpPr>
            <a:xfrm>
              <a:off x="7191542" y="1"/>
              <a:ext cx="5000459" cy="1425992"/>
              <a:chOff x="7186272" y="0"/>
              <a:chExt cx="5005729" cy="1427495"/>
            </a:xfrm>
          </p:grpSpPr>
          <p:sp>
            <p:nvSpPr>
              <p:cNvPr id="10306" name="Google Shape;10306;p1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07" name="Google Shape;10307;p1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0308" name="Google Shape;10308;p13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309"/>
        <p:cNvGrpSpPr/>
        <p:nvPr/>
      </p:nvGrpSpPr>
      <p:grpSpPr>
        <a:xfrm>
          <a:off x="0" y="0"/>
          <a:ext cx="0" cy="0"/>
          <a:chOff x="0" y="0"/>
          <a:chExt cx="0" cy="0"/>
        </a:xfrm>
      </p:grpSpPr>
      <p:grpSp>
        <p:nvGrpSpPr>
          <p:cNvPr id="10310" name="Google Shape;10310;p1356"/>
          <p:cNvGrpSpPr/>
          <p:nvPr/>
        </p:nvGrpSpPr>
        <p:grpSpPr>
          <a:xfrm>
            <a:off x="0" y="0"/>
            <a:ext cx="12192000" cy="2148830"/>
            <a:chOff x="0" y="0"/>
            <a:chExt cx="12192000" cy="2148830"/>
          </a:xfrm>
        </p:grpSpPr>
        <p:sp>
          <p:nvSpPr>
            <p:cNvPr id="10311" name="Google Shape;10311;p13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12" name="Google Shape;10312;p13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0313" name="Google Shape;10313;p13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14" name="Google Shape;10314;p13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5" name="Google Shape;10315;p13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16" name="Google Shape;10316;p13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17" name="Google Shape;10317;p13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318"/>
        <p:cNvGrpSpPr/>
        <p:nvPr/>
      </p:nvGrpSpPr>
      <p:grpSpPr>
        <a:xfrm>
          <a:off x="0" y="0"/>
          <a:ext cx="0" cy="0"/>
          <a:chOff x="0" y="0"/>
          <a:chExt cx="0" cy="0"/>
        </a:xfrm>
      </p:grpSpPr>
      <p:sp>
        <p:nvSpPr>
          <p:cNvPr id="10319" name="Google Shape;10319;p13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20" name="Google Shape;10320;p1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21" name="Google Shape;10321;p13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22" name="Google Shape;10322;p1357"/>
          <p:cNvGrpSpPr/>
          <p:nvPr/>
        </p:nvGrpSpPr>
        <p:grpSpPr>
          <a:xfrm>
            <a:off x="7191542" y="1"/>
            <a:ext cx="5000459" cy="1425992"/>
            <a:chOff x="7191542" y="1"/>
            <a:chExt cx="5000459" cy="1425992"/>
          </a:xfrm>
        </p:grpSpPr>
        <p:pic>
          <p:nvPicPr>
            <p:cNvPr id="10323" name="Google Shape;10323;p1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24" name="Google Shape;10324;p1357"/>
            <p:cNvGrpSpPr/>
            <p:nvPr/>
          </p:nvGrpSpPr>
          <p:grpSpPr>
            <a:xfrm>
              <a:off x="7191542" y="1"/>
              <a:ext cx="5000459" cy="1425992"/>
              <a:chOff x="7186272" y="0"/>
              <a:chExt cx="5005729" cy="1427495"/>
            </a:xfrm>
          </p:grpSpPr>
          <p:sp>
            <p:nvSpPr>
              <p:cNvPr id="10325" name="Google Shape;10325;p1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26" name="Google Shape;10326;p1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10327"/>
        <p:cNvGrpSpPr/>
        <p:nvPr/>
      </p:nvGrpSpPr>
      <p:grpSpPr>
        <a:xfrm>
          <a:off x="0" y="0"/>
          <a:ext cx="0" cy="0"/>
          <a:chOff x="0" y="0"/>
          <a:chExt cx="0" cy="0"/>
        </a:xfrm>
      </p:grpSpPr>
      <p:grpSp>
        <p:nvGrpSpPr>
          <p:cNvPr id="10328" name="Google Shape;10328;p1358"/>
          <p:cNvGrpSpPr/>
          <p:nvPr/>
        </p:nvGrpSpPr>
        <p:grpSpPr>
          <a:xfrm>
            <a:off x="7191542" y="1"/>
            <a:ext cx="5000459" cy="1425992"/>
            <a:chOff x="7191542" y="1"/>
            <a:chExt cx="5000459" cy="1425992"/>
          </a:xfrm>
        </p:grpSpPr>
        <p:pic>
          <p:nvPicPr>
            <p:cNvPr id="10329" name="Google Shape;10329;p1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30" name="Google Shape;10330;p1358"/>
            <p:cNvGrpSpPr/>
            <p:nvPr/>
          </p:nvGrpSpPr>
          <p:grpSpPr>
            <a:xfrm>
              <a:off x="7191542" y="1"/>
              <a:ext cx="5000459" cy="1425992"/>
              <a:chOff x="7186272" y="0"/>
              <a:chExt cx="5005729" cy="1427495"/>
            </a:xfrm>
          </p:grpSpPr>
          <p:sp>
            <p:nvSpPr>
              <p:cNvPr id="10331" name="Google Shape;10331;p1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0332" name="Google Shape;10332;p1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0333" name="Google Shape;10333;p13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4" name="Google Shape;10334;p13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35" name="Google Shape;10335;p1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36" name="Google Shape;10336;p13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10337"/>
        <p:cNvGrpSpPr/>
        <p:nvPr/>
      </p:nvGrpSpPr>
      <p:grpSpPr>
        <a:xfrm>
          <a:off x="0" y="0"/>
          <a:ext cx="0" cy="0"/>
          <a:chOff x="0" y="0"/>
          <a:chExt cx="0" cy="0"/>
        </a:xfrm>
      </p:grpSpPr>
      <p:sp>
        <p:nvSpPr>
          <p:cNvPr id="10338" name="Google Shape;10338;p13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39" name="Google Shape;10339;p13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40" name="Google Shape;10340;p13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341" name="Google Shape;10341;p1359"/>
          <p:cNvSpPr>
            <a:spLocks noGrp="1"/>
          </p:cNvSpPr>
          <p:nvPr>
            <p:ph type="pic" idx="2"/>
          </p:nvPr>
        </p:nvSpPr>
        <p:spPr>
          <a:xfrm>
            <a:off x="7118684" y="233915"/>
            <a:ext cx="5073316" cy="5943600"/>
          </a:xfrm>
          <a:prstGeom prst="rect">
            <a:avLst/>
          </a:prstGeom>
          <a:noFill/>
          <a:ln>
            <a:noFill/>
          </a:ln>
        </p:spPr>
      </p:sp>
      <p:grpSp>
        <p:nvGrpSpPr>
          <p:cNvPr id="10342" name="Google Shape;10342;p1359"/>
          <p:cNvGrpSpPr/>
          <p:nvPr/>
        </p:nvGrpSpPr>
        <p:grpSpPr>
          <a:xfrm>
            <a:off x="0" y="5020348"/>
            <a:ext cx="12192000" cy="1837653"/>
            <a:chOff x="0" y="5020348"/>
            <a:chExt cx="12192000" cy="1837653"/>
          </a:xfrm>
        </p:grpSpPr>
        <p:sp>
          <p:nvSpPr>
            <p:cNvPr id="10343" name="Google Shape;10343;p1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44" name="Google Shape;10344;p1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345" name="Google Shape;10345;p1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10346"/>
        <p:cNvGrpSpPr/>
        <p:nvPr/>
      </p:nvGrpSpPr>
      <p:grpSpPr>
        <a:xfrm>
          <a:off x="0" y="0"/>
          <a:ext cx="0" cy="0"/>
          <a:chOff x="0" y="0"/>
          <a:chExt cx="0" cy="0"/>
        </a:xfrm>
      </p:grpSpPr>
      <p:grpSp>
        <p:nvGrpSpPr>
          <p:cNvPr id="10347" name="Google Shape;10347;p1360"/>
          <p:cNvGrpSpPr/>
          <p:nvPr/>
        </p:nvGrpSpPr>
        <p:grpSpPr>
          <a:xfrm>
            <a:off x="0" y="5020347"/>
            <a:ext cx="12192000" cy="1837653"/>
            <a:chOff x="0" y="5020347"/>
            <a:chExt cx="12192000" cy="1837653"/>
          </a:xfrm>
        </p:grpSpPr>
        <p:sp>
          <p:nvSpPr>
            <p:cNvPr id="10348" name="Google Shape;10348;p13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49" name="Google Shape;10349;p1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50" name="Google Shape;10350;p13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0351" name="Google Shape;10351;p1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352" name="Google Shape;10352;p13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53" name="Google Shape;10353;p13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10354"/>
        <p:cNvGrpSpPr/>
        <p:nvPr/>
      </p:nvGrpSpPr>
      <p:grpSpPr>
        <a:xfrm>
          <a:off x="0" y="0"/>
          <a:ext cx="0" cy="0"/>
          <a:chOff x="0" y="0"/>
          <a:chExt cx="0" cy="0"/>
        </a:xfrm>
      </p:grpSpPr>
      <p:sp>
        <p:nvSpPr>
          <p:cNvPr id="10355" name="Google Shape;10355;p13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356" name="Google Shape;10356;p13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357" name="Google Shape;10357;p1361"/>
          <p:cNvGrpSpPr/>
          <p:nvPr/>
        </p:nvGrpSpPr>
        <p:grpSpPr>
          <a:xfrm>
            <a:off x="0" y="5379426"/>
            <a:ext cx="2807368" cy="753891"/>
            <a:chOff x="0" y="5379426"/>
            <a:chExt cx="2807368" cy="753891"/>
          </a:xfrm>
        </p:grpSpPr>
        <p:sp>
          <p:nvSpPr>
            <p:cNvPr id="10358" name="Google Shape;10358;p13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0359" name="Google Shape;10359;p13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0360" name="Google Shape;10360;p1361"/>
          <p:cNvSpPr>
            <a:spLocks noGrp="1"/>
          </p:cNvSpPr>
          <p:nvPr>
            <p:ph type="pic" idx="2"/>
          </p:nvPr>
        </p:nvSpPr>
        <p:spPr>
          <a:xfrm>
            <a:off x="2807368" y="457202"/>
            <a:ext cx="8915400" cy="5943598"/>
          </a:xfrm>
          <a:prstGeom prst="rect">
            <a:avLst/>
          </a:prstGeom>
          <a:noFill/>
          <a:ln>
            <a:noFill/>
          </a:ln>
        </p:spPr>
      </p:sp>
      <p:pic>
        <p:nvPicPr>
          <p:cNvPr id="10361" name="Google Shape;10361;p13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226" Type="http://schemas.openxmlformats.org/officeDocument/2006/relationships/slideLayout" Target="../slideLayouts/slideLayout226.xml"/><Relationship Id="rId268" Type="http://schemas.openxmlformats.org/officeDocument/2006/relationships/slideLayout" Target="../slideLayouts/slideLayout268.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44" Type="http://schemas.openxmlformats.org/officeDocument/2006/relationships/slideLayout" Target="../slideLayouts/slideLayout44.xml"/><Relationship Id="rId65" Type="http://schemas.openxmlformats.org/officeDocument/2006/relationships/slideLayout" Target="../slideLayouts/slideLayout65.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51" Type="http://schemas.openxmlformats.org/officeDocument/2006/relationships/slideLayout" Target="../slideLayouts/slideLayout151.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28" Type="http://schemas.openxmlformats.org/officeDocument/2006/relationships/slideLayout" Target="../slideLayouts/slideLayout228.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4" Type="http://schemas.openxmlformats.org/officeDocument/2006/relationships/slideLayout" Target="../slideLayouts/slideLayout34.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8" Type="http://schemas.openxmlformats.org/officeDocument/2006/relationships/slideLayout" Target="../slideLayouts/slideLayout218.xml"/><Relationship Id="rId239" Type="http://schemas.openxmlformats.org/officeDocument/2006/relationships/slideLayout" Target="../slideLayouts/slideLayout239.xml"/><Relationship Id="rId250" Type="http://schemas.openxmlformats.org/officeDocument/2006/relationships/slideLayout" Target="../slideLayouts/slideLayout250.xml"/><Relationship Id="rId271" Type="http://schemas.openxmlformats.org/officeDocument/2006/relationships/theme" Target="../theme/theme1.xml"/><Relationship Id="rId24" Type="http://schemas.openxmlformats.org/officeDocument/2006/relationships/slideLayout" Target="../slideLayouts/slideLayout24.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31" Type="http://schemas.openxmlformats.org/officeDocument/2006/relationships/slideLayout" Target="../slideLayouts/slideLayout131.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240" Type="http://schemas.openxmlformats.org/officeDocument/2006/relationships/slideLayout" Target="../slideLayouts/slideLayout240.xml"/><Relationship Id="rId261" Type="http://schemas.openxmlformats.org/officeDocument/2006/relationships/slideLayout" Target="../slideLayouts/slideLayout261.xml"/><Relationship Id="rId14" Type="http://schemas.openxmlformats.org/officeDocument/2006/relationships/slideLayout" Target="../slideLayouts/slideLayout14.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219" Type="http://schemas.openxmlformats.org/officeDocument/2006/relationships/slideLayout" Target="../slideLayouts/slideLayout219.xml"/><Relationship Id="rId230" Type="http://schemas.openxmlformats.org/officeDocument/2006/relationships/slideLayout" Target="../slideLayouts/slideLayout230.xml"/><Relationship Id="rId251" Type="http://schemas.openxmlformats.org/officeDocument/2006/relationships/slideLayout" Target="../slideLayouts/slideLayout251.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220" Type="http://schemas.openxmlformats.org/officeDocument/2006/relationships/slideLayout" Target="../slideLayouts/slideLayout220.xml"/><Relationship Id="rId241" Type="http://schemas.openxmlformats.org/officeDocument/2006/relationships/slideLayout" Target="../slideLayouts/slideLayout24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78" Type="http://schemas.openxmlformats.org/officeDocument/2006/relationships/slideLayout" Target="../slideLayouts/slideLayout78.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64" Type="http://schemas.openxmlformats.org/officeDocument/2006/relationships/slideLayout" Target="../slideLayouts/slideLayout164.xml"/><Relationship Id="rId185" Type="http://schemas.openxmlformats.org/officeDocument/2006/relationships/slideLayout" Target="../slideLayouts/slideLayout185.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60" Type="http://schemas.openxmlformats.org/officeDocument/2006/relationships/slideLayout" Target="../slideLayouts/slideLayout60.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202" Type="http://schemas.openxmlformats.org/officeDocument/2006/relationships/slideLayout" Target="../slideLayouts/slideLayout202.xml"/><Relationship Id="rId223" Type="http://schemas.openxmlformats.org/officeDocument/2006/relationships/slideLayout" Target="../slideLayouts/slideLayout223.xml"/><Relationship Id="rId244" Type="http://schemas.openxmlformats.org/officeDocument/2006/relationships/slideLayout" Target="../slideLayouts/slideLayout244.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265" Type="http://schemas.openxmlformats.org/officeDocument/2006/relationships/slideLayout" Target="../slideLayouts/slideLayout265.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25" Type="http://schemas.openxmlformats.org/officeDocument/2006/relationships/slideLayout" Target="../slideLayouts/slideLayout125.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234" Type="http://schemas.openxmlformats.org/officeDocument/2006/relationships/slideLayout" Target="../slideLayouts/slideLayout234.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5" Type="http://schemas.openxmlformats.org/officeDocument/2006/relationships/slideLayout" Target="../slideLayouts/slideLayout255.xml"/><Relationship Id="rId40" Type="http://schemas.openxmlformats.org/officeDocument/2006/relationships/slideLayout" Target="../slideLayouts/slideLayout40.xml"/><Relationship Id="rId115" Type="http://schemas.openxmlformats.org/officeDocument/2006/relationships/slideLayout" Target="../slideLayouts/slideLayout115.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5" Type="http://schemas.openxmlformats.org/officeDocument/2006/relationships/slideLayout" Target="../slideLayouts/slideLayout245.xml"/><Relationship Id="rId266" Type="http://schemas.openxmlformats.org/officeDocument/2006/relationships/slideLayout" Target="../slideLayouts/slideLayout266.xml"/><Relationship Id="rId30" Type="http://schemas.openxmlformats.org/officeDocument/2006/relationships/slideLayout" Target="../slideLayouts/slideLayout3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5" Type="http://schemas.openxmlformats.org/officeDocument/2006/relationships/slideLayout" Target="../slideLayouts/slideLayout235.xml"/><Relationship Id="rId256" Type="http://schemas.openxmlformats.org/officeDocument/2006/relationships/slideLayout" Target="../slideLayouts/slideLayout256.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5" Type="http://schemas.openxmlformats.org/officeDocument/2006/relationships/slideLayout" Target="../slideLayouts/slideLayout225.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107" Type="http://schemas.openxmlformats.org/officeDocument/2006/relationships/slideLayout" Target="../slideLayouts/slideLayout107.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47.xml"/><Relationship Id="rId3" Type="http://schemas.openxmlformats.org/officeDocument/2006/relationships/slideLayout" Target="../slideLayouts/slideLayout1442.xml"/><Relationship Id="rId7" Type="http://schemas.openxmlformats.org/officeDocument/2006/relationships/slideLayout" Target="../slideLayouts/slideLayout1446.xml"/><Relationship Id="rId12" Type="http://schemas.openxmlformats.org/officeDocument/2006/relationships/theme" Target="../theme/theme10.xml"/><Relationship Id="rId2" Type="http://schemas.openxmlformats.org/officeDocument/2006/relationships/slideLayout" Target="../slideLayouts/slideLayout1441.xml"/><Relationship Id="rId1" Type="http://schemas.openxmlformats.org/officeDocument/2006/relationships/slideLayout" Target="../slideLayouts/slideLayout1440.xml"/><Relationship Id="rId6" Type="http://schemas.openxmlformats.org/officeDocument/2006/relationships/slideLayout" Target="../slideLayouts/slideLayout1445.xml"/><Relationship Id="rId11" Type="http://schemas.openxmlformats.org/officeDocument/2006/relationships/slideLayout" Target="../slideLayouts/slideLayout1450.xml"/><Relationship Id="rId5" Type="http://schemas.openxmlformats.org/officeDocument/2006/relationships/slideLayout" Target="../slideLayouts/slideLayout1444.xml"/><Relationship Id="rId10" Type="http://schemas.openxmlformats.org/officeDocument/2006/relationships/slideLayout" Target="../slideLayouts/slideLayout1449.xml"/><Relationship Id="rId4" Type="http://schemas.openxmlformats.org/officeDocument/2006/relationships/slideLayout" Target="../slideLayouts/slideLayout1443.xml"/><Relationship Id="rId9" Type="http://schemas.openxmlformats.org/officeDocument/2006/relationships/slideLayout" Target="../slideLayouts/slideLayout14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58.xml"/><Relationship Id="rId3" Type="http://schemas.openxmlformats.org/officeDocument/2006/relationships/slideLayout" Target="../slideLayouts/slideLayout1453.xml"/><Relationship Id="rId7" Type="http://schemas.openxmlformats.org/officeDocument/2006/relationships/slideLayout" Target="../slideLayouts/slideLayout1457.xml"/><Relationship Id="rId12" Type="http://schemas.openxmlformats.org/officeDocument/2006/relationships/theme" Target="../theme/theme11.xml"/><Relationship Id="rId2" Type="http://schemas.openxmlformats.org/officeDocument/2006/relationships/slideLayout" Target="../slideLayouts/slideLayout1452.xml"/><Relationship Id="rId1" Type="http://schemas.openxmlformats.org/officeDocument/2006/relationships/slideLayout" Target="../slideLayouts/slideLayout1451.xml"/><Relationship Id="rId6" Type="http://schemas.openxmlformats.org/officeDocument/2006/relationships/slideLayout" Target="../slideLayouts/slideLayout1456.xml"/><Relationship Id="rId11" Type="http://schemas.openxmlformats.org/officeDocument/2006/relationships/slideLayout" Target="../slideLayouts/slideLayout1461.xml"/><Relationship Id="rId5" Type="http://schemas.openxmlformats.org/officeDocument/2006/relationships/slideLayout" Target="../slideLayouts/slideLayout1455.xml"/><Relationship Id="rId10" Type="http://schemas.openxmlformats.org/officeDocument/2006/relationships/slideLayout" Target="../slideLayouts/slideLayout1460.xml"/><Relationship Id="rId4" Type="http://schemas.openxmlformats.org/officeDocument/2006/relationships/slideLayout" Target="../slideLayouts/slideLayout1454.xml"/><Relationship Id="rId9" Type="http://schemas.openxmlformats.org/officeDocument/2006/relationships/slideLayout" Target="../slideLayouts/slideLayout145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69.xml"/><Relationship Id="rId13" Type="http://schemas.openxmlformats.org/officeDocument/2006/relationships/slideLayout" Target="../slideLayouts/slideLayout1474.xml"/><Relationship Id="rId3" Type="http://schemas.openxmlformats.org/officeDocument/2006/relationships/slideLayout" Target="../slideLayouts/slideLayout1464.xml"/><Relationship Id="rId7" Type="http://schemas.openxmlformats.org/officeDocument/2006/relationships/slideLayout" Target="../slideLayouts/slideLayout1468.xml"/><Relationship Id="rId12" Type="http://schemas.openxmlformats.org/officeDocument/2006/relationships/slideLayout" Target="../slideLayouts/slideLayout1473.xml"/><Relationship Id="rId17" Type="http://schemas.openxmlformats.org/officeDocument/2006/relationships/theme" Target="../theme/theme12.xml"/><Relationship Id="rId2" Type="http://schemas.openxmlformats.org/officeDocument/2006/relationships/slideLayout" Target="../slideLayouts/slideLayout1463.xml"/><Relationship Id="rId16" Type="http://schemas.openxmlformats.org/officeDocument/2006/relationships/slideLayout" Target="../slideLayouts/slideLayout1477.xml"/><Relationship Id="rId1" Type="http://schemas.openxmlformats.org/officeDocument/2006/relationships/slideLayout" Target="../slideLayouts/slideLayout1462.xml"/><Relationship Id="rId6" Type="http://schemas.openxmlformats.org/officeDocument/2006/relationships/slideLayout" Target="../slideLayouts/slideLayout1467.xml"/><Relationship Id="rId11" Type="http://schemas.openxmlformats.org/officeDocument/2006/relationships/slideLayout" Target="../slideLayouts/slideLayout1472.xml"/><Relationship Id="rId5" Type="http://schemas.openxmlformats.org/officeDocument/2006/relationships/slideLayout" Target="../slideLayouts/slideLayout1466.xml"/><Relationship Id="rId15" Type="http://schemas.openxmlformats.org/officeDocument/2006/relationships/slideLayout" Target="../slideLayouts/slideLayout1476.xml"/><Relationship Id="rId10" Type="http://schemas.openxmlformats.org/officeDocument/2006/relationships/slideLayout" Target="../slideLayouts/slideLayout1471.xml"/><Relationship Id="rId4" Type="http://schemas.openxmlformats.org/officeDocument/2006/relationships/slideLayout" Target="../slideLayouts/slideLayout1465.xml"/><Relationship Id="rId9" Type="http://schemas.openxmlformats.org/officeDocument/2006/relationships/slideLayout" Target="../slideLayouts/slideLayout1470.xml"/><Relationship Id="rId14" Type="http://schemas.openxmlformats.org/officeDocument/2006/relationships/slideLayout" Target="../slideLayouts/slideLayout147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85.xml"/><Relationship Id="rId3" Type="http://schemas.openxmlformats.org/officeDocument/2006/relationships/slideLayout" Target="../slideLayouts/slideLayout1480.xml"/><Relationship Id="rId7" Type="http://schemas.openxmlformats.org/officeDocument/2006/relationships/slideLayout" Target="../slideLayouts/slideLayout1484.xml"/><Relationship Id="rId12" Type="http://schemas.openxmlformats.org/officeDocument/2006/relationships/theme" Target="../theme/theme13.xml"/><Relationship Id="rId2" Type="http://schemas.openxmlformats.org/officeDocument/2006/relationships/slideLayout" Target="../slideLayouts/slideLayout1479.xml"/><Relationship Id="rId1" Type="http://schemas.openxmlformats.org/officeDocument/2006/relationships/slideLayout" Target="../slideLayouts/slideLayout1478.xml"/><Relationship Id="rId6" Type="http://schemas.openxmlformats.org/officeDocument/2006/relationships/slideLayout" Target="../slideLayouts/slideLayout1483.xml"/><Relationship Id="rId11" Type="http://schemas.openxmlformats.org/officeDocument/2006/relationships/slideLayout" Target="../slideLayouts/slideLayout1488.xml"/><Relationship Id="rId5" Type="http://schemas.openxmlformats.org/officeDocument/2006/relationships/slideLayout" Target="../slideLayouts/slideLayout1482.xml"/><Relationship Id="rId10" Type="http://schemas.openxmlformats.org/officeDocument/2006/relationships/slideLayout" Target="../slideLayouts/slideLayout1487.xml"/><Relationship Id="rId4" Type="http://schemas.openxmlformats.org/officeDocument/2006/relationships/slideLayout" Target="../slideLayouts/slideLayout1481.xml"/><Relationship Id="rId9" Type="http://schemas.openxmlformats.org/officeDocument/2006/relationships/slideLayout" Target="../slideLayouts/slideLayout1486.xml"/></Relationships>
</file>

<file path=ppt/slideMasters/_rels/slideMaster14.xml.rels><?xml version="1.0" encoding="UTF-8" standalone="yes"?>
<Relationships xmlns="http://schemas.openxmlformats.org/package/2006/relationships"><Relationship Id="rId117" Type="http://schemas.openxmlformats.org/officeDocument/2006/relationships/slideLayout" Target="../slideLayouts/slideLayout1605.xml"/><Relationship Id="rId299" Type="http://schemas.openxmlformats.org/officeDocument/2006/relationships/slideLayout" Target="../slideLayouts/slideLayout1787.xml"/><Relationship Id="rId21" Type="http://schemas.openxmlformats.org/officeDocument/2006/relationships/slideLayout" Target="../slideLayouts/slideLayout1509.xml"/><Relationship Id="rId63" Type="http://schemas.openxmlformats.org/officeDocument/2006/relationships/slideLayout" Target="../slideLayouts/slideLayout1551.xml"/><Relationship Id="rId159" Type="http://schemas.openxmlformats.org/officeDocument/2006/relationships/slideLayout" Target="../slideLayouts/slideLayout1647.xml"/><Relationship Id="rId324" Type="http://schemas.openxmlformats.org/officeDocument/2006/relationships/slideLayout" Target="../slideLayouts/slideLayout1812.xml"/><Relationship Id="rId366" Type="http://schemas.openxmlformats.org/officeDocument/2006/relationships/slideLayout" Target="../slideLayouts/slideLayout1854.xml"/><Relationship Id="rId170" Type="http://schemas.openxmlformats.org/officeDocument/2006/relationships/slideLayout" Target="../slideLayouts/slideLayout1658.xml"/><Relationship Id="rId226" Type="http://schemas.openxmlformats.org/officeDocument/2006/relationships/slideLayout" Target="../slideLayouts/slideLayout1714.xml"/><Relationship Id="rId433" Type="http://schemas.openxmlformats.org/officeDocument/2006/relationships/slideLayout" Target="../slideLayouts/slideLayout1921.xml"/><Relationship Id="rId268" Type="http://schemas.openxmlformats.org/officeDocument/2006/relationships/slideLayout" Target="../slideLayouts/slideLayout1756.xml"/><Relationship Id="rId32" Type="http://schemas.openxmlformats.org/officeDocument/2006/relationships/slideLayout" Target="../slideLayouts/slideLayout1520.xml"/><Relationship Id="rId74" Type="http://schemas.openxmlformats.org/officeDocument/2006/relationships/slideLayout" Target="../slideLayouts/slideLayout1562.xml"/><Relationship Id="rId128" Type="http://schemas.openxmlformats.org/officeDocument/2006/relationships/slideLayout" Target="../slideLayouts/slideLayout1616.xml"/><Relationship Id="rId335" Type="http://schemas.openxmlformats.org/officeDocument/2006/relationships/slideLayout" Target="../slideLayouts/slideLayout1823.xml"/><Relationship Id="rId377" Type="http://schemas.openxmlformats.org/officeDocument/2006/relationships/slideLayout" Target="../slideLayouts/slideLayout1865.xml"/><Relationship Id="rId5" Type="http://schemas.openxmlformats.org/officeDocument/2006/relationships/slideLayout" Target="../slideLayouts/slideLayout1493.xml"/><Relationship Id="rId181" Type="http://schemas.openxmlformats.org/officeDocument/2006/relationships/slideLayout" Target="../slideLayouts/slideLayout1669.xml"/><Relationship Id="rId237" Type="http://schemas.openxmlformats.org/officeDocument/2006/relationships/slideLayout" Target="../slideLayouts/slideLayout1725.xml"/><Relationship Id="rId402" Type="http://schemas.openxmlformats.org/officeDocument/2006/relationships/slideLayout" Target="../slideLayouts/slideLayout1890.xml"/><Relationship Id="rId279" Type="http://schemas.openxmlformats.org/officeDocument/2006/relationships/slideLayout" Target="../slideLayouts/slideLayout1767.xml"/><Relationship Id="rId444" Type="http://schemas.openxmlformats.org/officeDocument/2006/relationships/slideLayout" Target="../slideLayouts/slideLayout1932.xml"/><Relationship Id="rId43" Type="http://schemas.openxmlformats.org/officeDocument/2006/relationships/slideLayout" Target="../slideLayouts/slideLayout1531.xml"/><Relationship Id="rId139" Type="http://schemas.openxmlformats.org/officeDocument/2006/relationships/slideLayout" Target="../slideLayouts/slideLayout1627.xml"/><Relationship Id="rId290" Type="http://schemas.openxmlformats.org/officeDocument/2006/relationships/slideLayout" Target="../slideLayouts/slideLayout1778.xml"/><Relationship Id="rId304" Type="http://schemas.openxmlformats.org/officeDocument/2006/relationships/slideLayout" Target="../slideLayouts/slideLayout1792.xml"/><Relationship Id="rId346" Type="http://schemas.openxmlformats.org/officeDocument/2006/relationships/slideLayout" Target="../slideLayouts/slideLayout1834.xml"/><Relationship Id="rId388" Type="http://schemas.openxmlformats.org/officeDocument/2006/relationships/slideLayout" Target="../slideLayouts/slideLayout1876.xml"/><Relationship Id="rId85" Type="http://schemas.openxmlformats.org/officeDocument/2006/relationships/slideLayout" Target="../slideLayouts/slideLayout1573.xml"/><Relationship Id="rId150" Type="http://schemas.openxmlformats.org/officeDocument/2006/relationships/slideLayout" Target="../slideLayouts/slideLayout1638.xml"/><Relationship Id="rId192" Type="http://schemas.openxmlformats.org/officeDocument/2006/relationships/slideLayout" Target="../slideLayouts/slideLayout1680.xml"/><Relationship Id="rId206" Type="http://schemas.openxmlformats.org/officeDocument/2006/relationships/slideLayout" Target="../slideLayouts/slideLayout1694.xml"/><Relationship Id="rId413" Type="http://schemas.openxmlformats.org/officeDocument/2006/relationships/slideLayout" Target="../slideLayouts/slideLayout1901.xml"/><Relationship Id="rId248" Type="http://schemas.openxmlformats.org/officeDocument/2006/relationships/slideLayout" Target="../slideLayouts/slideLayout1736.xml"/><Relationship Id="rId455" Type="http://schemas.openxmlformats.org/officeDocument/2006/relationships/slideLayout" Target="../slideLayouts/slideLayout1943.xml"/><Relationship Id="rId12" Type="http://schemas.openxmlformats.org/officeDocument/2006/relationships/slideLayout" Target="../slideLayouts/slideLayout1500.xml"/><Relationship Id="rId108" Type="http://schemas.openxmlformats.org/officeDocument/2006/relationships/slideLayout" Target="../slideLayouts/slideLayout1596.xml"/><Relationship Id="rId315" Type="http://schemas.openxmlformats.org/officeDocument/2006/relationships/slideLayout" Target="../slideLayouts/slideLayout1803.xml"/><Relationship Id="rId357" Type="http://schemas.openxmlformats.org/officeDocument/2006/relationships/slideLayout" Target="../slideLayouts/slideLayout1845.xml"/><Relationship Id="rId54" Type="http://schemas.openxmlformats.org/officeDocument/2006/relationships/slideLayout" Target="../slideLayouts/slideLayout1542.xml"/><Relationship Id="rId96" Type="http://schemas.openxmlformats.org/officeDocument/2006/relationships/slideLayout" Target="../slideLayouts/slideLayout1584.xml"/><Relationship Id="rId161" Type="http://schemas.openxmlformats.org/officeDocument/2006/relationships/slideLayout" Target="../slideLayouts/slideLayout1649.xml"/><Relationship Id="rId217" Type="http://schemas.openxmlformats.org/officeDocument/2006/relationships/slideLayout" Target="../slideLayouts/slideLayout1705.xml"/><Relationship Id="rId399" Type="http://schemas.openxmlformats.org/officeDocument/2006/relationships/slideLayout" Target="../slideLayouts/slideLayout1887.xml"/><Relationship Id="rId259" Type="http://schemas.openxmlformats.org/officeDocument/2006/relationships/slideLayout" Target="../slideLayouts/slideLayout1747.xml"/><Relationship Id="rId424" Type="http://schemas.openxmlformats.org/officeDocument/2006/relationships/slideLayout" Target="../slideLayouts/slideLayout1912.xml"/><Relationship Id="rId23" Type="http://schemas.openxmlformats.org/officeDocument/2006/relationships/slideLayout" Target="../slideLayouts/slideLayout1511.xml"/><Relationship Id="rId119" Type="http://schemas.openxmlformats.org/officeDocument/2006/relationships/slideLayout" Target="../slideLayouts/slideLayout1607.xml"/><Relationship Id="rId270" Type="http://schemas.openxmlformats.org/officeDocument/2006/relationships/slideLayout" Target="../slideLayouts/slideLayout1758.xml"/><Relationship Id="rId326" Type="http://schemas.openxmlformats.org/officeDocument/2006/relationships/slideLayout" Target="../slideLayouts/slideLayout1814.xml"/><Relationship Id="rId65" Type="http://schemas.openxmlformats.org/officeDocument/2006/relationships/slideLayout" Target="../slideLayouts/slideLayout1553.xml"/><Relationship Id="rId130" Type="http://schemas.openxmlformats.org/officeDocument/2006/relationships/slideLayout" Target="../slideLayouts/slideLayout1618.xml"/><Relationship Id="rId368" Type="http://schemas.openxmlformats.org/officeDocument/2006/relationships/slideLayout" Target="../slideLayouts/slideLayout1856.xml"/><Relationship Id="rId172" Type="http://schemas.openxmlformats.org/officeDocument/2006/relationships/slideLayout" Target="../slideLayouts/slideLayout1660.xml"/><Relationship Id="rId228" Type="http://schemas.openxmlformats.org/officeDocument/2006/relationships/slideLayout" Target="../slideLayouts/slideLayout1716.xml"/><Relationship Id="rId435" Type="http://schemas.openxmlformats.org/officeDocument/2006/relationships/slideLayout" Target="../slideLayouts/slideLayout1923.xml"/><Relationship Id="rId281" Type="http://schemas.openxmlformats.org/officeDocument/2006/relationships/slideLayout" Target="../slideLayouts/slideLayout1769.xml"/><Relationship Id="rId337" Type="http://schemas.openxmlformats.org/officeDocument/2006/relationships/slideLayout" Target="../slideLayouts/slideLayout1825.xml"/><Relationship Id="rId34" Type="http://schemas.openxmlformats.org/officeDocument/2006/relationships/slideLayout" Target="../slideLayouts/slideLayout1522.xml"/><Relationship Id="rId76" Type="http://schemas.openxmlformats.org/officeDocument/2006/relationships/slideLayout" Target="../slideLayouts/slideLayout1564.xml"/><Relationship Id="rId141" Type="http://schemas.openxmlformats.org/officeDocument/2006/relationships/slideLayout" Target="../slideLayouts/slideLayout1629.xml"/><Relationship Id="rId379" Type="http://schemas.openxmlformats.org/officeDocument/2006/relationships/slideLayout" Target="../slideLayouts/slideLayout1867.xml"/><Relationship Id="rId7" Type="http://schemas.openxmlformats.org/officeDocument/2006/relationships/slideLayout" Target="../slideLayouts/slideLayout1495.xml"/><Relationship Id="rId183" Type="http://schemas.openxmlformats.org/officeDocument/2006/relationships/slideLayout" Target="../slideLayouts/slideLayout1671.xml"/><Relationship Id="rId239" Type="http://schemas.openxmlformats.org/officeDocument/2006/relationships/slideLayout" Target="../slideLayouts/slideLayout1727.xml"/><Relationship Id="rId390" Type="http://schemas.openxmlformats.org/officeDocument/2006/relationships/slideLayout" Target="../slideLayouts/slideLayout1878.xml"/><Relationship Id="rId404" Type="http://schemas.openxmlformats.org/officeDocument/2006/relationships/slideLayout" Target="../slideLayouts/slideLayout1892.xml"/><Relationship Id="rId446" Type="http://schemas.openxmlformats.org/officeDocument/2006/relationships/slideLayout" Target="../slideLayouts/slideLayout1934.xml"/><Relationship Id="rId250" Type="http://schemas.openxmlformats.org/officeDocument/2006/relationships/slideLayout" Target="../slideLayouts/slideLayout1738.xml"/><Relationship Id="rId292" Type="http://schemas.openxmlformats.org/officeDocument/2006/relationships/slideLayout" Target="../slideLayouts/slideLayout1780.xml"/><Relationship Id="rId306" Type="http://schemas.openxmlformats.org/officeDocument/2006/relationships/slideLayout" Target="../slideLayouts/slideLayout1794.xml"/><Relationship Id="rId45" Type="http://schemas.openxmlformats.org/officeDocument/2006/relationships/slideLayout" Target="../slideLayouts/slideLayout1533.xml"/><Relationship Id="rId87" Type="http://schemas.openxmlformats.org/officeDocument/2006/relationships/slideLayout" Target="../slideLayouts/slideLayout1575.xml"/><Relationship Id="rId110" Type="http://schemas.openxmlformats.org/officeDocument/2006/relationships/slideLayout" Target="../slideLayouts/slideLayout1598.xml"/><Relationship Id="rId348" Type="http://schemas.openxmlformats.org/officeDocument/2006/relationships/slideLayout" Target="../slideLayouts/slideLayout1836.xml"/><Relationship Id="rId152" Type="http://schemas.openxmlformats.org/officeDocument/2006/relationships/slideLayout" Target="../slideLayouts/slideLayout1640.xml"/><Relationship Id="rId194" Type="http://schemas.openxmlformats.org/officeDocument/2006/relationships/slideLayout" Target="../slideLayouts/slideLayout1682.xml"/><Relationship Id="rId208" Type="http://schemas.openxmlformats.org/officeDocument/2006/relationships/slideLayout" Target="../slideLayouts/slideLayout1696.xml"/><Relationship Id="rId415" Type="http://schemas.openxmlformats.org/officeDocument/2006/relationships/slideLayout" Target="../slideLayouts/slideLayout1903.xml"/><Relationship Id="rId457" Type="http://schemas.openxmlformats.org/officeDocument/2006/relationships/slideLayout" Target="../slideLayouts/slideLayout1945.xml"/><Relationship Id="rId261" Type="http://schemas.openxmlformats.org/officeDocument/2006/relationships/slideLayout" Target="../slideLayouts/slideLayout1749.xml"/><Relationship Id="rId14" Type="http://schemas.openxmlformats.org/officeDocument/2006/relationships/slideLayout" Target="../slideLayouts/slideLayout1502.xml"/><Relationship Id="rId56" Type="http://schemas.openxmlformats.org/officeDocument/2006/relationships/slideLayout" Target="../slideLayouts/slideLayout1544.xml"/><Relationship Id="rId317" Type="http://schemas.openxmlformats.org/officeDocument/2006/relationships/slideLayout" Target="../slideLayouts/slideLayout1805.xml"/><Relationship Id="rId359" Type="http://schemas.openxmlformats.org/officeDocument/2006/relationships/slideLayout" Target="../slideLayouts/slideLayout1847.xml"/><Relationship Id="rId98" Type="http://schemas.openxmlformats.org/officeDocument/2006/relationships/slideLayout" Target="../slideLayouts/slideLayout1586.xml"/><Relationship Id="rId121" Type="http://schemas.openxmlformats.org/officeDocument/2006/relationships/slideLayout" Target="../slideLayouts/slideLayout1609.xml"/><Relationship Id="rId163" Type="http://schemas.openxmlformats.org/officeDocument/2006/relationships/slideLayout" Target="../slideLayouts/slideLayout1651.xml"/><Relationship Id="rId219" Type="http://schemas.openxmlformats.org/officeDocument/2006/relationships/slideLayout" Target="../slideLayouts/slideLayout1707.xml"/><Relationship Id="rId370" Type="http://schemas.openxmlformats.org/officeDocument/2006/relationships/slideLayout" Target="../slideLayouts/slideLayout1858.xml"/><Relationship Id="rId426" Type="http://schemas.openxmlformats.org/officeDocument/2006/relationships/slideLayout" Target="../slideLayouts/slideLayout1914.xml"/><Relationship Id="rId230" Type="http://schemas.openxmlformats.org/officeDocument/2006/relationships/slideLayout" Target="../slideLayouts/slideLayout1718.xml"/><Relationship Id="rId25" Type="http://schemas.openxmlformats.org/officeDocument/2006/relationships/slideLayout" Target="../slideLayouts/slideLayout1513.xml"/><Relationship Id="rId67" Type="http://schemas.openxmlformats.org/officeDocument/2006/relationships/slideLayout" Target="../slideLayouts/slideLayout1555.xml"/><Relationship Id="rId272" Type="http://schemas.openxmlformats.org/officeDocument/2006/relationships/slideLayout" Target="../slideLayouts/slideLayout1760.xml"/><Relationship Id="rId328" Type="http://schemas.openxmlformats.org/officeDocument/2006/relationships/slideLayout" Target="../slideLayouts/slideLayout1816.xml"/><Relationship Id="rId132" Type="http://schemas.openxmlformats.org/officeDocument/2006/relationships/slideLayout" Target="../slideLayouts/slideLayout1620.xml"/><Relationship Id="rId174" Type="http://schemas.openxmlformats.org/officeDocument/2006/relationships/slideLayout" Target="../slideLayouts/slideLayout1662.xml"/><Relationship Id="rId381" Type="http://schemas.openxmlformats.org/officeDocument/2006/relationships/slideLayout" Target="../slideLayouts/slideLayout1869.xml"/><Relationship Id="rId241" Type="http://schemas.openxmlformats.org/officeDocument/2006/relationships/slideLayout" Target="../slideLayouts/slideLayout1729.xml"/><Relationship Id="rId437" Type="http://schemas.openxmlformats.org/officeDocument/2006/relationships/slideLayout" Target="../slideLayouts/slideLayout1925.xml"/><Relationship Id="rId36" Type="http://schemas.openxmlformats.org/officeDocument/2006/relationships/slideLayout" Target="../slideLayouts/slideLayout1524.xml"/><Relationship Id="rId283" Type="http://schemas.openxmlformats.org/officeDocument/2006/relationships/slideLayout" Target="../slideLayouts/slideLayout1771.xml"/><Relationship Id="rId339" Type="http://schemas.openxmlformats.org/officeDocument/2006/relationships/slideLayout" Target="../slideLayouts/slideLayout1827.xml"/><Relationship Id="rId78" Type="http://schemas.openxmlformats.org/officeDocument/2006/relationships/slideLayout" Target="../slideLayouts/slideLayout1566.xml"/><Relationship Id="rId101" Type="http://schemas.openxmlformats.org/officeDocument/2006/relationships/slideLayout" Target="../slideLayouts/slideLayout1589.xml"/><Relationship Id="rId143" Type="http://schemas.openxmlformats.org/officeDocument/2006/relationships/slideLayout" Target="../slideLayouts/slideLayout1631.xml"/><Relationship Id="rId185" Type="http://schemas.openxmlformats.org/officeDocument/2006/relationships/slideLayout" Target="../slideLayouts/slideLayout1673.xml"/><Relationship Id="rId350" Type="http://schemas.openxmlformats.org/officeDocument/2006/relationships/slideLayout" Target="../slideLayouts/slideLayout1838.xml"/><Relationship Id="rId406" Type="http://schemas.openxmlformats.org/officeDocument/2006/relationships/slideLayout" Target="../slideLayouts/slideLayout1894.xml"/><Relationship Id="rId9" Type="http://schemas.openxmlformats.org/officeDocument/2006/relationships/slideLayout" Target="../slideLayouts/slideLayout1497.xml"/><Relationship Id="rId210" Type="http://schemas.openxmlformats.org/officeDocument/2006/relationships/slideLayout" Target="../slideLayouts/slideLayout1698.xml"/><Relationship Id="rId392" Type="http://schemas.openxmlformats.org/officeDocument/2006/relationships/slideLayout" Target="../slideLayouts/slideLayout1880.xml"/><Relationship Id="rId448" Type="http://schemas.openxmlformats.org/officeDocument/2006/relationships/slideLayout" Target="../slideLayouts/slideLayout1936.xml"/><Relationship Id="rId252" Type="http://schemas.openxmlformats.org/officeDocument/2006/relationships/slideLayout" Target="../slideLayouts/slideLayout1740.xml"/><Relationship Id="rId294" Type="http://schemas.openxmlformats.org/officeDocument/2006/relationships/slideLayout" Target="../slideLayouts/slideLayout1782.xml"/><Relationship Id="rId308" Type="http://schemas.openxmlformats.org/officeDocument/2006/relationships/slideLayout" Target="../slideLayouts/slideLayout1796.xml"/><Relationship Id="rId47" Type="http://schemas.openxmlformats.org/officeDocument/2006/relationships/slideLayout" Target="../slideLayouts/slideLayout1535.xml"/><Relationship Id="rId89" Type="http://schemas.openxmlformats.org/officeDocument/2006/relationships/slideLayout" Target="../slideLayouts/slideLayout1577.xml"/><Relationship Id="rId112" Type="http://schemas.openxmlformats.org/officeDocument/2006/relationships/slideLayout" Target="../slideLayouts/slideLayout1600.xml"/><Relationship Id="rId154" Type="http://schemas.openxmlformats.org/officeDocument/2006/relationships/slideLayout" Target="../slideLayouts/slideLayout1642.xml"/><Relationship Id="rId361" Type="http://schemas.openxmlformats.org/officeDocument/2006/relationships/slideLayout" Target="../slideLayouts/slideLayout1849.xml"/><Relationship Id="rId196" Type="http://schemas.openxmlformats.org/officeDocument/2006/relationships/slideLayout" Target="../slideLayouts/slideLayout1684.xml"/><Relationship Id="rId417" Type="http://schemas.openxmlformats.org/officeDocument/2006/relationships/slideLayout" Target="../slideLayouts/slideLayout1905.xml"/><Relationship Id="rId459" Type="http://schemas.openxmlformats.org/officeDocument/2006/relationships/slideLayout" Target="../slideLayouts/slideLayout1947.xml"/><Relationship Id="rId16" Type="http://schemas.openxmlformats.org/officeDocument/2006/relationships/slideLayout" Target="../slideLayouts/slideLayout1504.xml"/><Relationship Id="rId221" Type="http://schemas.openxmlformats.org/officeDocument/2006/relationships/slideLayout" Target="../slideLayouts/slideLayout1709.xml"/><Relationship Id="rId263" Type="http://schemas.openxmlformats.org/officeDocument/2006/relationships/slideLayout" Target="../slideLayouts/slideLayout1751.xml"/><Relationship Id="rId319" Type="http://schemas.openxmlformats.org/officeDocument/2006/relationships/slideLayout" Target="../slideLayouts/slideLayout1807.xml"/><Relationship Id="rId58" Type="http://schemas.openxmlformats.org/officeDocument/2006/relationships/slideLayout" Target="../slideLayouts/slideLayout1546.xml"/><Relationship Id="rId123" Type="http://schemas.openxmlformats.org/officeDocument/2006/relationships/slideLayout" Target="../slideLayouts/slideLayout1611.xml"/><Relationship Id="rId330" Type="http://schemas.openxmlformats.org/officeDocument/2006/relationships/slideLayout" Target="../slideLayouts/slideLayout1818.xml"/><Relationship Id="rId165" Type="http://schemas.openxmlformats.org/officeDocument/2006/relationships/slideLayout" Target="../slideLayouts/slideLayout1653.xml"/><Relationship Id="rId372" Type="http://schemas.openxmlformats.org/officeDocument/2006/relationships/slideLayout" Target="../slideLayouts/slideLayout1860.xml"/><Relationship Id="rId428" Type="http://schemas.openxmlformats.org/officeDocument/2006/relationships/slideLayout" Target="../slideLayouts/slideLayout1916.xml"/><Relationship Id="rId232" Type="http://schemas.openxmlformats.org/officeDocument/2006/relationships/slideLayout" Target="../slideLayouts/slideLayout1720.xml"/><Relationship Id="rId274" Type="http://schemas.openxmlformats.org/officeDocument/2006/relationships/slideLayout" Target="../slideLayouts/slideLayout1762.xml"/><Relationship Id="rId27" Type="http://schemas.openxmlformats.org/officeDocument/2006/relationships/slideLayout" Target="../slideLayouts/slideLayout1515.xml"/><Relationship Id="rId69" Type="http://schemas.openxmlformats.org/officeDocument/2006/relationships/slideLayout" Target="../slideLayouts/slideLayout1557.xml"/><Relationship Id="rId134" Type="http://schemas.openxmlformats.org/officeDocument/2006/relationships/slideLayout" Target="../slideLayouts/slideLayout1622.xml"/><Relationship Id="rId80" Type="http://schemas.openxmlformats.org/officeDocument/2006/relationships/slideLayout" Target="../slideLayouts/slideLayout1568.xml"/><Relationship Id="rId176" Type="http://schemas.openxmlformats.org/officeDocument/2006/relationships/slideLayout" Target="../slideLayouts/slideLayout1664.xml"/><Relationship Id="rId341" Type="http://schemas.openxmlformats.org/officeDocument/2006/relationships/slideLayout" Target="../slideLayouts/slideLayout1829.xml"/><Relationship Id="rId383" Type="http://schemas.openxmlformats.org/officeDocument/2006/relationships/slideLayout" Target="../slideLayouts/slideLayout1871.xml"/><Relationship Id="rId439" Type="http://schemas.openxmlformats.org/officeDocument/2006/relationships/slideLayout" Target="../slideLayouts/slideLayout1927.xml"/><Relationship Id="rId201" Type="http://schemas.openxmlformats.org/officeDocument/2006/relationships/slideLayout" Target="../slideLayouts/slideLayout1689.xml"/><Relationship Id="rId243" Type="http://schemas.openxmlformats.org/officeDocument/2006/relationships/slideLayout" Target="../slideLayouts/slideLayout1731.xml"/><Relationship Id="rId285" Type="http://schemas.openxmlformats.org/officeDocument/2006/relationships/slideLayout" Target="../slideLayouts/slideLayout1773.xml"/><Relationship Id="rId450" Type="http://schemas.openxmlformats.org/officeDocument/2006/relationships/slideLayout" Target="../slideLayouts/slideLayout1938.xml"/><Relationship Id="rId38" Type="http://schemas.openxmlformats.org/officeDocument/2006/relationships/slideLayout" Target="../slideLayouts/slideLayout1526.xml"/><Relationship Id="rId103" Type="http://schemas.openxmlformats.org/officeDocument/2006/relationships/slideLayout" Target="../slideLayouts/slideLayout1591.xml"/><Relationship Id="rId310" Type="http://schemas.openxmlformats.org/officeDocument/2006/relationships/slideLayout" Target="../slideLayouts/slideLayout1798.xml"/><Relationship Id="rId91" Type="http://schemas.openxmlformats.org/officeDocument/2006/relationships/slideLayout" Target="../slideLayouts/slideLayout1579.xml"/><Relationship Id="rId145" Type="http://schemas.openxmlformats.org/officeDocument/2006/relationships/slideLayout" Target="../slideLayouts/slideLayout1633.xml"/><Relationship Id="rId187" Type="http://schemas.openxmlformats.org/officeDocument/2006/relationships/slideLayout" Target="../slideLayouts/slideLayout1675.xml"/><Relationship Id="rId352" Type="http://schemas.openxmlformats.org/officeDocument/2006/relationships/slideLayout" Target="../slideLayouts/slideLayout1840.xml"/><Relationship Id="rId394" Type="http://schemas.openxmlformats.org/officeDocument/2006/relationships/slideLayout" Target="../slideLayouts/slideLayout1882.xml"/><Relationship Id="rId408" Type="http://schemas.openxmlformats.org/officeDocument/2006/relationships/slideLayout" Target="../slideLayouts/slideLayout1896.xml"/><Relationship Id="rId212" Type="http://schemas.openxmlformats.org/officeDocument/2006/relationships/slideLayout" Target="../slideLayouts/slideLayout1700.xml"/><Relationship Id="rId254" Type="http://schemas.openxmlformats.org/officeDocument/2006/relationships/slideLayout" Target="../slideLayouts/slideLayout1742.xml"/><Relationship Id="rId49" Type="http://schemas.openxmlformats.org/officeDocument/2006/relationships/slideLayout" Target="../slideLayouts/slideLayout1537.xml"/><Relationship Id="rId114" Type="http://schemas.openxmlformats.org/officeDocument/2006/relationships/slideLayout" Target="../slideLayouts/slideLayout1602.xml"/><Relationship Id="rId296" Type="http://schemas.openxmlformats.org/officeDocument/2006/relationships/slideLayout" Target="../slideLayouts/slideLayout1784.xml"/><Relationship Id="rId461" Type="http://schemas.openxmlformats.org/officeDocument/2006/relationships/slideLayout" Target="../slideLayouts/slideLayout1949.xml"/><Relationship Id="rId60" Type="http://schemas.openxmlformats.org/officeDocument/2006/relationships/slideLayout" Target="../slideLayouts/slideLayout1548.xml"/><Relationship Id="rId156" Type="http://schemas.openxmlformats.org/officeDocument/2006/relationships/slideLayout" Target="../slideLayouts/slideLayout1644.xml"/><Relationship Id="rId198" Type="http://schemas.openxmlformats.org/officeDocument/2006/relationships/slideLayout" Target="../slideLayouts/slideLayout1686.xml"/><Relationship Id="rId321" Type="http://schemas.openxmlformats.org/officeDocument/2006/relationships/slideLayout" Target="../slideLayouts/slideLayout1809.xml"/><Relationship Id="rId363" Type="http://schemas.openxmlformats.org/officeDocument/2006/relationships/slideLayout" Target="../slideLayouts/slideLayout1851.xml"/><Relationship Id="rId419" Type="http://schemas.openxmlformats.org/officeDocument/2006/relationships/slideLayout" Target="../slideLayouts/slideLayout1907.xml"/><Relationship Id="rId223" Type="http://schemas.openxmlformats.org/officeDocument/2006/relationships/slideLayout" Target="../slideLayouts/slideLayout1711.xml"/><Relationship Id="rId430" Type="http://schemas.openxmlformats.org/officeDocument/2006/relationships/slideLayout" Target="../slideLayouts/slideLayout1918.xml"/><Relationship Id="rId18" Type="http://schemas.openxmlformats.org/officeDocument/2006/relationships/slideLayout" Target="../slideLayouts/slideLayout1506.xml"/><Relationship Id="rId265" Type="http://schemas.openxmlformats.org/officeDocument/2006/relationships/slideLayout" Target="../slideLayouts/slideLayout1753.xml"/><Relationship Id="rId125" Type="http://schemas.openxmlformats.org/officeDocument/2006/relationships/slideLayout" Target="../slideLayouts/slideLayout1613.xml"/><Relationship Id="rId167" Type="http://schemas.openxmlformats.org/officeDocument/2006/relationships/slideLayout" Target="../slideLayouts/slideLayout1655.xml"/><Relationship Id="rId332" Type="http://schemas.openxmlformats.org/officeDocument/2006/relationships/slideLayout" Target="../slideLayouts/slideLayout1820.xml"/><Relationship Id="rId374" Type="http://schemas.openxmlformats.org/officeDocument/2006/relationships/slideLayout" Target="../slideLayouts/slideLayout1862.xml"/><Relationship Id="rId71" Type="http://schemas.openxmlformats.org/officeDocument/2006/relationships/slideLayout" Target="../slideLayouts/slideLayout1559.xml"/><Relationship Id="rId234" Type="http://schemas.openxmlformats.org/officeDocument/2006/relationships/slideLayout" Target="../slideLayouts/slideLayout1722.xml"/><Relationship Id="rId2" Type="http://schemas.openxmlformats.org/officeDocument/2006/relationships/slideLayout" Target="../slideLayouts/slideLayout1490.xml"/><Relationship Id="rId29" Type="http://schemas.openxmlformats.org/officeDocument/2006/relationships/slideLayout" Target="../slideLayouts/slideLayout1517.xml"/><Relationship Id="rId276" Type="http://schemas.openxmlformats.org/officeDocument/2006/relationships/slideLayout" Target="../slideLayouts/slideLayout1764.xml"/><Relationship Id="rId441" Type="http://schemas.openxmlformats.org/officeDocument/2006/relationships/slideLayout" Target="../slideLayouts/slideLayout1929.xml"/><Relationship Id="rId40" Type="http://schemas.openxmlformats.org/officeDocument/2006/relationships/slideLayout" Target="../slideLayouts/slideLayout1528.xml"/><Relationship Id="rId136" Type="http://schemas.openxmlformats.org/officeDocument/2006/relationships/slideLayout" Target="../slideLayouts/slideLayout1624.xml"/><Relationship Id="rId178" Type="http://schemas.openxmlformats.org/officeDocument/2006/relationships/slideLayout" Target="../slideLayouts/slideLayout1666.xml"/><Relationship Id="rId301" Type="http://schemas.openxmlformats.org/officeDocument/2006/relationships/slideLayout" Target="../slideLayouts/slideLayout1789.xml"/><Relationship Id="rId343" Type="http://schemas.openxmlformats.org/officeDocument/2006/relationships/slideLayout" Target="../slideLayouts/slideLayout1831.xml"/><Relationship Id="rId61" Type="http://schemas.openxmlformats.org/officeDocument/2006/relationships/slideLayout" Target="../slideLayouts/slideLayout1549.xml"/><Relationship Id="rId82" Type="http://schemas.openxmlformats.org/officeDocument/2006/relationships/slideLayout" Target="../slideLayouts/slideLayout1570.xml"/><Relationship Id="rId199" Type="http://schemas.openxmlformats.org/officeDocument/2006/relationships/slideLayout" Target="../slideLayouts/slideLayout1687.xml"/><Relationship Id="rId203" Type="http://schemas.openxmlformats.org/officeDocument/2006/relationships/slideLayout" Target="../slideLayouts/slideLayout1691.xml"/><Relationship Id="rId385" Type="http://schemas.openxmlformats.org/officeDocument/2006/relationships/slideLayout" Target="../slideLayouts/slideLayout1873.xml"/><Relationship Id="rId19" Type="http://schemas.openxmlformats.org/officeDocument/2006/relationships/slideLayout" Target="../slideLayouts/slideLayout1507.xml"/><Relationship Id="rId224" Type="http://schemas.openxmlformats.org/officeDocument/2006/relationships/slideLayout" Target="../slideLayouts/slideLayout1712.xml"/><Relationship Id="rId245" Type="http://schemas.openxmlformats.org/officeDocument/2006/relationships/slideLayout" Target="../slideLayouts/slideLayout1733.xml"/><Relationship Id="rId266" Type="http://schemas.openxmlformats.org/officeDocument/2006/relationships/slideLayout" Target="../slideLayouts/slideLayout1754.xml"/><Relationship Id="rId287" Type="http://schemas.openxmlformats.org/officeDocument/2006/relationships/slideLayout" Target="../slideLayouts/slideLayout1775.xml"/><Relationship Id="rId410" Type="http://schemas.openxmlformats.org/officeDocument/2006/relationships/slideLayout" Target="../slideLayouts/slideLayout1898.xml"/><Relationship Id="rId431" Type="http://schemas.openxmlformats.org/officeDocument/2006/relationships/slideLayout" Target="../slideLayouts/slideLayout1919.xml"/><Relationship Id="rId452" Type="http://schemas.openxmlformats.org/officeDocument/2006/relationships/slideLayout" Target="../slideLayouts/slideLayout1940.xml"/><Relationship Id="rId30" Type="http://schemas.openxmlformats.org/officeDocument/2006/relationships/slideLayout" Target="../slideLayouts/slideLayout1518.xml"/><Relationship Id="rId105" Type="http://schemas.openxmlformats.org/officeDocument/2006/relationships/slideLayout" Target="../slideLayouts/slideLayout1593.xml"/><Relationship Id="rId126" Type="http://schemas.openxmlformats.org/officeDocument/2006/relationships/slideLayout" Target="../slideLayouts/slideLayout1614.xml"/><Relationship Id="rId147" Type="http://schemas.openxmlformats.org/officeDocument/2006/relationships/slideLayout" Target="../slideLayouts/slideLayout1635.xml"/><Relationship Id="rId168" Type="http://schemas.openxmlformats.org/officeDocument/2006/relationships/slideLayout" Target="../slideLayouts/slideLayout1656.xml"/><Relationship Id="rId312" Type="http://schemas.openxmlformats.org/officeDocument/2006/relationships/slideLayout" Target="../slideLayouts/slideLayout1800.xml"/><Relationship Id="rId333" Type="http://schemas.openxmlformats.org/officeDocument/2006/relationships/slideLayout" Target="../slideLayouts/slideLayout1821.xml"/><Relationship Id="rId354" Type="http://schemas.openxmlformats.org/officeDocument/2006/relationships/slideLayout" Target="../slideLayouts/slideLayout1842.xml"/><Relationship Id="rId51" Type="http://schemas.openxmlformats.org/officeDocument/2006/relationships/slideLayout" Target="../slideLayouts/slideLayout1539.xml"/><Relationship Id="rId72" Type="http://schemas.openxmlformats.org/officeDocument/2006/relationships/slideLayout" Target="../slideLayouts/slideLayout1560.xml"/><Relationship Id="rId93" Type="http://schemas.openxmlformats.org/officeDocument/2006/relationships/slideLayout" Target="../slideLayouts/slideLayout1581.xml"/><Relationship Id="rId189" Type="http://schemas.openxmlformats.org/officeDocument/2006/relationships/slideLayout" Target="../slideLayouts/slideLayout1677.xml"/><Relationship Id="rId375" Type="http://schemas.openxmlformats.org/officeDocument/2006/relationships/slideLayout" Target="../slideLayouts/slideLayout1863.xml"/><Relationship Id="rId396" Type="http://schemas.openxmlformats.org/officeDocument/2006/relationships/slideLayout" Target="../slideLayouts/slideLayout1884.xml"/><Relationship Id="rId3" Type="http://schemas.openxmlformats.org/officeDocument/2006/relationships/slideLayout" Target="../slideLayouts/slideLayout1491.xml"/><Relationship Id="rId214" Type="http://schemas.openxmlformats.org/officeDocument/2006/relationships/slideLayout" Target="../slideLayouts/slideLayout1702.xml"/><Relationship Id="rId235" Type="http://schemas.openxmlformats.org/officeDocument/2006/relationships/slideLayout" Target="../slideLayouts/slideLayout1723.xml"/><Relationship Id="rId256" Type="http://schemas.openxmlformats.org/officeDocument/2006/relationships/slideLayout" Target="../slideLayouts/slideLayout1744.xml"/><Relationship Id="rId277" Type="http://schemas.openxmlformats.org/officeDocument/2006/relationships/slideLayout" Target="../slideLayouts/slideLayout1765.xml"/><Relationship Id="rId298" Type="http://schemas.openxmlformats.org/officeDocument/2006/relationships/slideLayout" Target="../slideLayouts/slideLayout1786.xml"/><Relationship Id="rId400" Type="http://schemas.openxmlformats.org/officeDocument/2006/relationships/slideLayout" Target="../slideLayouts/slideLayout1888.xml"/><Relationship Id="rId421" Type="http://schemas.openxmlformats.org/officeDocument/2006/relationships/slideLayout" Target="../slideLayouts/slideLayout1909.xml"/><Relationship Id="rId442" Type="http://schemas.openxmlformats.org/officeDocument/2006/relationships/slideLayout" Target="../slideLayouts/slideLayout1930.xml"/><Relationship Id="rId463" Type="http://schemas.openxmlformats.org/officeDocument/2006/relationships/slideLayout" Target="../slideLayouts/slideLayout1951.xml"/><Relationship Id="rId116" Type="http://schemas.openxmlformats.org/officeDocument/2006/relationships/slideLayout" Target="../slideLayouts/slideLayout1604.xml"/><Relationship Id="rId137" Type="http://schemas.openxmlformats.org/officeDocument/2006/relationships/slideLayout" Target="../slideLayouts/slideLayout1625.xml"/><Relationship Id="rId158" Type="http://schemas.openxmlformats.org/officeDocument/2006/relationships/slideLayout" Target="../slideLayouts/slideLayout1646.xml"/><Relationship Id="rId302" Type="http://schemas.openxmlformats.org/officeDocument/2006/relationships/slideLayout" Target="../slideLayouts/slideLayout1790.xml"/><Relationship Id="rId323" Type="http://schemas.openxmlformats.org/officeDocument/2006/relationships/slideLayout" Target="../slideLayouts/slideLayout1811.xml"/><Relationship Id="rId344" Type="http://schemas.openxmlformats.org/officeDocument/2006/relationships/slideLayout" Target="../slideLayouts/slideLayout1832.xml"/><Relationship Id="rId20" Type="http://schemas.openxmlformats.org/officeDocument/2006/relationships/slideLayout" Target="../slideLayouts/slideLayout1508.xml"/><Relationship Id="rId41" Type="http://schemas.openxmlformats.org/officeDocument/2006/relationships/slideLayout" Target="../slideLayouts/slideLayout1529.xml"/><Relationship Id="rId62" Type="http://schemas.openxmlformats.org/officeDocument/2006/relationships/slideLayout" Target="../slideLayouts/slideLayout1550.xml"/><Relationship Id="rId83" Type="http://schemas.openxmlformats.org/officeDocument/2006/relationships/slideLayout" Target="../slideLayouts/slideLayout1571.xml"/><Relationship Id="rId179" Type="http://schemas.openxmlformats.org/officeDocument/2006/relationships/slideLayout" Target="../slideLayouts/slideLayout1667.xml"/><Relationship Id="rId365" Type="http://schemas.openxmlformats.org/officeDocument/2006/relationships/slideLayout" Target="../slideLayouts/slideLayout1853.xml"/><Relationship Id="rId386" Type="http://schemas.openxmlformats.org/officeDocument/2006/relationships/slideLayout" Target="../slideLayouts/slideLayout1874.xml"/><Relationship Id="rId190" Type="http://schemas.openxmlformats.org/officeDocument/2006/relationships/slideLayout" Target="../slideLayouts/slideLayout1678.xml"/><Relationship Id="rId204" Type="http://schemas.openxmlformats.org/officeDocument/2006/relationships/slideLayout" Target="../slideLayouts/slideLayout1692.xml"/><Relationship Id="rId225" Type="http://schemas.openxmlformats.org/officeDocument/2006/relationships/slideLayout" Target="../slideLayouts/slideLayout1713.xml"/><Relationship Id="rId246" Type="http://schemas.openxmlformats.org/officeDocument/2006/relationships/slideLayout" Target="../slideLayouts/slideLayout1734.xml"/><Relationship Id="rId267" Type="http://schemas.openxmlformats.org/officeDocument/2006/relationships/slideLayout" Target="../slideLayouts/slideLayout1755.xml"/><Relationship Id="rId288" Type="http://schemas.openxmlformats.org/officeDocument/2006/relationships/slideLayout" Target="../slideLayouts/slideLayout1776.xml"/><Relationship Id="rId411" Type="http://schemas.openxmlformats.org/officeDocument/2006/relationships/slideLayout" Target="../slideLayouts/slideLayout1899.xml"/><Relationship Id="rId432" Type="http://schemas.openxmlformats.org/officeDocument/2006/relationships/slideLayout" Target="../slideLayouts/slideLayout1920.xml"/><Relationship Id="rId453" Type="http://schemas.openxmlformats.org/officeDocument/2006/relationships/slideLayout" Target="../slideLayouts/slideLayout1941.xml"/><Relationship Id="rId106" Type="http://schemas.openxmlformats.org/officeDocument/2006/relationships/slideLayout" Target="../slideLayouts/slideLayout1594.xml"/><Relationship Id="rId127" Type="http://schemas.openxmlformats.org/officeDocument/2006/relationships/slideLayout" Target="../slideLayouts/slideLayout1615.xml"/><Relationship Id="rId313" Type="http://schemas.openxmlformats.org/officeDocument/2006/relationships/slideLayout" Target="../slideLayouts/slideLayout1801.xml"/><Relationship Id="rId10" Type="http://schemas.openxmlformats.org/officeDocument/2006/relationships/slideLayout" Target="../slideLayouts/slideLayout1498.xml"/><Relationship Id="rId31" Type="http://schemas.openxmlformats.org/officeDocument/2006/relationships/slideLayout" Target="../slideLayouts/slideLayout1519.xml"/><Relationship Id="rId52" Type="http://schemas.openxmlformats.org/officeDocument/2006/relationships/slideLayout" Target="../slideLayouts/slideLayout1540.xml"/><Relationship Id="rId73" Type="http://schemas.openxmlformats.org/officeDocument/2006/relationships/slideLayout" Target="../slideLayouts/slideLayout1561.xml"/><Relationship Id="rId94" Type="http://schemas.openxmlformats.org/officeDocument/2006/relationships/slideLayout" Target="../slideLayouts/slideLayout1582.xml"/><Relationship Id="rId148" Type="http://schemas.openxmlformats.org/officeDocument/2006/relationships/slideLayout" Target="../slideLayouts/slideLayout1636.xml"/><Relationship Id="rId169" Type="http://schemas.openxmlformats.org/officeDocument/2006/relationships/slideLayout" Target="../slideLayouts/slideLayout1657.xml"/><Relationship Id="rId334" Type="http://schemas.openxmlformats.org/officeDocument/2006/relationships/slideLayout" Target="../slideLayouts/slideLayout1822.xml"/><Relationship Id="rId355" Type="http://schemas.openxmlformats.org/officeDocument/2006/relationships/slideLayout" Target="../slideLayouts/slideLayout1843.xml"/><Relationship Id="rId376" Type="http://schemas.openxmlformats.org/officeDocument/2006/relationships/slideLayout" Target="../slideLayouts/slideLayout1864.xml"/><Relationship Id="rId397" Type="http://schemas.openxmlformats.org/officeDocument/2006/relationships/slideLayout" Target="../slideLayouts/slideLayout1885.xml"/><Relationship Id="rId4" Type="http://schemas.openxmlformats.org/officeDocument/2006/relationships/slideLayout" Target="../slideLayouts/slideLayout1492.xml"/><Relationship Id="rId180" Type="http://schemas.openxmlformats.org/officeDocument/2006/relationships/slideLayout" Target="../slideLayouts/slideLayout1668.xml"/><Relationship Id="rId215" Type="http://schemas.openxmlformats.org/officeDocument/2006/relationships/slideLayout" Target="../slideLayouts/slideLayout1703.xml"/><Relationship Id="rId236" Type="http://schemas.openxmlformats.org/officeDocument/2006/relationships/slideLayout" Target="../slideLayouts/slideLayout1724.xml"/><Relationship Id="rId257" Type="http://schemas.openxmlformats.org/officeDocument/2006/relationships/slideLayout" Target="../slideLayouts/slideLayout1745.xml"/><Relationship Id="rId278" Type="http://schemas.openxmlformats.org/officeDocument/2006/relationships/slideLayout" Target="../slideLayouts/slideLayout1766.xml"/><Relationship Id="rId401" Type="http://schemas.openxmlformats.org/officeDocument/2006/relationships/slideLayout" Target="../slideLayouts/slideLayout1889.xml"/><Relationship Id="rId422" Type="http://schemas.openxmlformats.org/officeDocument/2006/relationships/slideLayout" Target="../slideLayouts/slideLayout1910.xml"/><Relationship Id="rId443" Type="http://schemas.openxmlformats.org/officeDocument/2006/relationships/slideLayout" Target="../slideLayouts/slideLayout1931.xml"/><Relationship Id="rId464" Type="http://schemas.openxmlformats.org/officeDocument/2006/relationships/slideLayout" Target="../slideLayouts/slideLayout1952.xml"/><Relationship Id="rId303" Type="http://schemas.openxmlformats.org/officeDocument/2006/relationships/slideLayout" Target="../slideLayouts/slideLayout1791.xml"/><Relationship Id="rId42" Type="http://schemas.openxmlformats.org/officeDocument/2006/relationships/slideLayout" Target="../slideLayouts/slideLayout1530.xml"/><Relationship Id="rId84" Type="http://schemas.openxmlformats.org/officeDocument/2006/relationships/slideLayout" Target="../slideLayouts/slideLayout1572.xml"/><Relationship Id="rId138" Type="http://schemas.openxmlformats.org/officeDocument/2006/relationships/slideLayout" Target="../slideLayouts/slideLayout1626.xml"/><Relationship Id="rId345" Type="http://schemas.openxmlformats.org/officeDocument/2006/relationships/slideLayout" Target="../slideLayouts/slideLayout1833.xml"/><Relationship Id="rId387" Type="http://schemas.openxmlformats.org/officeDocument/2006/relationships/slideLayout" Target="../slideLayouts/slideLayout1875.xml"/><Relationship Id="rId191" Type="http://schemas.openxmlformats.org/officeDocument/2006/relationships/slideLayout" Target="../slideLayouts/slideLayout1679.xml"/><Relationship Id="rId205" Type="http://schemas.openxmlformats.org/officeDocument/2006/relationships/slideLayout" Target="../slideLayouts/slideLayout1693.xml"/><Relationship Id="rId247" Type="http://schemas.openxmlformats.org/officeDocument/2006/relationships/slideLayout" Target="../slideLayouts/slideLayout1735.xml"/><Relationship Id="rId412" Type="http://schemas.openxmlformats.org/officeDocument/2006/relationships/slideLayout" Target="../slideLayouts/slideLayout1900.xml"/><Relationship Id="rId107" Type="http://schemas.openxmlformats.org/officeDocument/2006/relationships/slideLayout" Target="../slideLayouts/slideLayout1595.xml"/><Relationship Id="rId289" Type="http://schemas.openxmlformats.org/officeDocument/2006/relationships/slideLayout" Target="../slideLayouts/slideLayout1777.xml"/><Relationship Id="rId454" Type="http://schemas.openxmlformats.org/officeDocument/2006/relationships/slideLayout" Target="../slideLayouts/slideLayout1942.xml"/><Relationship Id="rId11" Type="http://schemas.openxmlformats.org/officeDocument/2006/relationships/slideLayout" Target="../slideLayouts/slideLayout1499.xml"/><Relationship Id="rId53" Type="http://schemas.openxmlformats.org/officeDocument/2006/relationships/slideLayout" Target="../slideLayouts/slideLayout1541.xml"/><Relationship Id="rId149" Type="http://schemas.openxmlformats.org/officeDocument/2006/relationships/slideLayout" Target="../slideLayouts/slideLayout1637.xml"/><Relationship Id="rId314" Type="http://schemas.openxmlformats.org/officeDocument/2006/relationships/slideLayout" Target="../slideLayouts/slideLayout1802.xml"/><Relationship Id="rId356" Type="http://schemas.openxmlformats.org/officeDocument/2006/relationships/slideLayout" Target="../slideLayouts/slideLayout1844.xml"/><Relationship Id="rId398" Type="http://schemas.openxmlformats.org/officeDocument/2006/relationships/slideLayout" Target="../slideLayouts/slideLayout1886.xml"/><Relationship Id="rId95" Type="http://schemas.openxmlformats.org/officeDocument/2006/relationships/slideLayout" Target="../slideLayouts/slideLayout1583.xml"/><Relationship Id="rId160" Type="http://schemas.openxmlformats.org/officeDocument/2006/relationships/slideLayout" Target="../slideLayouts/slideLayout1648.xml"/><Relationship Id="rId216" Type="http://schemas.openxmlformats.org/officeDocument/2006/relationships/slideLayout" Target="../slideLayouts/slideLayout1704.xml"/><Relationship Id="rId423" Type="http://schemas.openxmlformats.org/officeDocument/2006/relationships/slideLayout" Target="../slideLayouts/slideLayout1911.xml"/><Relationship Id="rId258" Type="http://schemas.openxmlformats.org/officeDocument/2006/relationships/slideLayout" Target="../slideLayouts/slideLayout1746.xml"/><Relationship Id="rId465" Type="http://schemas.openxmlformats.org/officeDocument/2006/relationships/theme" Target="../theme/theme14.xml"/><Relationship Id="rId22" Type="http://schemas.openxmlformats.org/officeDocument/2006/relationships/slideLayout" Target="../slideLayouts/slideLayout1510.xml"/><Relationship Id="rId64" Type="http://schemas.openxmlformats.org/officeDocument/2006/relationships/slideLayout" Target="../slideLayouts/slideLayout1552.xml"/><Relationship Id="rId118" Type="http://schemas.openxmlformats.org/officeDocument/2006/relationships/slideLayout" Target="../slideLayouts/slideLayout1606.xml"/><Relationship Id="rId325" Type="http://schemas.openxmlformats.org/officeDocument/2006/relationships/slideLayout" Target="../slideLayouts/slideLayout1813.xml"/><Relationship Id="rId367" Type="http://schemas.openxmlformats.org/officeDocument/2006/relationships/slideLayout" Target="../slideLayouts/slideLayout1855.xml"/><Relationship Id="rId171" Type="http://schemas.openxmlformats.org/officeDocument/2006/relationships/slideLayout" Target="../slideLayouts/slideLayout1659.xml"/><Relationship Id="rId227" Type="http://schemas.openxmlformats.org/officeDocument/2006/relationships/slideLayout" Target="../slideLayouts/slideLayout1715.xml"/><Relationship Id="rId269" Type="http://schemas.openxmlformats.org/officeDocument/2006/relationships/slideLayout" Target="../slideLayouts/slideLayout1757.xml"/><Relationship Id="rId434" Type="http://schemas.openxmlformats.org/officeDocument/2006/relationships/slideLayout" Target="../slideLayouts/slideLayout1922.xml"/><Relationship Id="rId33" Type="http://schemas.openxmlformats.org/officeDocument/2006/relationships/slideLayout" Target="../slideLayouts/slideLayout1521.xml"/><Relationship Id="rId129" Type="http://schemas.openxmlformats.org/officeDocument/2006/relationships/slideLayout" Target="../slideLayouts/slideLayout1617.xml"/><Relationship Id="rId280" Type="http://schemas.openxmlformats.org/officeDocument/2006/relationships/slideLayout" Target="../slideLayouts/slideLayout1768.xml"/><Relationship Id="rId336" Type="http://schemas.openxmlformats.org/officeDocument/2006/relationships/slideLayout" Target="../slideLayouts/slideLayout1824.xml"/><Relationship Id="rId75" Type="http://schemas.openxmlformats.org/officeDocument/2006/relationships/slideLayout" Target="../slideLayouts/slideLayout1563.xml"/><Relationship Id="rId140" Type="http://schemas.openxmlformats.org/officeDocument/2006/relationships/slideLayout" Target="../slideLayouts/slideLayout1628.xml"/><Relationship Id="rId182" Type="http://schemas.openxmlformats.org/officeDocument/2006/relationships/slideLayout" Target="../slideLayouts/slideLayout1670.xml"/><Relationship Id="rId378" Type="http://schemas.openxmlformats.org/officeDocument/2006/relationships/slideLayout" Target="../slideLayouts/slideLayout1866.xml"/><Relationship Id="rId403" Type="http://schemas.openxmlformats.org/officeDocument/2006/relationships/slideLayout" Target="../slideLayouts/slideLayout1891.xml"/><Relationship Id="rId6" Type="http://schemas.openxmlformats.org/officeDocument/2006/relationships/slideLayout" Target="../slideLayouts/slideLayout1494.xml"/><Relationship Id="rId238" Type="http://schemas.openxmlformats.org/officeDocument/2006/relationships/slideLayout" Target="../slideLayouts/slideLayout1726.xml"/><Relationship Id="rId445" Type="http://schemas.openxmlformats.org/officeDocument/2006/relationships/slideLayout" Target="../slideLayouts/slideLayout1933.xml"/><Relationship Id="rId291" Type="http://schemas.openxmlformats.org/officeDocument/2006/relationships/slideLayout" Target="../slideLayouts/slideLayout1779.xml"/><Relationship Id="rId305" Type="http://schemas.openxmlformats.org/officeDocument/2006/relationships/slideLayout" Target="../slideLayouts/slideLayout1793.xml"/><Relationship Id="rId347" Type="http://schemas.openxmlformats.org/officeDocument/2006/relationships/slideLayout" Target="../slideLayouts/slideLayout1835.xml"/><Relationship Id="rId44" Type="http://schemas.openxmlformats.org/officeDocument/2006/relationships/slideLayout" Target="../slideLayouts/slideLayout1532.xml"/><Relationship Id="rId86" Type="http://schemas.openxmlformats.org/officeDocument/2006/relationships/slideLayout" Target="../slideLayouts/slideLayout1574.xml"/><Relationship Id="rId151" Type="http://schemas.openxmlformats.org/officeDocument/2006/relationships/slideLayout" Target="../slideLayouts/slideLayout1639.xml"/><Relationship Id="rId389" Type="http://schemas.openxmlformats.org/officeDocument/2006/relationships/slideLayout" Target="../slideLayouts/slideLayout1877.xml"/><Relationship Id="rId193" Type="http://schemas.openxmlformats.org/officeDocument/2006/relationships/slideLayout" Target="../slideLayouts/slideLayout1681.xml"/><Relationship Id="rId207" Type="http://schemas.openxmlformats.org/officeDocument/2006/relationships/slideLayout" Target="../slideLayouts/slideLayout1695.xml"/><Relationship Id="rId249" Type="http://schemas.openxmlformats.org/officeDocument/2006/relationships/slideLayout" Target="../slideLayouts/slideLayout1737.xml"/><Relationship Id="rId414" Type="http://schemas.openxmlformats.org/officeDocument/2006/relationships/slideLayout" Target="../slideLayouts/slideLayout1902.xml"/><Relationship Id="rId456" Type="http://schemas.openxmlformats.org/officeDocument/2006/relationships/slideLayout" Target="../slideLayouts/slideLayout1944.xml"/><Relationship Id="rId13" Type="http://schemas.openxmlformats.org/officeDocument/2006/relationships/slideLayout" Target="../slideLayouts/slideLayout1501.xml"/><Relationship Id="rId109" Type="http://schemas.openxmlformats.org/officeDocument/2006/relationships/slideLayout" Target="../slideLayouts/slideLayout1597.xml"/><Relationship Id="rId260" Type="http://schemas.openxmlformats.org/officeDocument/2006/relationships/slideLayout" Target="../slideLayouts/slideLayout1748.xml"/><Relationship Id="rId316" Type="http://schemas.openxmlformats.org/officeDocument/2006/relationships/slideLayout" Target="../slideLayouts/slideLayout1804.xml"/><Relationship Id="rId55" Type="http://schemas.openxmlformats.org/officeDocument/2006/relationships/slideLayout" Target="../slideLayouts/slideLayout1543.xml"/><Relationship Id="rId97" Type="http://schemas.openxmlformats.org/officeDocument/2006/relationships/slideLayout" Target="../slideLayouts/slideLayout1585.xml"/><Relationship Id="rId120" Type="http://schemas.openxmlformats.org/officeDocument/2006/relationships/slideLayout" Target="../slideLayouts/slideLayout1608.xml"/><Relationship Id="rId358" Type="http://schemas.openxmlformats.org/officeDocument/2006/relationships/slideLayout" Target="../slideLayouts/slideLayout1846.xml"/><Relationship Id="rId162" Type="http://schemas.openxmlformats.org/officeDocument/2006/relationships/slideLayout" Target="../slideLayouts/slideLayout1650.xml"/><Relationship Id="rId218" Type="http://schemas.openxmlformats.org/officeDocument/2006/relationships/slideLayout" Target="../slideLayouts/slideLayout1706.xml"/><Relationship Id="rId425" Type="http://schemas.openxmlformats.org/officeDocument/2006/relationships/slideLayout" Target="../slideLayouts/slideLayout1913.xml"/><Relationship Id="rId271" Type="http://schemas.openxmlformats.org/officeDocument/2006/relationships/slideLayout" Target="../slideLayouts/slideLayout1759.xml"/><Relationship Id="rId24" Type="http://schemas.openxmlformats.org/officeDocument/2006/relationships/slideLayout" Target="../slideLayouts/slideLayout1512.xml"/><Relationship Id="rId66" Type="http://schemas.openxmlformats.org/officeDocument/2006/relationships/slideLayout" Target="../slideLayouts/slideLayout1554.xml"/><Relationship Id="rId131" Type="http://schemas.openxmlformats.org/officeDocument/2006/relationships/slideLayout" Target="../slideLayouts/slideLayout1619.xml"/><Relationship Id="rId327" Type="http://schemas.openxmlformats.org/officeDocument/2006/relationships/slideLayout" Target="../slideLayouts/slideLayout1815.xml"/><Relationship Id="rId369" Type="http://schemas.openxmlformats.org/officeDocument/2006/relationships/slideLayout" Target="../slideLayouts/slideLayout1857.xml"/><Relationship Id="rId173" Type="http://schemas.openxmlformats.org/officeDocument/2006/relationships/slideLayout" Target="../slideLayouts/slideLayout1661.xml"/><Relationship Id="rId229" Type="http://schemas.openxmlformats.org/officeDocument/2006/relationships/slideLayout" Target="../slideLayouts/slideLayout1717.xml"/><Relationship Id="rId380" Type="http://schemas.openxmlformats.org/officeDocument/2006/relationships/slideLayout" Target="../slideLayouts/slideLayout1868.xml"/><Relationship Id="rId436" Type="http://schemas.openxmlformats.org/officeDocument/2006/relationships/slideLayout" Target="../slideLayouts/slideLayout1924.xml"/><Relationship Id="rId240" Type="http://schemas.openxmlformats.org/officeDocument/2006/relationships/slideLayout" Target="../slideLayouts/slideLayout1728.xml"/><Relationship Id="rId35" Type="http://schemas.openxmlformats.org/officeDocument/2006/relationships/slideLayout" Target="../slideLayouts/slideLayout1523.xml"/><Relationship Id="rId77" Type="http://schemas.openxmlformats.org/officeDocument/2006/relationships/slideLayout" Target="../slideLayouts/slideLayout1565.xml"/><Relationship Id="rId100" Type="http://schemas.openxmlformats.org/officeDocument/2006/relationships/slideLayout" Target="../slideLayouts/slideLayout1588.xml"/><Relationship Id="rId282" Type="http://schemas.openxmlformats.org/officeDocument/2006/relationships/slideLayout" Target="../slideLayouts/slideLayout1770.xml"/><Relationship Id="rId338" Type="http://schemas.openxmlformats.org/officeDocument/2006/relationships/slideLayout" Target="../slideLayouts/slideLayout1826.xml"/><Relationship Id="rId8" Type="http://schemas.openxmlformats.org/officeDocument/2006/relationships/slideLayout" Target="../slideLayouts/slideLayout1496.xml"/><Relationship Id="rId142" Type="http://schemas.openxmlformats.org/officeDocument/2006/relationships/slideLayout" Target="../slideLayouts/slideLayout1630.xml"/><Relationship Id="rId184" Type="http://schemas.openxmlformats.org/officeDocument/2006/relationships/slideLayout" Target="../slideLayouts/slideLayout1672.xml"/><Relationship Id="rId391" Type="http://schemas.openxmlformats.org/officeDocument/2006/relationships/slideLayout" Target="../slideLayouts/slideLayout1879.xml"/><Relationship Id="rId405" Type="http://schemas.openxmlformats.org/officeDocument/2006/relationships/slideLayout" Target="../slideLayouts/slideLayout1893.xml"/><Relationship Id="rId447" Type="http://schemas.openxmlformats.org/officeDocument/2006/relationships/slideLayout" Target="../slideLayouts/slideLayout1935.xml"/><Relationship Id="rId251" Type="http://schemas.openxmlformats.org/officeDocument/2006/relationships/slideLayout" Target="../slideLayouts/slideLayout1739.xml"/><Relationship Id="rId46" Type="http://schemas.openxmlformats.org/officeDocument/2006/relationships/slideLayout" Target="../slideLayouts/slideLayout1534.xml"/><Relationship Id="rId293" Type="http://schemas.openxmlformats.org/officeDocument/2006/relationships/slideLayout" Target="../slideLayouts/slideLayout1781.xml"/><Relationship Id="rId307" Type="http://schemas.openxmlformats.org/officeDocument/2006/relationships/slideLayout" Target="../slideLayouts/slideLayout1795.xml"/><Relationship Id="rId349" Type="http://schemas.openxmlformats.org/officeDocument/2006/relationships/slideLayout" Target="../slideLayouts/slideLayout1837.xml"/><Relationship Id="rId88" Type="http://schemas.openxmlformats.org/officeDocument/2006/relationships/slideLayout" Target="../slideLayouts/slideLayout1576.xml"/><Relationship Id="rId111" Type="http://schemas.openxmlformats.org/officeDocument/2006/relationships/slideLayout" Target="../slideLayouts/slideLayout1599.xml"/><Relationship Id="rId153" Type="http://schemas.openxmlformats.org/officeDocument/2006/relationships/slideLayout" Target="../slideLayouts/slideLayout1641.xml"/><Relationship Id="rId195" Type="http://schemas.openxmlformats.org/officeDocument/2006/relationships/slideLayout" Target="../slideLayouts/slideLayout1683.xml"/><Relationship Id="rId209" Type="http://schemas.openxmlformats.org/officeDocument/2006/relationships/slideLayout" Target="../slideLayouts/slideLayout1697.xml"/><Relationship Id="rId360" Type="http://schemas.openxmlformats.org/officeDocument/2006/relationships/slideLayout" Target="../slideLayouts/slideLayout1848.xml"/><Relationship Id="rId416" Type="http://schemas.openxmlformats.org/officeDocument/2006/relationships/slideLayout" Target="../slideLayouts/slideLayout1904.xml"/><Relationship Id="rId220" Type="http://schemas.openxmlformats.org/officeDocument/2006/relationships/slideLayout" Target="../slideLayouts/slideLayout1708.xml"/><Relationship Id="rId458" Type="http://schemas.openxmlformats.org/officeDocument/2006/relationships/slideLayout" Target="../slideLayouts/slideLayout1946.xml"/><Relationship Id="rId15" Type="http://schemas.openxmlformats.org/officeDocument/2006/relationships/slideLayout" Target="../slideLayouts/slideLayout1503.xml"/><Relationship Id="rId57" Type="http://schemas.openxmlformats.org/officeDocument/2006/relationships/slideLayout" Target="../slideLayouts/slideLayout1545.xml"/><Relationship Id="rId262" Type="http://schemas.openxmlformats.org/officeDocument/2006/relationships/slideLayout" Target="../slideLayouts/slideLayout1750.xml"/><Relationship Id="rId318" Type="http://schemas.openxmlformats.org/officeDocument/2006/relationships/slideLayout" Target="../slideLayouts/slideLayout1806.xml"/><Relationship Id="rId99" Type="http://schemas.openxmlformats.org/officeDocument/2006/relationships/slideLayout" Target="../slideLayouts/slideLayout1587.xml"/><Relationship Id="rId122" Type="http://schemas.openxmlformats.org/officeDocument/2006/relationships/slideLayout" Target="../slideLayouts/slideLayout1610.xml"/><Relationship Id="rId164" Type="http://schemas.openxmlformats.org/officeDocument/2006/relationships/slideLayout" Target="../slideLayouts/slideLayout1652.xml"/><Relationship Id="rId371" Type="http://schemas.openxmlformats.org/officeDocument/2006/relationships/slideLayout" Target="../slideLayouts/slideLayout1859.xml"/><Relationship Id="rId427" Type="http://schemas.openxmlformats.org/officeDocument/2006/relationships/slideLayout" Target="../slideLayouts/slideLayout1915.xml"/><Relationship Id="rId26" Type="http://schemas.openxmlformats.org/officeDocument/2006/relationships/slideLayout" Target="../slideLayouts/slideLayout1514.xml"/><Relationship Id="rId231" Type="http://schemas.openxmlformats.org/officeDocument/2006/relationships/slideLayout" Target="../slideLayouts/slideLayout1719.xml"/><Relationship Id="rId273" Type="http://schemas.openxmlformats.org/officeDocument/2006/relationships/slideLayout" Target="../slideLayouts/slideLayout1761.xml"/><Relationship Id="rId329" Type="http://schemas.openxmlformats.org/officeDocument/2006/relationships/slideLayout" Target="../slideLayouts/slideLayout1817.xml"/><Relationship Id="rId68" Type="http://schemas.openxmlformats.org/officeDocument/2006/relationships/slideLayout" Target="../slideLayouts/slideLayout1556.xml"/><Relationship Id="rId133" Type="http://schemas.openxmlformats.org/officeDocument/2006/relationships/slideLayout" Target="../slideLayouts/slideLayout1621.xml"/><Relationship Id="rId175" Type="http://schemas.openxmlformats.org/officeDocument/2006/relationships/slideLayout" Target="../slideLayouts/slideLayout1663.xml"/><Relationship Id="rId340" Type="http://schemas.openxmlformats.org/officeDocument/2006/relationships/slideLayout" Target="../slideLayouts/slideLayout1828.xml"/><Relationship Id="rId200" Type="http://schemas.openxmlformats.org/officeDocument/2006/relationships/slideLayout" Target="../slideLayouts/slideLayout1688.xml"/><Relationship Id="rId382" Type="http://schemas.openxmlformats.org/officeDocument/2006/relationships/slideLayout" Target="../slideLayouts/slideLayout1870.xml"/><Relationship Id="rId438" Type="http://schemas.openxmlformats.org/officeDocument/2006/relationships/slideLayout" Target="../slideLayouts/slideLayout1926.xml"/><Relationship Id="rId242" Type="http://schemas.openxmlformats.org/officeDocument/2006/relationships/slideLayout" Target="../slideLayouts/slideLayout1730.xml"/><Relationship Id="rId284" Type="http://schemas.openxmlformats.org/officeDocument/2006/relationships/slideLayout" Target="../slideLayouts/slideLayout1772.xml"/><Relationship Id="rId37" Type="http://schemas.openxmlformats.org/officeDocument/2006/relationships/slideLayout" Target="../slideLayouts/slideLayout1525.xml"/><Relationship Id="rId79" Type="http://schemas.openxmlformats.org/officeDocument/2006/relationships/slideLayout" Target="../slideLayouts/slideLayout1567.xml"/><Relationship Id="rId102" Type="http://schemas.openxmlformats.org/officeDocument/2006/relationships/slideLayout" Target="../slideLayouts/slideLayout1590.xml"/><Relationship Id="rId144" Type="http://schemas.openxmlformats.org/officeDocument/2006/relationships/slideLayout" Target="../slideLayouts/slideLayout1632.xml"/><Relationship Id="rId90" Type="http://schemas.openxmlformats.org/officeDocument/2006/relationships/slideLayout" Target="../slideLayouts/slideLayout1578.xml"/><Relationship Id="rId186" Type="http://schemas.openxmlformats.org/officeDocument/2006/relationships/slideLayout" Target="../slideLayouts/slideLayout1674.xml"/><Relationship Id="rId351" Type="http://schemas.openxmlformats.org/officeDocument/2006/relationships/slideLayout" Target="../slideLayouts/slideLayout1839.xml"/><Relationship Id="rId393" Type="http://schemas.openxmlformats.org/officeDocument/2006/relationships/slideLayout" Target="../slideLayouts/slideLayout1881.xml"/><Relationship Id="rId407" Type="http://schemas.openxmlformats.org/officeDocument/2006/relationships/slideLayout" Target="../slideLayouts/slideLayout1895.xml"/><Relationship Id="rId449" Type="http://schemas.openxmlformats.org/officeDocument/2006/relationships/slideLayout" Target="../slideLayouts/slideLayout1937.xml"/><Relationship Id="rId211" Type="http://schemas.openxmlformats.org/officeDocument/2006/relationships/slideLayout" Target="../slideLayouts/slideLayout1699.xml"/><Relationship Id="rId253" Type="http://schemas.openxmlformats.org/officeDocument/2006/relationships/slideLayout" Target="../slideLayouts/slideLayout1741.xml"/><Relationship Id="rId295" Type="http://schemas.openxmlformats.org/officeDocument/2006/relationships/slideLayout" Target="../slideLayouts/slideLayout1783.xml"/><Relationship Id="rId309" Type="http://schemas.openxmlformats.org/officeDocument/2006/relationships/slideLayout" Target="../slideLayouts/slideLayout1797.xml"/><Relationship Id="rId460" Type="http://schemas.openxmlformats.org/officeDocument/2006/relationships/slideLayout" Target="../slideLayouts/slideLayout1948.xml"/><Relationship Id="rId48" Type="http://schemas.openxmlformats.org/officeDocument/2006/relationships/slideLayout" Target="../slideLayouts/slideLayout1536.xml"/><Relationship Id="rId113" Type="http://schemas.openxmlformats.org/officeDocument/2006/relationships/slideLayout" Target="../slideLayouts/slideLayout1601.xml"/><Relationship Id="rId320" Type="http://schemas.openxmlformats.org/officeDocument/2006/relationships/slideLayout" Target="../slideLayouts/slideLayout1808.xml"/><Relationship Id="rId155" Type="http://schemas.openxmlformats.org/officeDocument/2006/relationships/slideLayout" Target="../slideLayouts/slideLayout1643.xml"/><Relationship Id="rId197" Type="http://schemas.openxmlformats.org/officeDocument/2006/relationships/slideLayout" Target="../slideLayouts/slideLayout1685.xml"/><Relationship Id="rId362" Type="http://schemas.openxmlformats.org/officeDocument/2006/relationships/slideLayout" Target="../slideLayouts/slideLayout1850.xml"/><Relationship Id="rId418" Type="http://schemas.openxmlformats.org/officeDocument/2006/relationships/slideLayout" Target="../slideLayouts/slideLayout1906.xml"/><Relationship Id="rId222" Type="http://schemas.openxmlformats.org/officeDocument/2006/relationships/slideLayout" Target="../slideLayouts/slideLayout1710.xml"/><Relationship Id="rId264" Type="http://schemas.openxmlformats.org/officeDocument/2006/relationships/slideLayout" Target="../slideLayouts/slideLayout1752.xml"/><Relationship Id="rId17" Type="http://schemas.openxmlformats.org/officeDocument/2006/relationships/slideLayout" Target="../slideLayouts/slideLayout1505.xml"/><Relationship Id="rId59" Type="http://schemas.openxmlformats.org/officeDocument/2006/relationships/slideLayout" Target="../slideLayouts/slideLayout1547.xml"/><Relationship Id="rId124" Type="http://schemas.openxmlformats.org/officeDocument/2006/relationships/slideLayout" Target="../slideLayouts/slideLayout1612.xml"/><Relationship Id="rId70" Type="http://schemas.openxmlformats.org/officeDocument/2006/relationships/slideLayout" Target="../slideLayouts/slideLayout1558.xml"/><Relationship Id="rId166" Type="http://schemas.openxmlformats.org/officeDocument/2006/relationships/slideLayout" Target="../slideLayouts/slideLayout1654.xml"/><Relationship Id="rId331" Type="http://schemas.openxmlformats.org/officeDocument/2006/relationships/slideLayout" Target="../slideLayouts/slideLayout1819.xml"/><Relationship Id="rId373" Type="http://schemas.openxmlformats.org/officeDocument/2006/relationships/slideLayout" Target="../slideLayouts/slideLayout1861.xml"/><Relationship Id="rId429" Type="http://schemas.openxmlformats.org/officeDocument/2006/relationships/slideLayout" Target="../slideLayouts/slideLayout1917.xml"/><Relationship Id="rId1" Type="http://schemas.openxmlformats.org/officeDocument/2006/relationships/slideLayout" Target="../slideLayouts/slideLayout1489.xml"/><Relationship Id="rId233" Type="http://schemas.openxmlformats.org/officeDocument/2006/relationships/slideLayout" Target="../slideLayouts/slideLayout1721.xml"/><Relationship Id="rId440" Type="http://schemas.openxmlformats.org/officeDocument/2006/relationships/slideLayout" Target="../slideLayouts/slideLayout1928.xml"/><Relationship Id="rId28" Type="http://schemas.openxmlformats.org/officeDocument/2006/relationships/slideLayout" Target="../slideLayouts/slideLayout1516.xml"/><Relationship Id="rId275" Type="http://schemas.openxmlformats.org/officeDocument/2006/relationships/slideLayout" Target="../slideLayouts/slideLayout1763.xml"/><Relationship Id="rId300" Type="http://schemas.openxmlformats.org/officeDocument/2006/relationships/slideLayout" Target="../slideLayouts/slideLayout1788.xml"/><Relationship Id="rId81" Type="http://schemas.openxmlformats.org/officeDocument/2006/relationships/slideLayout" Target="../slideLayouts/slideLayout1569.xml"/><Relationship Id="rId135" Type="http://schemas.openxmlformats.org/officeDocument/2006/relationships/slideLayout" Target="../slideLayouts/slideLayout1623.xml"/><Relationship Id="rId177" Type="http://schemas.openxmlformats.org/officeDocument/2006/relationships/slideLayout" Target="../slideLayouts/slideLayout1665.xml"/><Relationship Id="rId342" Type="http://schemas.openxmlformats.org/officeDocument/2006/relationships/slideLayout" Target="../slideLayouts/slideLayout1830.xml"/><Relationship Id="rId384" Type="http://schemas.openxmlformats.org/officeDocument/2006/relationships/slideLayout" Target="../slideLayouts/slideLayout1872.xml"/><Relationship Id="rId202" Type="http://schemas.openxmlformats.org/officeDocument/2006/relationships/slideLayout" Target="../slideLayouts/slideLayout1690.xml"/><Relationship Id="rId244" Type="http://schemas.openxmlformats.org/officeDocument/2006/relationships/slideLayout" Target="../slideLayouts/slideLayout1732.xml"/><Relationship Id="rId39" Type="http://schemas.openxmlformats.org/officeDocument/2006/relationships/slideLayout" Target="../slideLayouts/slideLayout1527.xml"/><Relationship Id="rId286" Type="http://schemas.openxmlformats.org/officeDocument/2006/relationships/slideLayout" Target="../slideLayouts/slideLayout1774.xml"/><Relationship Id="rId451" Type="http://schemas.openxmlformats.org/officeDocument/2006/relationships/slideLayout" Target="../slideLayouts/slideLayout1939.xml"/><Relationship Id="rId50" Type="http://schemas.openxmlformats.org/officeDocument/2006/relationships/slideLayout" Target="../slideLayouts/slideLayout1538.xml"/><Relationship Id="rId104" Type="http://schemas.openxmlformats.org/officeDocument/2006/relationships/slideLayout" Target="../slideLayouts/slideLayout1592.xml"/><Relationship Id="rId146" Type="http://schemas.openxmlformats.org/officeDocument/2006/relationships/slideLayout" Target="../slideLayouts/slideLayout1634.xml"/><Relationship Id="rId188" Type="http://schemas.openxmlformats.org/officeDocument/2006/relationships/slideLayout" Target="../slideLayouts/slideLayout1676.xml"/><Relationship Id="rId311" Type="http://schemas.openxmlformats.org/officeDocument/2006/relationships/slideLayout" Target="../slideLayouts/slideLayout1799.xml"/><Relationship Id="rId353" Type="http://schemas.openxmlformats.org/officeDocument/2006/relationships/slideLayout" Target="../slideLayouts/slideLayout1841.xml"/><Relationship Id="rId395" Type="http://schemas.openxmlformats.org/officeDocument/2006/relationships/slideLayout" Target="../slideLayouts/slideLayout1883.xml"/><Relationship Id="rId409" Type="http://schemas.openxmlformats.org/officeDocument/2006/relationships/slideLayout" Target="../slideLayouts/slideLayout1897.xml"/><Relationship Id="rId92" Type="http://schemas.openxmlformats.org/officeDocument/2006/relationships/slideLayout" Target="../slideLayouts/slideLayout1580.xml"/><Relationship Id="rId213" Type="http://schemas.openxmlformats.org/officeDocument/2006/relationships/slideLayout" Target="../slideLayouts/slideLayout1701.xml"/><Relationship Id="rId420" Type="http://schemas.openxmlformats.org/officeDocument/2006/relationships/slideLayout" Target="../slideLayouts/slideLayout1908.xml"/><Relationship Id="rId255" Type="http://schemas.openxmlformats.org/officeDocument/2006/relationships/slideLayout" Target="../slideLayouts/slideLayout1743.xml"/><Relationship Id="rId297" Type="http://schemas.openxmlformats.org/officeDocument/2006/relationships/slideLayout" Target="../slideLayouts/slideLayout1785.xml"/><Relationship Id="rId462" Type="http://schemas.openxmlformats.org/officeDocument/2006/relationships/slideLayout" Target="../slideLayouts/slideLayout1950.xml"/><Relationship Id="rId115" Type="http://schemas.openxmlformats.org/officeDocument/2006/relationships/slideLayout" Target="../slideLayouts/slideLayout1603.xml"/><Relationship Id="rId157" Type="http://schemas.openxmlformats.org/officeDocument/2006/relationships/slideLayout" Target="../slideLayouts/slideLayout1645.xml"/><Relationship Id="rId322" Type="http://schemas.openxmlformats.org/officeDocument/2006/relationships/slideLayout" Target="../slideLayouts/slideLayout1810.xml"/><Relationship Id="rId364" Type="http://schemas.openxmlformats.org/officeDocument/2006/relationships/slideLayout" Target="../slideLayouts/slideLayout1852.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387.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63" Type="http://schemas.openxmlformats.org/officeDocument/2006/relationships/slideLayout" Target="../slideLayouts/slideLayout333.xml"/><Relationship Id="rId84" Type="http://schemas.openxmlformats.org/officeDocument/2006/relationships/slideLayout" Target="../slideLayouts/slideLayout354.xml"/><Relationship Id="rId138" Type="http://schemas.openxmlformats.org/officeDocument/2006/relationships/slideLayout" Target="../slideLayouts/slideLayout408.xml"/><Relationship Id="rId107" Type="http://schemas.openxmlformats.org/officeDocument/2006/relationships/slideLayout" Target="../slideLayouts/slideLayout377.xml"/><Relationship Id="rId11" Type="http://schemas.openxmlformats.org/officeDocument/2006/relationships/slideLayout" Target="../slideLayouts/slideLayout281.xml"/><Relationship Id="rId32" Type="http://schemas.openxmlformats.org/officeDocument/2006/relationships/slideLayout" Target="../slideLayouts/slideLayout302.xml"/><Relationship Id="rId53" Type="http://schemas.openxmlformats.org/officeDocument/2006/relationships/slideLayout" Target="../slideLayouts/slideLayout323.xml"/><Relationship Id="rId74" Type="http://schemas.openxmlformats.org/officeDocument/2006/relationships/slideLayout" Target="../slideLayouts/slideLayout344.xml"/><Relationship Id="rId128" Type="http://schemas.openxmlformats.org/officeDocument/2006/relationships/slideLayout" Target="../slideLayouts/slideLayout398.xml"/><Relationship Id="rId149" Type="http://schemas.openxmlformats.org/officeDocument/2006/relationships/slideLayout" Target="../slideLayouts/slideLayout419.xml"/><Relationship Id="rId5" Type="http://schemas.openxmlformats.org/officeDocument/2006/relationships/slideLayout" Target="../slideLayouts/slideLayout275.xml"/><Relationship Id="rId95" Type="http://schemas.openxmlformats.org/officeDocument/2006/relationships/slideLayout" Target="../slideLayouts/slideLayout365.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64" Type="http://schemas.openxmlformats.org/officeDocument/2006/relationships/slideLayout" Target="../slideLayouts/slideLayout334.xml"/><Relationship Id="rId69" Type="http://schemas.openxmlformats.org/officeDocument/2006/relationships/slideLayout" Target="../slideLayouts/slideLayout339.xml"/><Relationship Id="rId113" Type="http://schemas.openxmlformats.org/officeDocument/2006/relationships/slideLayout" Target="../slideLayouts/slideLayout383.xml"/><Relationship Id="rId118" Type="http://schemas.openxmlformats.org/officeDocument/2006/relationships/slideLayout" Target="../slideLayouts/slideLayout388.xml"/><Relationship Id="rId134" Type="http://schemas.openxmlformats.org/officeDocument/2006/relationships/slideLayout" Target="../slideLayouts/slideLayout404.xml"/><Relationship Id="rId139" Type="http://schemas.openxmlformats.org/officeDocument/2006/relationships/slideLayout" Target="../slideLayouts/slideLayout409.xml"/><Relationship Id="rId80" Type="http://schemas.openxmlformats.org/officeDocument/2006/relationships/slideLayout" Target="../slideLayouts/slideLayout350.xml"/><Relationship Id="rId85" Type="http://schemas.openxmlformats.org/officeDocument/2006/relationships/slideLayout" Target="../slideLayouts/slideLayout355.xml"/><Relationship Id="rId150" Type="http://schemas.openxmlformats.org/officeDocument/2006/relationships/theme" Target="../theme/theme2.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59" Type="http://schemas.openxmlformats.org/officeDocument/2006/relationships/slideLayout" Target="../slideLayouts/slideLayout329.xml"/><Relationship Id="rId103" Type="http://schemas.openxmlformats.org/officeDocument/2006/relationships/slideLayout" Target="../slideLayouts/slideLayout373.xml"/><Relationship Id="rId108" Type="http://schemas.openxmlformats.org/officeDocument/2006/relationships/slideLayout" Target="../slideLayouts/slideLayout378.xml"/><Relationship Id="rId124" Type="http://schemas.openxmlformats.org/officeDocument/2006/relationships/slideLayout" Target="../slideLayouts/slideLayout394.xml"/><Relationship Id="rId129" Type="http://schemas.openxmlformats.org/officeDocument/2006/relationships/slideLayout" Target="../slideLayouts/slideLayout399.xml"/><Relationship Id="rId54" Type="http://schemas.openxmlformats.org/officeDocument/2006/relationships/slideLayout" Target="../slideLayouts/slideLayout324.xml"/><Relationship Id="rId70" Type="http://schemas.openxmlformats.org/officeDocument/2006/relationships/slideLayout" Target="../slideLayouts/slideLayout340.xml"/><Relationship Id="rId75" Type="http://schemas.openxmlformats.org/officeDocument/2006/relationships/slideLayout" Target="../slideLayouts/slideLayout345.xml"/><Relationship Id="rId91" Type="http://schemas.openxmlformats.org/officeDocument/2006/relationships/slideLayout" Target="../slideLayouts/slideLayout361.xml"/><Relationship Id="rId96" Type="http://schemas.openxmlformats.org/officeDocument/2006/relationships/slideLayout" Target="../slideLayouts/slideLayout366.xml"/><Relationship Id="rId140" Type="http://schemas.openxmlformats.org/officeDocument/2006/relationships/slideLayout" Target="../slideLayouts/slideLayout410.xml"/><Relationship Id="rId145" Type="http://schemas.openxmlformats.org/officeDocument/2006/relationships/slideLayout" Target="../slideLayouts/slideLayout415.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49" Type="http://schemas.openxmlformats.org/officeDocument/2006/relationships/slideLayout" Target="../slideLayouts/slideLayout319.xml"/><Relationship Id="rId114" Type="http://schemas.openxmlformats.org/officeDocument/2006/relationships/slideLayout" Target="../slideLayouts/slideLayout384.xml"/><Relationship Id="rId119" Type="http://schemas.openxmlformats.org/officeDocument/2006/relationships/slideLayout" Target="../slideLayouts/slideLayout389.xml"/><Relationship Id="rId44" Type="http://schemas.openxmlformats.org/officeDocument/2006/relationships/slideLayout" Target="../slideLayouts/slideLayout314.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81" Type="http://schemas.openxmlformats.org/officeDocument/2006/relationships/slideLayout" Target="../slideLayouts/slideLayout351.xml"/><Relationship Id="rId86" Type="http://schemas.openxmlformats.org/officeDocument/2006/relationships/slideLayout" Target="../slideLayouts/slideLayout356.xml"/><Relationship Id="rId130" Type="http://schemas.openxmlformats.org/officeDocument/2006/relationships/slideLayout" Target="../slideLayouts/slideLayout400.xml"/><Relationship Id="rId135" Type="http://schemas.openxmlformats.org/officeDocument/2006/relationships/slideLayout" Target="../slideLayouts/slideLayout405.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109" Type="http://schemas.openxmlformats.org/officeDocument/2006/relationships/slideLayout" Target="../slideLayouts/slideLayout37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 Id="rId76" Type="http://schemas.openxmlformats.org/officeDocument/2006/relationships/slideLayout" Target="../slideLayouts/slideLayout346.xml"/><Relationship Id="rId97" Type="http://schemas.openxmlformats.org/officeDocument/2006/relationships/slideLayout" Target="../slideLayouts/slideLayout367.xml"/><Relationship Id="rId104" Type="http://schemas.openxmlformats.org/officeDocument/2006/relationships/slideLayout" Target="../slideLayouts/slideLayout374.xml"/><Relationship Id="rId120" Type="http://schemas.openxmlformats.org/officeDocument/2006/relationships/slideLayout" Target="../slideLayouts/slideLayout390.xml"/><Relationship Id="rId125" Type="http://schemas.openxmlformats.org/officeDocument/2006/relationships/slideLayout" Target="../slideLayouts/slideLayout395.xml"/><Relationship Id="rId141" Type="http://schemas.openxmlformats.org/officeDocument/2006/relationships/slideLayout" Target="../slideLayouts/slideLayout411.xml"/><Relationship Id="rId146" Type="http://schemas.openxmlformats.org/officeDocument/2006/relationships/slideLayout" Target="../slideLayouts/slideLayout416.xml"/><Relationship Id="rId7" Type="http://schemas.openxmlformats.org/officeDocument/2006/relationships/slideLayout" Target="../slideLayouts/slideLayout277.xml"/><Relationship Id="rId71" Type="http://schemas.openxmlformats.org/officeDocument/2006/relationships/slideLayout" Target="../slideLayouts/slideLayout341.xml"/><Relationship Id="rId92" Type="http://schemas.openxmlformats.org/officeDocument/2006/relationships/slideLayout" Target="../slideLayouts/slideLayout362.xml"/><Relationship Id="rId2" Type="http://schemas.openxmlformats.org/officeDocument/2006/relationships/slideLayout" Target="../slideLayouts/slideLayout272.xml"/><Relationship Id="rId29" Type="http://schemas.openxmlformats.org/officeDocument/2006/relationships/slideLayout" Target="../slideLayouts/slideLayout299.xml"/><Relationship Id="rId24" Type="http://schemas.openxmlformats.org/officeDocument/2006/relationships/slideLayout" Target="../slideLayouts/slideLayout294.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66" Type="http://schemas.openxmlformats.org/officeDocument/2006/relationships/slideLayout" Target="../slideLayouts/slideLayout336.xml"/><Relationship Id="rId87" Type="http://schemas.openxmlformats.org/officeDocument/2006/relationships/slideLayout" Target="../slideLayouts/slideLayout357.xml"/><Relationship Id="rId110" Type="http://schemas.openxmlformats.org/officeDocument/2006/relationships/slideLayout" Target="../slideLayouts/slideLayout380.xml"/><Relationship Id="rId115" Type="http://schemas.openxmlformats.org/officeDocument/2006/relationships/slideLayout" Target="../slideLayouts/slideLayout385.xml"/><Relationship Id="rId131" Type="http://schemas.openxmlformats.org/officeDocument/2006/relationships/slideLayout" Target="../slideLayouts/slideLayout401.xml"/><Relationship Id="rId136" Type="http://schemas.openxmlformats.org/officeDocument/2006/relationships/slideLayout" Target="../slideLayouts/slideLayout406.xml"/><Relationship Id="rId61" Type="http://schemas.openxmlformats.org/officeDocument/2006/relationships/slideLayout" Target="../slideLayouts/slideLayout331.xml"/><Relationship Id="rId82" Type="http://schemas.openxmlformats.org/officeDocument/2006/relationships/slideLayout" Target="../slideLayouts/slideLayout352.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56" Type="http://schemas.openxmlformats.org/officeDocument/2006/relationships/slideLayout" Target="../slideLayouts/slideLayout326.xml"/><Relationship Id="rId77" Type="http://schemas.openxmlformats.org/officeDocument/2006/relationships/slideLayout" Target="../slideLayouts/slideLayout347.xml"/><Relationship Id="rId100" Type="http://schemas.openxmlformats.org/officeDocument/2006/relationships/slideLayout" Target="../slideLayouts/slideLayout370.xml"/><Relationship Id="rId105" Type="http://schemas.openxmlformats.org/officeDocument/2006/relationships/slideLayout" Target="../slideLayouts/slideLayout375.xml"/><Relationship Id="rId126" Type="http://schemas.openxmlformats.org/officeDocument/2006/relationships/slideLayout" Target="../slideLayouts/slideLayout396.xml"/><Relationship Id="rId147" Type="http://schemas.openxmlformats.org/officeDocument/2006/relationships/slideLayout" Target="../slideLayouts/slideLayout417.xml"/><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93" Type="http://schemas.openxmlformats.org/officeDocument/2006/relationships/slideLayout" Target="../slideLayouts/slideLayout363.xml"/><Relationship Id="rId98" Type="http://schemas.openxmlformats.org/officeDocument/2006/relationships/slideLayout" Target="../slideLayouts/slideLayout368.xml"/><Relationship Id="rId121" Type="http://schemas.openxmlformats.org/officeDocument/2006/relationships/slideLayout" Target="../slideLayouts/slideLayout391.xml"/><Relationship Id="rId142" Type="http://schemas.openxmlformats.org/officeDocument/2006/relationships/slideLayout" Target="../slideLayouts/slideLayout412.xml"/><Relationship Id="rId3" Type="http://schemas.openxmlformats.org/officeDocument/2006/relationships/slideLayout" Target="../slideLayouts/slideLayout273.xml"/><Relationship Id="rId25" Type="http://schemas.openxmlformats.org/officeDocument/2006/relationships/slideLayout" Target="../slideLayouts/slideLayout295.xml"/><Relationship Id="rId46" Type="http://schemas.openxmlformats.org/officeDocument/2006/relationships/slideLayout" Target="../slideLayouts/slideLayout316.xml"/><Relationship Id="rId67" Type="http://schemas.openxmlformats.org/officeDocument/2006/relationships/slideLayout" Target="../slideLayouts/slideLayout337.xml"/><Relationship Id="rId116" Type="http://schemas.openxmlformats.org/officeDocument/2006/relationships/slideLayout" Target="../slideLayouts/slideLayout386.xml"/><Relationship Id="rId137" Type="http://schemas.openxmlformats.org/officeDocument/2006/relationships/slideLayout" Target="../slideLayouts/slideLayout40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62" Type="http://schemas.openxmlformats.org/officeDocument/2006/relationships/slideLayout" Target="../slideLayouts/slideLayout332.xml"/><Relationship Id="rId83" Type="http://schemas.openxmlformats.org/officeDocument/2006/relationships/slideLayout" Target="../slideLayouts/slideLayout353.xml"/><Relationship Id="rId88" Type="http://schemas.openxmlformats.org/officeDocument/2006/relationships/slideLayout" Target="../slideLayouts/slideLayout358.xml"/><Relationship Id="rId111" Type="http://schemas.openxmlformats.org/officeDocument/2006/relationships/slideLayout" Target="../slideLayouts/slideLayout381.xml"/><Relationship Id="rId132" Type="http://schemas.openxmlformats.org/officeDocument/2006/relationships/slideLayout" Target="../slideLayouts/slideLayout402.xml"/><Relationship Id="rId15" Type="http://schemas.openxmlformats.org/officeDocument/2006/relationships/slideLayout" Target="../slideLayouts/slideLayout285.xml"/><Relationship Id="rId36" Type="http://schemas.openxmlformats.org/officeDocument/2006/relationships/slideLayout" Target="../slideLayouts/slideLayout306.xml"/><Relationship Id="rId57" Type="http://schemas.openxmlformats.org/officeDocument/2006/relationships/slideLayout" Target="../slideLayouts/slideLayout327.xml"/><Relationship Id="rId106" Type="http://schemas.openxmlformats.org/officeDocument/2006/relationships/slideLayout" Target="../slideLayouts/slideLayout376.xml"/><Relationship Id="rId127" Type="http://schemas.openxmlformats.org/officeDocument/2006/relationships/slideLayout" Target="../slideLayouts/slideLayout39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52" Type="http://schemas.openxmlformats.org/officeDocument/2006/relationships/slideLayout" Target="../slideLayouts/slideLayout322.xml"/><Relationship Id="rId73" Type="http://schemas.openxmlformats.org/officeDocument/2006/relationships/slideLayout" Target="../slideLayouts/slideLayout343.xml"/><Relationship Id="rId78" Type="http://schemas.openxmlformats.org/officeDocument/2006/relationships/slideLayout" Target="../slideLayouts/slideLayout348.xml"/><Relationship Id="rId94" Type="http://schemas.openxmlformats.org/officeDocument/2006/relationships/slideLayout" Target="../slideLayouts/slideLayout364.xml"/><Relationship Id="rId99" Type="http://schemas.openxmlformats.org/officeDocument/2006/relationships/slideLayout" Target="../slideLayouts/slideLayout369.xml"/><Relationship Id="rId101" Type="http://schemas.openxmlformats.org/officeDocument/2006/relationships/slideLayout" Target="../slideLayouts/slideLayout371.xml"/><Relationship Id="rId122" Type="http://schemas.openxmlformats.org/officeDocument/2006/relationships/slideLayout" Target="../slideLayouts/slideLayout392.xml"/><Relationship Id="rId143" Type="http://schemas.openxmlformats.org/officeDocument/2006/relationships/slideLayout" Target="../slideLayouts/slideLayout413.xml"/><Relationship Id="rId148" Type="http://schemas.openxmlformats.org/officeDocument/2006/relationships/slideLayout" Target="../slideLayouts/slideLayout418.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26" Type="http://schemas.openxmlformats.org/officeDocument/2006/relationships/slideLayout" Target="../slideLayouts/slideLayout296.xml"/><Relationship Id="rId47" Type="http://schemas.openxmlformats.org/officeDocument/2006/relationships/slideLayout" Target="../slideLayouts/slideLayout317.xml"/><Relationship Id="rId68" Type="http://schemas.openxmlformats.org/officeDocument/2006/relationships/slideLayout" Target="../slideLayouts/slideLayout338.xml"/><Relationship Id="rId89" Type="http://schemas.openxmlformats.org/officeDocument/2006/relationships/slideLayout" Target="../slideLayouts/slideLayout359.xml"/><Relationship Id="rId112" Type="http://schemas.openxmlformats.org/officeDocument/2006/relationships/slideLayout" Target="../slideLayouts/slideLayout382.xml"/><Relationship Id="rId133" Type="http://schemas.openxmlformats.org/officeDocument/2006/relationships/slideLayout" Target="../slideLayouts/slideLayout403.xml"/><Relationship Id="rId16" Type="http://schemas.openxmlformats.org/officeDocument/2006/relationships/slideLayout" Target="../slideLayouts/slideLayout286.xml"/><Relationship Id="rId37" Type="http://schemas.openxmlformats.org/officeDocument/2006/relationships/slideLayout" Target="../slideLayouts/slideLayout307.xml"/><Relationship Id="rId58" Type="http://schemas.openxmlformats.org/officeDocument/2006/relationships/slideLayout" Target="../slideLayouts/slideLayout328.xml"/><Relationship Id="rId79" Type="http://schemas.openxmlformats.org/officeDocument/2006/relationships/slideLayout" Target="../slideLayouts/slideLayout349.xml"/><Relationship Id="rId102" Type="http://schemas.openxmlformats.org/officeDocument/2006/relationships/slideLayout" Target="../slideLayouts/slideLayout372.xml"/><Relationship Id="rId123" Type="http://schemas.openxmlformats.org/officeDocument/2006/relationships/slideLayout" Target="../slideLayouts/slideLayout393.xml"/><Relationship Id="rId144" Type="http://schemas.openxmlformats.org/officeDocument/2006/relationships/slideLayout" Target="../slideLayouts/slideLayout414.xml"/><Relationship Id="rId90" Type="http://schemas.openxmlformats.org/officeDocument/2006/relationships/slideLayout" Target="../slideLayouts/slideLayout36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536.xml"/><Relationship Id="rId299" Type="http://schemas.openxmlformats.org/officeDocument/2006/relationships/slideLayout" Target="../slideLayouts/slideLayout718.xml"/><Relationship Id="rId21" Type="http://schemas.openxmlformats.org/officeDocument/2006/relationships/slideLayout" Target="../slideLayouts/slideLayout440.xml"/><Relationship Id="rId63" Type="http://schemas.openxmlformats.org/officeDocument/2006/relationships/slideLayout" Target="../slideLayouts/slideLayout482.xml"/><Relationship Id="rId159" Type="http://schemas.openxmlformats.org/officeDocument/2006/relationships/slideLayout" Target="../slideLayouts/slideLayout578.xml"/><Relationship Id="rId324" Type="http://schemas.openxmlformats.org/officeDocument/2006/relationships/slideLayout" Target="../slideLayouts/slideLayout743.xml"/><Relationship Id="rId366" Type="http://schemas.openxmlformats.org/officeDocument/2006/relationships/slideLayout" Target="../slideLayouts/slideLayout785.xml"/><Relationship Id="rId170" Type="http://schemas.openxmlformats.org/officeDocument/2006/relationships/slideLayout" Target="../slideLayouts/slideLayout589.xml"/><Relationship Id="rId226" Type="http://schemas.openxmlformats.org/officeDocument/2006/relationships/slideLayout" Target="../slideLayouts/slideLayout645.xml"/><Relationship Id="rId433" Type="http://schemas.openxmlformats.org/officeDocument/2006/relationships/slideLayout" Target="../slideLayouts/slideLayout852.xml"/><Relationship Id="rId268" Type="http://schemas.openxmlformats.org/officeDocument/2006/relationships/slideLayout" Target="../slideLayouts/slideLayout687.xml"/><Relationship Id="rId475" Type="http://schemas.openxmlformats.org/officeDocument/2006/relationships/slideLayout" Target="../slideLayouts/slideLayout894.xml"/><Relationship Id="rId32" Type="http://schemas.openxmlformats.org/officeDocument/2006/relationships/slideLayout" Target="../slideLayouts/slideLayout451.xml"/><Relationship Id="rId74" Type="http://schemas.openxmlformats.org/officeDocument/2006/relationships/slideLayout" Target="../slideLayouts/slideLayout493.xml"/><Relationship Id="rId128" Type="http://schemas.openxmlformats.org/officeDocument/2006/relationships/slideLayout" Target="../slideLayouts/slideLayout547.xml"/><Relationship Id="rId335" Type="http://schemas.openxmlformats.org/officeDocument/2006/relationships/slideLayout" Target="../slideLayouts/slideLayout754.xml"/><Relationship Id="rId377" Type="http://schemas.openxmlformats.org/officeDocument/2006/relationships/slideLayout" Target="../slideLayouts/slideLayout796.xml"/><Relationship Id="rId500" Type="http://schemas.openxmlformats.org/officeDocument/2006/relationships/slideLayout" Target="../slideLayouts/slideLayout919.xml"/><Relationship Id="rId5" Type="http://schemas.openxmlformats.org/officeDocument/2006/relationships/slideLayout" Target="../slideLayouts/slideLayout424.xml"/><Relationship Id="rId181" Type="http://schemas.openxmlformats.org/officeDocument/2006/relationships/slideLayout" Target="../slideLayouts/slideLayout600.xml"/><Relationship Id="rId237" Type="http://schemas.openxmlformats.org/officeDocument/2006/relationships/slideLayout" Target="../slideLayouts/slideLayout656.xml"/><Relationship Id="rId402" Type="http://schemas.openxmlformats.org/officeDocument/2006/relationships/slideLayout" Target="../slideLayouts/slideLayout821.xml"/><Relationship Id="rId279" Type="http://schemas.openxmlformats.org/officeDocument/2006/relationships/slideLayout" Target="../slideLayouts/slideLayout698.xml"/><Relationship Id="rId444" Type="http://schemas.openxmlformats.org/officeDocument/2006/relationships/slideLayout" Target="../slideLayouts/slideLayout863.xml"/><Relationship Id="rId486" Type="http://schemas.openxmlformats.org/officeDocument/2006/relationships/slideLayout" Target="../slideLayouts/slideLayout905.xml"/><Relationship Id="rId43" Type="http://schemas.openxmlformats.org/officeDocument/2006/relationships/slideLayout" Target="../slideLayouts/slideLayout462.xml"/><Relationship Id="rId139" Type="http://schemas.openxmlformats.org/officeDocument/2006/relationships/slideLayout" Target="../slideLayouts/slideLayout558.xml"/><Relationship Id="rId290" Type="http://schemas.openxmlformats.org/officeDocument/2006/relationships/slideLayout" Target="../slideLayouts/slideLayout709.xml"/><Relationship Id="rId304" Type="http://schemas.openxmlformats.org/officeDocument/2006/relationships/slideLayout" Target="../slideLayouts/slideLayout723.xml"/><Relationship Id="rId346" Type="http://schemas.openxmlformats.org/officeDocument/2006/relationships/slideLayout" Target="../slideLayouts/slideLayout765.xml"/><Relationship Id="rId388" Type="http://schemas.openxmlformats.org/officeDocument/2006/relationships/slideLayout" Target="../slideLayouts/slideLayout807.xml"/><Relationship Id="rId85" Type="http://schemas.openxmlformats.org/officeDocument/2006/relationships/slideLayout" Target="../slideLayouts/slideLayout504.xml"/><Relationship Id="rId150" Type="http://schemas.openxmlformats.org/officeDocument/2006/relationships/slideLayout" Target="../slideLayouts/slideLayout569.xml"/><Relationship Id="rId192" Type="http://schemas.openxmlformats.org/officeDocument/2006/relationships/slideLayout" Target="../slideLayouts/slideLayout611.xml"/><Relationship Id="rId206" Type="http://schemas.openxmlformats.org/officeDocument/2006/relationships/slideLayout" Target="../slideLayouts/slideLayout625.xml"/><Relationship Id="rId413" Type="http://schemas.openxmlformats.org/officeDocument/2006/relationships/slideLayout" Target="../slideLayouts/slideLayout832.xml"/><Relationship Id="rId248" Type="http://schemas.openxmlformats.org/officeDocument/2006/relationships/slideLayout" Target="../slideLayouts/slideLayout667.xml"/><Relationship Id="rId455" Type="http://schemas.openxmlformats.org/officeDocument/2006/relationships/slideLayout" Target="../slideLayouts/slideLayout874.xml"/><Relationship Id="rId497" Type="http://schemas.openxmlformats.org/officeDocument/2006/relationships/slideLayout" Target="../slideLayouts/slideLayout916.xml"/><Relationship Id="rId12" Type="http://schemas.openxmlformats.org/officeDocument/2006/relationships/slideLayout" Target="../slideLayouts/slideLayout431.xml"/><Relationship Id="rId108" Type="http://schemas.openxmlformats.org/officeDocument/2006/relationships/slideLayout" Target="../slideLayouts/slideLayout527.xml"/><Relationship Id="rId315" Type="http://schemas.openxmlformats.org/officeDocument/2006/relationships/slideLayout" Target="../slideLayouts/slideLayout734.xml"/><Relationship Id="rId357" Type="http://schemas.openxmlformats.org/officeDocument/2006/relationships/slideLayout" Target="../slideLayouts/slideLayout776.xml"/><Relationship Id="rId54" Type="http://schemas.openxmlformats.org/officeDocument/2006/relationships/slideLayout" Target="../slideLayouts/slideLayout473.xml"/><Relationship Id="rId96" Type="http://schemas.openxmlformats.org/officeDocument/2006/relationships/slideLayout" Target="../slideLayouts/slideLayout515.xml"/><Relationship Id="rId161" Type="http://schemas.openxmlformats.org/officeDocument/2006/relationships/slideLayout" Target="../slideLayouts/slideLayout580.xml"/><Relationship Id="rId217" Type="http://schemas.openxmlformats.org/officeDocument/2006/relationships/slideLayout" Target="../slideLayouts/slideLayout636.xml"/><Relationship Id="rId399" Type="http://schemas.openxmlformats.org/officeDocument/2006/relationships/slideLayout" Target="../slideLayouts/slideLayout818.xml"/><Relationship Id="rId259" Type="http://schemas.openxmlformats.org/officeDocument/2006/relationships/slideLayout" Target="../slideLayouts/slideLayout678.xml"/><Relationship Id="rId424" Type="http://schemas.openxmlformats.org/officeDocument/2006/relationships/slideLayout" Target="../slideLayouts/slideLayout843.xml"/><Relationship Id="rId466" Type="http://schemas.openxmlformats.org/officeDocument/2006/relationships/slideLayout" Target="../slideLayouts/slideLayout885.xml"/><Relationship Id="rId23" Type="http://schemas.openxmlformats.org/officeDocument/2006/relationships/slideLayout" Target="../slideLayouts/slideLayout442.xml"/><Relationship Id="rId119" Type="http://schemas.openxmlformats.org/officeDocument/2006/relationships/slideLayout" Target="../slideLayouts/slideLayout538.xml"/><Relationship Id="rId270" Type="http://schemas.openxmlformats.org/officeDocument/2006/relationships/slideLayout" Target="../slideLayouts/slideLayout689.xml"/><Relationship Id="rId326" Type="http://schemas.openxmlformats.org/officeDocument/2006/relationships/slideLayout" Target="../slideLayouts/slideLayout745.xml"/><Relationship Id="rId65" Type="http://schemas.openxmlformats.org/officeDocument/2006/relationships/slideLayout" Target="../slideLayouts/slideLayout484.xml"/><Relationship Id="rId130" Type="http://schemas.openxmlformats.org/officeDocument/2006/relationships/slideLayout" Target="../slideLayouts/slideLayout549.xml"/><Relationship Id="rId368" Type="http://schemas.openxmlformats.org/officeDocument/2006/relationships/slideLayout" Target="../slideLayouts/slideLayout787.xml"/><Relationship Id="rId172" Type="http://schemas.openxmlformats.org/officeDocument/2006/relationships/slideLayout" Target="../slideLayouts/slideLayout591.xml"/><Relationship Id="rId228" Type="http://schemas.openxmlformats.org/officeDocument/2006/relationships/slideLayout" Target="../slideLayouts/slideLayout647.xml"/><Relationship Id="rId435" Type="http://schemas.openxmlformats.org/officeDocument/2006/relationships/slideLayout" Target="../slideLayouts/slideLayout854.xml"/><Relationship Id="rId477" Type="http://schemas.openxmlformats.org/officeDocument/2006/relationships/slideLayout" Target="../slideLayouts/slideLayout896.xml"/><Relationship Id="rId281" Type="http://schemas.openxmlformats.org/officeDocument/2006/relationships/slideLayout" Target="../slideLayouts/slideLayout700.xml"/><Relationship Id="rId337" Type="http://schemas.openxmlformats.org/officeDocument/2006/relationships/slideLayout" Target="../slideLayouts/slideLayout756.xml"/><Relationship Id="rId502" Type="http://schemas.openxmlformats.org/officeDocument/2006/relationships/slideLayout" Target="../slideLayouts/slideLayout921.xml"/><Relationship Id="rId34" Type="http://schemas.openxmlformats.org/officeDocument/2006/relationships/slideLayout" Target="../slideLayouts/slideLayout453.xml"/><Relationship Id="rId76" Type="http://schemas.openxmlformats.org/officeDocument/2006/relationships/slideLayout" Target="../slideLayouts/slideLayout495.xml"/><Relationship Id="rId141" Type="http://schemas.openxmlformats.org/officeDocument/2006/relationships/slideLayout" Target="../slideLayouts/slideLayout560.xml"/><Relationship Id="rId379" Type="http://schemas.openxmlformats.org/officeDocument/2006/relationships/slideLayout" Target="../slideLayouts/slideLayout798.xml"/><Relationship Id="rId7" Type="http://schemas.openxmlformats.org/officeDocument/2006/relationships/slideLayout" Target="../slideLayouts/slideLayout426.xml"/><Relationship Id="rId183" Type="http://schemas.openxmlformats.org/officeDocument/2006/relationships/slideLayout" Target="../slideLayouts/slideLayout602.xml"/><Relationship Id="rId239" Type="http://schemas.openxmlformats.org/officeDocument/2006/relationships/slideLayout" Target="../slideLayouts/slideLayout658.xml"/><Relationship Id="rId390" Type="http://schemas.openxmlformats.org/officeDocument/2006/relationships/slideLayout" Target="../slideLayouts/slideLayout809.xml"/><Relationship Id="rId404" Type="http://schemas.openxmlformats.org/officeDocument/2006/relationships/slideLayout" Target="../slideLayouts/slideLayout823.xml"/><Relationship Id="rId446" Type="http://schemas.openxmlformats.org/officeDocument/2006/relationships/slideLayout" Target="../slideLayouts/slideLayout865.xml"/><Relationship Id="rId250" Type="http://schemas.openxmlformats.org/officeDocument/2006/relationships/slideLayout" Target="../slideLayouts/slideLayout669.xml"/><Relationship Id="rId292" Type="http://schemas.openxmlformats.org/officeDocument/2006/relationships/slideLayout" Target="../slideLayouts/slideLayout711.xml"/><Relationship Id="rId306" Type="http://schemas.openxmlformats.org/officeDocument/2006/relationships/slideLayout" Target="../slideLayouts/slideLayout725.xml"/><Relationship Id="rId488" Type="http://schemas.openxmlformats.org/officeDocument/2006/relationships/slideLayout" Target="../slideLayouts/slideLayout907.xml"/><Relationship Id="rId45" Type="http://schemas.openxmlformats.org/officeDocument/2006/relationships/slideLayout" Target="../slideLayouts/slideLayout464.xml"/><Relationship Id="rId87" Type="http://schemas.openxmlformats.org/officeDocument/2006/relationships/slideLayout" Target="../slideLayouts/slideLayout506.xml"/><Relationship Id="rId110" Type="http://schemas.openxmlformats.org/officeDocument/2006/relationships/slideLayout" Target="../slideLayouts/slideLayout529.xml"/><Relationship Id="rId348" Type="http://schemas.openxmlformats.org/officeDocument/2006/relationships/slideLayout" Target="../slideLayouts/slideLayout767.xml"/><Relationship Id="rId152" Type="http://schemas.openxmlformats.org/officeDocument/2006/relationships/slideLayout" Target="../slideLayouts/slideLayout571.xml"/><Relationship Id="rId194" Type="http://schemas.openxmlformats.org/officeDocument/2006/relationships/slideLayout" Target="../slideLayouts/slideLayout613.xml"/><Relationship Id="rId208" Type="http://schemas.openxmlformats.org/officeDocument/2006/relationships/slideLayout" Target="../slideLayouts/slideLayout627.xml"/><Relationship Id="rId415" Type="http://schemas.openxmlformats.org/officeDocument/2006/relationships/slideLayout" Target="../slideLayouts/slideLayout834.xml"/><Relationship Id="rId457" Type="http://schemas.openxmlformats.org/officeDocument/2006/relationships/slideLayout" Target="../slideLayouts/slideLayout876.xml"/><Relationship Id="rId261" Type="http://schemas.openxmlformats.org/officeDocument/2006/relationships/slideLayout" Target="../slideLayouts/slideLayout680.xml"/><Relationship Id="rId499" Type="http://schemas.openxmlformats.org/officeDocument/2006/relationships/slideLayout" Target="../slideLayouts/slideLayout918.xml"/><Relationship Id="rId14" Type="http://schemas.openxmlformats.org/officeDocument/2006/relationships/slideLayout" Target="../slideLayouts/slideLayout433.xml"/><Relationship Id="rId56" Type="http://schemas.openxmlformats.org/officeDocument/2006/relationships/slideLayout" Target="../slideLayouts/slideLayout475.xml"/><Relationship Id="rId317" Type="http://schemas.openxmlformats.org/officeDocument/2006/relationships/slideLayout" Target="../slideLayouts/slideLayout736.xml"/><Relationship Id="rId359" Type="http://schemas.openxmlformats.org/officeDocument/2006/relationships/slideLayout" Target="../slideLayouts/slideLayout778.xml"/><Relationship Id="rId98" Type="http://schemas.openxmlformats.org/officeDocument/2006/relationships/slideLayout" Target="../slideLayouts/slideLayout517.xml"/><Relationship Id="rId121" Type="http://schemas.openxmlformats.org/officeDocument/2006/relationships/slideLayout" Target="../slideLayouts/slideLayout540.xml"/><Relationship Id="rId163" Type="http://schemas.openxmlformats.org/officeDocument/2006/relationships/slideLayout" Target="../slideLayouts/slideLayout582.xml"/><Relationship Id="rId219" Type="http://schemas.openxmlformats.org/officeDocument/2006/relationships/slideLayout" Target="../slideLayouts/slideLayout638.xml"/><Relationship Id="rId370" Type="http://schemas.openxmlformats.org/officeDocument/2006/relationships/slideLayout" Target="../slideLayouts/slideLayout789.xml"/><Relationship Id="rId426" Type="http://schemas.openxmlformats.org/officeDocument/2006/relationships/slideLayout" Target="../slideLayouts/slideLayout845.xml"/><Relationship Id="rId230" Type="http://schemas.openxmlformats.org/officeDocument/2006/relationships/slideLayout" Target="../slideLayouts/slideLayout649.xml"/><Relationship Id="rId468" Type="http://schemas.openxmlformats.org/officeDocument/2006/relationships/slideLayout" Target="../slideLayouts/slideLayout887.xml"/><Relationship Id="rId25" Type="http://schemas.openxmlformats.org/officeDocument/2006/relationships/slideLayout" Target="../slideLayouts/slideLayout444.xml"/><Relationship Id="rId67" Type="http://schemas.openxmlformats.org/officeDocument/2006/relationships/slideLayout" Target="../slideLayouts/slideLayout486.xml"/><Relationship Id="rId272" Type="http://schemas.openxmlformats.org/officeDocument/2006/relationships/slideLayout" Target="../slideLayouts/slideLayout691.xml"/><Relationship Id="rId328" Type="http://schemas.openxmlformats.org/officeDocument/2006/relationships/slideLayout" Target="../slideLayouts/slideLayout747.xml"/><Relationship Id="rId132" Type="http://schemas.openxmlformats.org/officeDocument/2006/relationships/slideLayout" Target="../slideLayouts/slideLayout551.xml"/><Relationship Id="rId174" Type="http://schemas.openxmlformats.org/officeDocument/2006/relationships/slideLayout" Target="../slideLayouts/slideLayout593.xml"/><Relationship Id="rId381" Type="http://schemas.openxmlformats.org/officeDocument/2006/relationships/slideLayout" Target="../slideLayouts/slideLayout800.xml"/><Relationship Id="rId241" Type="http://schemas.openxmlformats.org/officeDocument/2006/relationships/slideLayout" Target="../slideLayouts/slideLayout660.xml"/><Relationship Id="rId437" Type="http://schemas.openxmlformats.org/officeDocument/2006/relationships/slideLayout" Target="../slideLayouts/slideLayout856.xml"/><Relationship Id="rId479" Type="http://schemas.openxmlformats.org/officeDocument/2006/relationships/slideLayout" Target="../slideLayouts/slideLayout898.xml"/><Relationship Id="rId36" Type="http://schemas.openxmlformats.org/officeDocument/2006/relationships/slideLayout" Target="../slideLayouts/slideLayout455.xml"/><Relationship Id="rId283" Type="http://schemas.openxmlformats.org/officeDocument/2006/relationships/slideLayout" Target="../slideLayouts/slideLayout702.xml"/><Relationship Id="rId339" Type="http://schemas.openxmlformats.org/officeDocument/2006/relationships/slideLayout" Target="../slideLayouts/slideLayout758.xml"/><Relationship Id="rId490" Type="http://schemas.openxmlformats.org/officeDocument/2006/relationships/slideLayout" Target="../slideLayouts/slideLayout909.xml"/><Relationship Id="rId504" Type="http://schemas.openxmlformats.org/officeDocument/2006/relationships/slideLayout" Target="../slideLayouts/slideLayout923.xml"/><Relationship Id="rId78" Type="http://schemas.openxmlformats.org/officeDocument/2006/relationships/slideLayout" Target="../slideLayouts/slideLayout497.xml"/><Relationship Id="rId101" Type="http://schemas.openxmlformats.org/officeDocument/2006/relationships/slideLayout" Target="../slideLayouts/slideLayout520.xml"/><Relationship Id="rId143" Type="http://schemas.openxmlformats.org/officeDocument/2006/relationships/slideLayout" Target="../slideLayouts/slideLayout562.xml"/><Relationship Id="rId185" Type="http://schemas.openxmlformats.org/officeDocument/2006/relationships/slideLayout" Target="../slideLayouts/slideLayout604.xml"/><Relationship Id="rId350" Type="http://schemas.openxmlformats.org/officeDocument/2006/relationships/slideLayout" Target="../slideLayouts/slideLayout769.xml"/><Relationship Id="rId406" Type="http://schemas.openxmlformats.org/officeDocument/2006/relationships/slideLayout" Target="../slideLayouts/slideLayout825.xml"/><Relationship Id="rId9" Type="http://schemas.openxmlformats.org/officeDocument/2006/relationships/slideLayout" Target="../slideLayouts/slideLayout428.xml"/><Relationship Id="rId210" Type="http://schemas.openxmlformats.org/officeDocument/2006/relationships/slideLayout" Target="../slideLayouts/slideLayout629.xml"/><Relationship Id="rId392" Type="http://schemas.openxmlformats.org/officeDocument/2006/relationships/slideLayout" Target="../slideLayouts/slideLayout811.xml"/><Relationship Id="rId448" Type="http://schemas.openxmlformats.org/officeDocument/2006/relationships/slideLayout" Target="../slideLayouts/slideLayout867.xml"/><Relationship Id="rId252" Type="http://schemas.openxmlformats.org/officeDocument/2006/relationships/slideLayout" Target="../slideLayouts/slideLayout671.xml"/><Relationship Id="rId294" Type="http://schemas.openxmlformats.org/officeDocument/2006/relationships/slideLayout" Target="../slideLayouts/slideLayout713.xml"/><Relationship Id="rId308" Type="http://schemas.openxmlformats.org/officeDocument/2006/relationships/slideLayout" Target="../slideLayouts/slideLayout727.xml"/><Relationship Id="rId47" Type="http://schemas.openxmlformats.org/officeDocument/2006/relationships/slideLayout" Target="../slideLayouts/slideLayout466.xml"/><Relationship Id="rId89" Type="http://schemas.openxmlformats.org/officeDocument/2006/relationships/slideLayout" Target="../slideLayouts/slideLayout508.xml"/><Relationship Id="rId112" Type="http://schemas.openxmlformats.org/officeDocument/2006/relationships/slideLayout" Target="../slideLayouts/slideLayout531.xml"/><Relationship Id="rId154" Type="http://schemas.openxmlformats.org/officeDocument/2006/relationships/slideLayout" Target="../slideLayouts/slideLayout573.xml"/><Relationship Id="rId361" Type="http://schemas.openxmlformats.org/officeDocument/2006/relationships/slideLayout" Target="../slideLayouts/slideLayout780.xml"/><Relationship Id="rId196" Type="http://schemas.openxmlformats.org/officeDocument/2006/relationships/slideLayout" Target="../slideLayouts/slideLayout615.xml"/><Relationship Id="rId417" Type="http://schemas.openxmlformats.org/officeDocument/2006/relationships/slideLayout" Target="../slideLayouts/slideLayout836.xml"/><Relationship Id="rId459" Type="http://schemas.openxmlformats.org/officeDocument/2006/relationships/slideLayout" Target="../slideLayouts/slideLayout878.xml"/><Relationship Id="rId16" Type="http://schemas.openxmlformats.org/officeDocument/2006/relationships/slideLayout" Target="../slideLayouts/slideLayout435.xml"/><Relationship Id="rId221" Type="http://schemas.openxmlformats.org/officeDocument/2006/relationships/slideLayout" Target="../slideLayouts/slideLayout640.xml"/><Relationship Id="rId263" Type="http://schemas.openxmlformats.org/officeDocument/2006/relationships/slideLayout" Target="../slideLayouts/slideLayout682.xml"/><Relationship Id="rId319" Type="http://schemas.openxmlformats.org/officeDocument/2006/relationships/slideLayout" Target="../slideLayouts/slideLayout738.xml"/><Relationship Id="rId470" Type="http://schemas.openxmlformats.org/officeDocument/2006/relationships/slideLayout" Target="../slideLayouts/slideLayout889.xml"/><Relationship Id="rId58" Type="http://schemas.openxmlformats.org/officeDocument/2006/relationships/slideLayout" Target="../slideLayouts/slideLayout477.xml"/><Relationship Id="rId123" Type="http://schemas.openxmlformats.org/officeDocument/2006/relationships/slideLayout" Target="../slideLayouts/slideLayout542.xml"/><Relationship Id="rId330" Type="http://schemas.openxmlformats.org/officeDocument/2006/relationships/slideLayout" Target="../slideLayouts/slideLayout749.xml"/><Relationship Id="rId165" Type="http://schemas.openxmlformats.org/officeDocument/2006/relationships/slideLayout" Target="../slideLayouts/slideLayout584.xml"/><Relationship Id="rId372" Type="http://schemas.openxmlformats.org/officeDocument/2006/relationships/slideLayout" Target="../slideLayouts/slideLayout791.xml"/><Relationship Id="rId428" Type="http://schemas.openxmlformats.org/officeDocument/2006/relationships/slideLayout" Target="../slideLayouts/slideLayout847.xml"/><Relationship Id="rId232" Type="http://schemas.openxmlformats.org/officeDocument/2006/relationships/slideLayout" Target="../slideLayouts/slideLayout651.xml"/><Relationship Id="rId274" Type="http://schemas.openxmlformats.org/officeDocument/2006/relationships/slideLayout" Target="../slideLayouts/slideLayout693.xml"/><Relationship Id="rId481" Type="http://schemas.openxmlformats.org/officeDocument/2006/relationships/slideLayout" Target="../slideLayouts/slideLayout900.xml"/><Relationship Id="rId27" Type="http://schemas.openxmlformats.org/officeDocument/2006/relationships/slideLayout" Target="../slideLayouts/slideLayout446.xml"/><Relationship Id="rId69" Type="http://schemas.openxmlformats.org/officeDocument/2006/relationships/slideLayout" Target="../slideLayouts/slideLayout488.xml"/><Relationship Id="rId134" Type="http://schemas.openxmlformats.org/officeDocument/2006/relationships/slideLayout" Target="../slideLayouts/slideLayout553.xml"/><Relationship Id="rId80" Type="http://schemas.openxmlformats.org/officeDocument/2006/relationships/slideLayout" Target="../slideLayouts/slideLayout499.xml"/><Relationship Id="rId176" Type="http://schemas.openxmlformats.org/officeDocument/2006/relationships/slideLayout" Target="../slideLayouts/slideLayout595.xml"/><Relationship Id="rId341" Type="http://schemas.openxmlformats.org/officeDocument/2006/relationships/slideLayout" Target="../slideLayouts/slideLayout760.xml"/><Relationship Id="rId383" Type="http://schemas.openxmlformats.org/officeDocument/2006/relationships/slideLayout" Target="../slideLayouts/slideLayout802.xml"/><Relationship Id="rId439" Type="http://schemas.openxmlformats.org/officeDocument/2006/relationships/slideLayout" Target="../slideLayouts/slideLayout858.xml"/><Relationship Id="rId201" Type="http://schemas.openxmlformats.org/officeDocument/2006/relationships/slideLayout" Target="../slideLayouts/slideLayout620.xml"/><Relationship Id="rId243" Type="http://schemas.openxmlformats.org/officeDocument/2006/relationships/slideLayout" Target="../slideLayouts/slideLayout662.xml"/><Relationship Id="rId285" Type="http://schemas.openxmlformats.org/officeDocument/2006/relationships/slideLayout" Target="../slideLayouts/slideLayout704.xml"/><Relationship Id="rId450" Type="http://schemas.openxmlformats.org/officeDocument/2006/relationships/slideLayout" Target="../slideLayouts/slideLayout869.xml"/><Relationship Id="rId506" Type="http://schemas.openxmlformats.org/officeDocument/2006/relationships/slideLayout" Target="../slideLayouts/slideLayout925.xml"/><Relationship Id="rId38" Type="http://schemas.openxmlformats.org/officeDocument/2006/relationships/slideLayout" Target="../slideLayouts/slideLayout457.xml"/><Relationship Id="rId103" Type="http://schemas.openxmlformats.org/officeDocument/2006/relationships/slideLayout" Target="../slideLayouts/slideLayout522.xml"/><Relationship Id="rId310" Type="http://schemas.openxmlformats.org/officeDocument/2006/relationships/slideLayout" Target="../slideLayouts/slideLayout729.xml"/><Relationship Id="rId492" Type="http://schemas.openxmlformats.org/officeDocument/2006/relationships/slideLayout" Target="../slideLayouts/slideLayout911.xml"/><Relationship Id="rId91" Type="http://schemas.openxmlformats.org/officeDocument/2006/relationships/slideLayout" Target="../slideLayouts/slideLayout510.xml"/><Relationship Id="rId145" Type="http://schemas.openxmlformats.org/officeDocument/2006/relationships/slideLayout" Target="../slideLayouts/slideLayout564.xml"/><Relationship Id="rId187" Type="http://schemas.openxmlformats.org/officeDocument/2006/relationships/slideLayout" Target="../slideLayouts/slideLayout606.xml"/><Relationship Id="rId352" Type="http://schemas.openxmlformats.org/officeDocument/2006/relationships/slideLayout" Target="../slideLayouts/slideLayout771.xml"/><Relationship Id="rId394" Type="http://schemas.openxmlformats.org/officeDocument/2006/relationships/slideLayout" Target="../slideLayouts/slideLayout813.xml"/><Relationship Id="rId408" Type="http://schemas.openxmlformats.org/officeDocument/2006/relationships/slideLayout" Target="../slideLayouts/slideLayout827.xml"/><Relationship Id="rId212" Type="http://schemas.openxmlformats.org/officeDocument/2006/relationships/slideLayout" Target="../slideLayouts/slideLayout631.xml"/><Relationship Id="rId254" Type="http://schemas.openxmlformats.org/officeDocument/2006/relationships/slideLayout" Target="../slideLayouts/slideLayout673.xml"/><Relationship Id="rId49" Type="http://schemas.openxmlformats.org/officeDocument/2006/relationships/slideLayout" Target="../slideLayouts/slideLayout468.xml"/><Relationship Id="rId114" Type="http://schemas.openxmlformats.org/officeDocument/2006/relationships/slideLayout" Target="../slideLayouts/slideLayout533.xml"/><Relationship Id="rId296" Type="http://schemas.openxmlformats.org/officeDocument/2006/relationships/slideLayout" Target="../slideLayouts/slideLayout715.xml"/><Relationship Id="rId461" Type="http://schemas.openxmlformats.org/officeDocument/2006/relationships/slideLayout" Target="../slideLayouts/slideLayout880.xml"/><Relationship Id="rId60" Type="http://schemas.openxmlformats.org/officeDocument/2006/relationships/slideLayout" Target="../slideLayouts/slideLayout479.xml"/><Relationship Id="rId156" Type="http://schemas.openxmlformats.org/officeDocument/2006/relationships/slideLayout" Target="../slideLayouts/slideLayout575.xml"/><Relationship Id="rId198" Type="http://schemas.openxmlformats.org/officeDocument/2006/relationships/slideLayout" Target="../slideLayouts/slideLayout617.xml"/><Relationship Id="rId321" Type="http://schemas.openxmlformats.org/officeDocument/2006/relationships/slideLayout" Target="../slideLayouts/slideLayout740.xml"/><Relationship Id="rId363" Type="http://schemas.openxmlformats.org/officeDocument/2006/relationships/slideLayout" Target="../slideLayouts/slideLayout782.xml"/><Relationship Id="rId419" Type="http://schemas.openxmlformats.org/officeDocument/2006/relationships/slideLayout" Target="../slideLayouts/slideLayout838.xml"/><Relationship Id="rId223" Type="http://schemas.openxmlformats.org/officeDocument/2006/relationships/slideLayout" Target="../slideLayouts/slideLayout642.xml"/><Relationship Id="rId430" Type="http://schemas.openxmlformats.org/officeDocument/2006/relationships/slideLayout" Target="../slideLayouts/slideLayout849.xml"/><Relationship Id="rId18" Type="http://schemas.openxmlformats.org/officeDocument/2006/relationships/slideLayout" Target="../slideLayouts/slideLayout437.xml"/><Relationship Id="rId265" Type="http://schemas.openxmlformats.org/officeDocument/2006/relationships/slideLayout" Target="../slideLayouts/slideLayout684.xml"/><Relationship Id="rId472" Type="http://schemas.openxmlformats.org/officeDocument/2006/relationships/slideLayout" Target="../slideLayouts/slideLayout891.xml"/><Relationship Id="rId125" Type="http://schemas.openxmlformats.org/officeDocument/2006/relationships/slideLayout" Target="../slideLayouts/slideLayout544.xml"/><Relationship Id="rId167" Type="http://schemas.openxmlformats.org/officeDocument/2006/relationships/slideLayout" Target="../slideLayouts/slideLayout586.xml"/><Relationship Id="rId332" Type="http://schemas.openxmlformats.org/officeDocument/2006/relationships/slideLayout" Target="../slideLayouts/slideLayout751.xml"/><Relationship Id="rId374" Type="http://schemas.openxmlformats.org/officeDocument/2006/relationships/slideLayout" Target="../slideLayouts/slideLayout793.xml"/><Relationship Id="rId71" Type="http://schemas.openxmlformats.org/officeDocument/2006/relationships/slideLayout" Target="../slideLayouts/slideLayout490.xml"/><Relationship Id="rId234" Type="http://schemas.openxmlformats.org/officeDocument/2006/relationships/slideLayout" Target="../slideLayouts/slideLayout653.xml"/><Relationship Id="rId2" Type="http://schemas.openxmlformats.org/officeDocument/2006/relationships/slideLayout" Target="../slideLayouts/slideLayout421.xml"/><Relationship Id="rId29" Type="http://schemas.openxmlformats.org/officeDocument/2006/relationships/slideLayout" Target="../slideLayouts/slideLayout448.xml"/><Relationship Id="rId276" Type="http://schemas.openxmlformats.org/officeDocument/2006/relationships/slideLayout" Target="../slideLayouts/slideLayout695.xml"/><Relationship Id="rId441" Type="http://schemas.openxmlformats.org/officeDocument/2006/relationships/slideLayout" Target="../slideLayouts/slideLayout860.xml"/><Relationship Id="rId483" Type="http://schemas.openxmlformats.org/officeDocument/2006/relationships/slideLayout" Target="../slideLayouts/slideLayout902.xml"/><Relationship Id="rId40" Type="http://schemas.openxmlformats.org/officeDocument/2006/relationships/slideLayout" Target="../slideLayouts/slideLayout459.xml"/><Relationship Id="rId136" Type="http://schemas.openxmlformats.org/officeDocument/2006/relationships/slideLayout" Target="../slideLayouts/slideLayout555.xml"/><Relationship Id="rId178" Type="http://schemas.openxmlformats.org/officeDocument/2006/relationships/slideLayout" Target="../slideLayouts/slideLayout597.xml"/><Relationship Id="rId301" Type="http://schemas.openxmlformats.org/officeDocument/2006/relationships/slideLayout" Target="../slideLayouts/slideLayout720.xml"/><Relationship Id="rId343" Type="http://schemas.openxmlformats.org/officeDocument/2006/relationships/slideLayout" Target="../slideLayouts/slideLayout762.xml"/><Relationship Id="rId82" Type="http://schemas.openxmlformats.org/officeDocument/2006/relationships/slideLayout" Target="../slideLayouts/slideLayout501.xml"/><Relationship Id="rId203" Type="http://schemas.openxmlformats.org/officeDocument/2006/relationships/slideLayout" Target="../slideLayouts/slideLayout622.xml"/><Relationship Id="rId385" Type="http://schemas.openxmlformats.org/officeDocument/2006/relationships/slideLayout" Target="../slideLayouts/slideLayout804.xml"/><Relationship Id="rId245" Type="http://schemas.openxmlformats.org/officeDocument/2006/relationships/slideLayout" Target="../slideLayouts/slideLayout664.xml"/><Relationship Id="rId287" Type="http://schemas.openxmlformats.org/officeDocument/2006/relationships/slideLayout" Target="../slideLayouts/slideLayout706.xml"/><Relationship Id="rId410" Type="http://schemas.openxmlformats.org/officeDocument/2006/relationships/slideLayout" Target="../slideLayouts/slideLayout829.xml"/><Relationship Id="rId452" Type="http://schemas.openxmlformats.org/officeDocument/2006/relationships/slideLayout" Target="../slideLayouts/slideLayout871.xml"/><Relationship Id="rId494" Type="http://schemas.openxmlformats.org/officeDocument/2006/relationships/slideLayout" Target="../slideLayouts/slideLayout913.xml"/><Relationship Id="rId105" Type="http://schemas.openxmlformats.org/officeDocument/2006/relationships/slideLayout" Target="../slideLayouts/slideLayout524.xml"/><Relationship Id="rId147" Type="http://schemas.openxmlformats.org/officeDocument/2006/relationships/slideLayout" Target="../slideLayouts/slideLayout566.xml"/><Relationship Id="rId312" Type="http://schemas.openxmlformats.org/officeDocument/2006/relationships/slideLayout" Target="../slideLayouts/slideLayout731.xml"/><Relationship Id="rId354" Type="http://schemas.openxmlformats.org/officeDocument/2006/relationships/slideLayout" Target="../slideLayouts/slideLayout773.xml"/><Relationship Id="rId51" Type="http://schemas.openxmlformats.org/officeDocument/2006/relationships/slideLayout" Target="../slideLayouts/slideLayout470.xml"/><Relationship Id="rId93" Type="http://schemas.openxmlformats.org/officeDocument/2006/relationships/slideLayout" Target="../slideLayouts/slideLayout512.xml"/><Relationship Id="rId189" Type="http://schemas.openxmlformats.org/officeDocument/2006/relationships/slideLayout" Target="../slideLayouts/slideLayout608.xml"/><Relationship Id="rId396" Type="http://schemas.openxmlformats.org/officeDocument/2006/relationships/slideLayout" Target="../slideLayouts/slideLayout815.xml"/><Relationship Id="rId214" Type="http://schemas.openxmlformats.org/officeDocument/2006/relationships/slideLayout" Target="../slideLayouts/slideLayout633.xml"/><Relationship Id="rId256" Type="http://schemas.openxmlformats.org/officeDocument/2006/relationships/slideLayout" Target="../slideLayouts/slideLayout675.xml"/><Relationship Id="rId298" Type="http://schemas.openxmlformats.org/officeDocument/2006/relationships/slideLayout" Target="../slideLayouts/slideLayout717.xml"/><Relationship Id="rId421" Type="http://schemas.openxmlformats.org/officeDocument/2006/relationships/slideLayout" Target="../slideLayouts/slideLayout840.xml"/><Relationship Id="rId463" Type="http://schemas.openxmlformats.org/officeDocument/2006/relationships/slideLayout" Target="../slideLayouts/slideLayout882.xml"/><Relationship Id="rId116" Type="http://schemas.openxmlformats.org/officeDocument/2006/relationships/slideLayout" Target="../slideLayouts/slideLayout535.xml"/><Relationship Id="rId158" Type="http://schemas.openxmlformats.org/officeDocument/2006/relationships/slideLayout" Target="../slideLayouts/slideLayout577.xml"/><Relationship Id="rId323" Type="http://schemas.openxmlformats.org/officeDocument/2006/relationships/slideLayout" Target="../slideLayouts/slideLayout742.xml"/><Relationship Id="rId20" Type="http://schemas.openxmlformats.org/officeDocument/2006/relationships/slideLayout" Target="../slideLayouts/slideLayout439.xml"/><Relationship Id="rId62" Type="http://schemas.openxmlformats.org/officeDocument/2006/relationships/slideLayout" Target="../slideLayouts/slideLayout481.xml"/><Relationship Id="rId365" Type="http://schemas.openxmlformats.org/officeDocument/2006/relationships/slideLayout" Target="../slideLayouts/slideLayout784.xml"/><Relationship Id="rId225" Type="http://schemas.openxmlformats.org/officeDocument/2006/relationships/slideLayout" Target="../slideLayouts/slideLayout644.xml"/><Relationship Id="rId267" Type="http://schemas.openxmlformats.org/officeDocument/2006/relationships/slideLayout" Target="../slideLayouts/slideLayout686.xml"/><Relationship Id="rId432" Type="http://schemas.openxmlformats.org/officeDocument/2006/relationships/slideLayout" Target="../slideLayouts/slideLayout851.xml"/><Relationship Id="rId474" Type="http://schemas.openxmlformats.org/officeDocument/2006/relationships/slideLayout" Target="../slideLayouts/slideLayout893.xml"/><Relationship Id="rId127" Type="http://schemas.openxmlformats.org/officeDocument/2006/relationships/slideLayout" Target="../slideLayouts/slideLayout546.xml"/><Relationship Id="rId31" Type="http://schemas.openxmlformats.org/officeDocument/2006/relationships/slideLayout" Target="../slideLayouts/slideLayout450.xml"/><Relationship Id="rId73" Type="http://schemas.openxmlformats.org/officeDocument/2006/relationships/slideLayout" Target="../slideLayouts/slideLayout492.xml"/><Relationship Id="rId169" Type="http://schemas.openxmlformats.org/officeDocument/2006/relationships/slideLayout" Target="../slideLayouts/slideLayout588.xml"/><Relationship Id="rId334" Type="http://schemas.openxmlformats.org/officeDocument/2006/relationships/slideLayout" Target="../slideLayouts/slideLayout753.xml"/><Relationship Id="rId376" Type="http://schemas.openxmlformats.org/officeDocument/2006/relationships/slideLayout" Target="../slideLayouts/slideLayout795.xml"/><Relationship Id="rId4" Type="http://schemas.openxmlformats.org/officeDocument/2006/relationships/slideLayout" Target="../slideLayouts/slideLayout423.xml"/><Relationship Id="rId180" Type="http://schemas.openxmlformats.org/officeDocument/2006/relationships/slideLayout" Target="../slideLayouts/slideLayout599.xml"/><Relationship Id="rId215" Type="http://schemas.openxmlformats.org/officeDocument/2006/relationships/slideLayout" Target="../slideLayouts/slideLayout634.xml"/><Relationship Id="rId236" Type="http://schemas.openxmlformats.org/officeDocument/2006/relationships/slideLayout" Target="../slideLayouts/slideLayout655.xml"/><Relationship Id="rId257" Type="http://schemas.openxmlformats.org/officeDocument/2006/relationships/slideLayout" Target="../slideLayouts/slideLayout676.xml"/><Relationship Id="rId278" Type="http://schemas.openxmlformats.org/officeDocument/2006/relationships/slideLayout" Target="../slideLayouts/slideLayout697.xml"/><Relationship Id="rId401" Type="http://schemas.openxmlformats.org/officeDocument/2006/relationships/slideLayout" Target="../slideLayouts/slideLayout820.xml"/><Relationship Id="rId422" Type="http://schemas.openxmlformats.org/officeDocument/2006/relationships/slideLayout" Target="../slideLayouts/slideLayout841.xml"/><Relationship Id="rId443" Type="http://schemas.openxmlformats.org/officeDocument/2006/relationships/slideLayout" Target="../slideLayouts/slideLayout862.xml"/><Relationship Id="rId464" Type="http://schemas.openxmlformats.org/officeDocument/2006/relationships/slideLayout" Target="../slideLayouts/slideLayout883.xml"/><Relationship Id="rId303" Type="http://schemas.openxmlformats.org/officeDocument/2006/relationships/slideLayout" Target="../slideLayouts/slideLayout722.xml"/><Relationship Id="rId485" Type="http://schemas.openxmlformats.org/officeDocument/2006/relationships/slideLayout" Target="../slideLayouts/slideLayout904.xml"/><Relationship Id="rId42" Type="http://schemas.openxmlformats.org/officeDocument/2006/relationships/slideLayout" Target="../slideLayouts/slideLayout461.xml"/><Relationship Id="rId84" Type="http://schemas.openxmlformats.org/officeDocument/2006/relationships/slideLayout" Target="../slideLayouts/slideLayout503.xml"/><Relationship Id="rId138" Type="http://schemas.openxmlformats.org/officeDocument/2006/relationships/slideLayout" Target="../slideLayouts/slideLayout557.xml"/><Relationship Id="rId345" Type="http://schemas.openxmlformats.org/officeDocument/2006/relationships/slideLayout" Target="../slideLayouts/slideLayout764.xml"/><Relationship Id="rId387" Type="http://schemas.openxmlformats.org/officeDocument/2006/relationships/slideLayout" Target="../slideLayouts/slideLayout806.xml"/><Relationship Id="rId191" Type="http://schemas.openxmlformats.org/officeDocument/2006/relationships/slideLayout" Target="../slideLayouts/slideLayout610.xml"/><Relationship Id="rId205" Type="http://schemas.openxmlformats.org/officeDocument/2006/relationships/slideLayout" Target="../slideLayouts/slideLayout624.xml"/><Relationship Id="rId247" Type="http://schemas.openxmlformats.org/officeDocument/2006/relationships/slideLayout" Target="../slideLayouts/slideLayout666.xml"/><Relationship Id="rId412" Type="http://schemas.openxmlformats.org/officeDocument/2006/relationships/slideLayout" Target="../slideLayouts/slideLayout831.xml"/><Relationship Id="rId107" Type="http://schemas.openxmlformats.org/officeDocument/2006/relationships/slideLayout" Target="../slideLayouts/slideLayout526.xml"/><Relationship Id="rId289" Type="http://schemas.openxmlformats.org/officeDocument/2006/relationships/slideLayout" Target="../slideLayouts/slideLayout708.xml"/><Relationship Id="rId454" Type="http://schemas.openxmlformats.org/officeDocument/2006/relationships/slideLayout" Target="../slideLayouts/slideLayout873.xml"/><Relationship Id="rId496" Type="http://schemas.openxmlformats.org/officeDocument/2006/relationships/slideLayout" Target="../slideLayouts/slideLayout915.xml"/><Relationship Id="rId11" Type="http://schemas.openxmlformats.org/officeDocument/2006/relationships/slideLayout" Target="../slideLayouts/slideLayout430.xml"/><Relationship Id="rId53" Type="http://schemas.openxmlformats.org/officeDocument/2006/relationships/slideLayout" Target="../slideLayouts/slideLayout472.xml"/><Relationship Id="rId149" Type="http://schemas.openxmlformats.org/officeDocument/2006/relationships/slideLayout" Target="../slideLayouts/slideLayout568.xml"/><Relationship Id="rId314" Type="http://schemas.openxmlformats.org/officeDocument/2006/relationships/slideLayout" Target="../slideLayouts/slideLayout733.xml"/><Relationship Id="rId356" Type="http://schemas.openxmlformats.org/officeDocument/2006/relationships/slideLayout" Target="../slideLayouts/slideLayout775.xml"/><Relationship Id="rId398" Type="http://schemas.openxmlformats.org/officeDocument/2006/relationships/slideLayout" Target="../slideLayouts/slideLayout817.xml"/><Relationship Id="rId95" Type="http://schemas.openxmlformats.org/officeDocument/2006/relationships/slideLayout" Target="../slideLayouts/slideLayout514.xml"/><Relationship Id="rId160" Type="http://schemas.openxmlformats.org/officeDocument/2006/relationships/slideLayout" Target="../slideLayouts/slideLayout579.xml"/><Relationship Id="rId216" Type="http://schemas.openxmlformats.org/officeDocument/2006/relationships/slideLayout" Target="../slideLayouts/slideLayout635.xml"/><Relationship Id="rId423" Type="http://schemas.openxmlformats.org/officeDocument/2006/relationships/slideLayout" Target="../slideLayouts/slideLayout842.xml"/><Relationship Id="rId258" Type="http://schemas.openxmlformats.org/officeDocument/2006/relationships/slideLayout" Target="../slideLayouts/slideLayout677.xml"/><Relationship Id="rId465" Type="http://schemas.openxmlformats.org/officeDocument/2006/relationships/slideLayout" Target="../slideLayouts/slideLayout884.xml"/><Relationship Id="rId22" Type="http://schemas.openxmlformats.org/officeDocument/2006/relationships/slideLayout" Target="../slideLayouts/slideLayout441.xml"/><Relationship Id="rId64" Type="http://schemas.openxmlformats.org/officeDocument/2006/relationships/slideLayout" Target="../slideLayouts/slideLayout483.xml"/><Relationship Id="rId118" Type="http://schemas.openxmlformats.org/officeDocument/2006/relationships/slideLayout" Target="../slideLayouts/slideLayout537.xml"/><Relationship Id="rId325" Type="http://schemas.openxmlformats.org/officeDocument/2006/relationships/slideLayout" Target="../slideLayouts/slideLayout744.xml"/><Relationship Id="rId367" Type="http://schemas.openxmlformats.org/officeDocument/2006/relationships/slideLayout" Target="../slideLayouts/slideLayout786.xml"/><Relationship Id="rId171" Type="http://schemas.openxmlformats.org/officeDocument/2006/relationships/slideLayout" Target="../slideLayouts/slideLayout590.xml"/><Relationship Id="rId227" Type="http://schemas.openxmlformats.org/officeDocument/2006/relationships/slideLayout" Target="../slideLayouts/slideLayout646.xml"/><Relationship Id="rId269" Type="http://schemas.openxmlformats.org/officeDocument/2006/relationships/slideLayout" Target="../slideLayouts/slideLayout688.xml"/><Relationship Id="rId434" Type="http://schemas.openxmlformats.org/officeDocument/2006/relationships/slideLayout" Target="../slideLayouts/slideLayout853.xml"/><Relationship Id="rId476" Type="http://schemas.openxmlformats.org/officeDocument/2006/relationships/slideLayout" Target="../slideLayouts/slideLayout895.xml"/><Relationship Id="rId33" Type="http://schemas.openxmlformats.org/officeDocument/2006/relationships/slideLayout" Target="../slideLayouts/slideLayout452.xml"/><Relationship Id="rId129" Type="http://schemas.openxmlformats.org/officeDocument/2006/relationships/slideLayout" Target="../slideLayouts/slideLayout548.xml"/><Relationship Id="rId280" Type="http://schemas.openxmlformats.org/officeDocument/2006/relationships/slideLayout" Target="../slideLayouts/slideLayout699.xml"/><Relationship Id="rId336" Type="http://schemas.openxmlformats.org/officeDocument/2006/relationships/slideLayout" Target="../slideLayouts/slideLayout755.xml"/><Relationship Id="rId501" Type="http://schemas.openxmlformats.org/officeDocument/2006/relationships/slideLayout" Target="../slideLayouts/slideLayout920.xml"/><Relationship Id="rId75" Type="http://schemas.openxmlformats.org/officeDocument/2006/relationships/slideLayout" Target="../slideLayouts/slideLayout494.xml"/><Relationship Id="rId140" Type="http://schemas.openxmlformats.org/officeDocument/2006/relationships/slideLayout" Target="../slideLayouts/slideLayout559.xml"/><Relationship Id="rId182" Type="http://schemas.openxmlformats.org/officeDocument/2006/relationships/slideLayout" Target="../slideLayouts/slideLayout601.xml"/><Relationship Id="rId378" Type="http://schemas.openxmlformats.org/officeDocument/2006/relationships/slideLayout" Target="../slideLayouts/slideLayout797.xml"/><Relationship Id="rId403" Type="http://schemas.openxmlformats.org/officeDocument/2006/relationships/slideLayout" Target="../slideLayouts/slideLayout822.xml"/><Relationship Id="rId6" Type="http://schemas.openxmlformats.org/officeDocument/2006/relationships/slideLayout" Target="../slideLayouts/slideLayout425.xml"/><Relationship Id="rId238" Type="http://schemas.openxmlformats.org/officeDocument/2006/relationships/slideLayout" Target="../slideLayouts/slideLayout657.xml"/><Relationship Id="rId445" Type="http://schemas.openxmlformats.org/officeDocument/2006/relationships/slideLayout" Target="../slideLayouts/slideLayout864.xml"/><Relationship Id="rId487" Type="http://schemas.openxmlformats.org/officeDocument/2006/relationships/slideLayout" Target="../slideLayouts/slideLayout906.xml"/><Relationship Id="rId291" Type="http://schemas.openxmlformats.org/officeDocument/2006/relationships/slideLayout" Target="../slideLayouts/slideLayout710.xml"/><Relationship Id="rId305" Type="http://schemas.openxmlformats.org/officeDocument/2006/relationships/slideLayout" Target="../slideLayouts/slideLayout724.xml"/><Relationship Id="rId347" Type="http://schemas.openxmlformats.org/officeDocument/2006/relationships/slideLayout" Target="../slideLayouts/slideLayout766.xml"/><Relationship Id="rId44" Type="http://schemas.openxmlformats.org/officeDocument/2006/relationships/slideLayout" Target="../slideLayouts/slideLayout463.xml"/><Relationship Id="rId86" Type="http://schemas.openxmlformats.org/officeDocument/2006/relationships/slideLayout" Target="../slideLayouts/slideLayout505.xml"/><Relationship Id="rId151" Type="http://schemas.openxmlformats.org/officeDocument/2006/relationships/slideLayout" Target="../slideLayouts/slideLayout570.xml"/><Relationship Id="rId389" Type="http://schemas.openxmlformats.org/officeDocument/2006/relationships/slideLayout" Target="../slideLayouts/slideLayout808.xml"/><Relationship Id="rId193" Type="http://schemas.openxmlformats.org/officeDocument/2006/relationships/slideLayout" Target="../slideLayouts/slideLayout612.xml"/><Relationship Id="rId207" Type="http://schemas.openxmlformats.org/officeDocument/2006/relationships/slideLayout" Target="../slideLayouts/slideLayout626.xml"/><Relationship Id="rId249" Type="http://schemas.openxmlformats.org/officeDocument/2006/relationships/slideLayout" Target="../slideLayouts/slideLayout668.xml"/><Relationship Id="rId414" Type="http://schemas.openxmlformats.org/officeDocument/2006/relationships/slideLayout" Target="../slideLayouts/slideLayout833.xml"/><Relationship Id="rId456" Type="http://schemas.openxmlformats.org/officeDocument/2006/relationships/slideLayout" Target="../slideLayouts/slideLayout875.xml"/><Relationship Id="rId498" Type="http://schemas.openxmlformats.org/officeDocument/2006/relationships/slideLayout" Target="../slideLayouts/slideLayout917.xml"/><Relationship Id="rId13" Type="http://schemas.openxmlformats.org/officeDocument/2006/relationships/slideLayout" Target="../slideLayouts/slideLayout432.xml"/><Relationship Id="rId109" Type="http://schemas.openxmlformats.org/officeDocument/2006/relationships/slideLayout" Target="../slideLayouts/slideLayout528.xml"/><Relationship Id="rId260" Type="http://schemas.openxmlformats.org/officeDocument/2006/relationships/slideLayout" Target="../slideLayouts/slideLayout679.xml"/><Relationship Id="rId316" Type="http://schemas.openxmlformats.org/officeDocument/2006/relationships/slideLayout" Target="../slideLayouts/slideLayout735.xml"/><Relationship Id="rId55" Type="http://schemas.openxmlformats.org/officeDocument/2006/relationships/slideLayout" Target="../slideLayouts/slideLayout474.xml"/><Relationship Id="rId97" Type="http://schemas.openxmlformats.org/officeDocument/2006/relationships/slideLayout" Target="../slideLayouts/slideLayout516.xml"/><Relationship Id="rId120" Type="http://schemas.openxmlformats.org/officeDocument/2006/relationships/slideLayout" Target="../slideLayouts/slideLayout539.xml"/><Relationship Id="rId358" Type="http://schemas.openxmlformats.org/officeDocument/2006/relationships/slideLayout" Target="../slideLayouts/slideLayout777.xml"/><Relationship Id="rId162" Type="http://schemas.openxmlformats.org/officeDocument/2006/relationships/slideLayout" Target="../slideLayouts/slideLayout581.xml"/><Relationship Id="rId218" Type="http://schemas.openxmlformats.org/officeDocument/2006/relationships/slideLayout" Target="../slideLayouts/slideLayout637.xml"/><Relationship Id="rId425" Type="http://schemas.openxmlformats.org/officeDocument/2006/relationships/slideLayout" Target="../slideLayouts/slideLayout844.xml"/><Relationship Id="rId467" Type="http://schemas.openxmlformats.org/officeDocument/2006/relationships/slideLayout" Target="../slideLayouts/slideLayout886.xml"/><Relationship Id="rId271" Type="http://schemas.openxmlformats.org/officeDocument/2006/relationships/slideLayout" Target="../slideLayouts/slideLayout690.xml"/><Relationship Id="rId24" Type="http://schemas.openxmlformats.org/officeDocument/2006/relationships/slideLayout" Target="../slideLayouts/slideLayout443.xml"/><Relationship Id="rId66" Type="http://schemas.openxmlformats.org/officeDocument/2006/relationships/slideLayout" Target="../slideLayouts/slideLayout485.xml"/><Relationship Id="rId131" Type="http://schemas.openxmlformats.org/officeDocument/2006/relationships/slideLayout" Target="../slideLayouts/slideLayout550.xml"/><Relationship Id="rId327" Type="http://schemas.openxmlformats.org/officeDocument/2006/relationships/slideLayout" Target="../slideLayouts/slideLayout746.xml"/><Relationship Id="rId369" Type="http://schemas.openxmlformats.org/officeDocument/2006/relationships/slideLayout" Target="../slideLayouts/slideLayout788.xml"/><Relationship Id="rId173" Type="http://schemas.openxmlformats.org/officeDocument/2006/relationships/slideLayout" Target="../slideLayouts/slideLayout592.xml"/><Relationship Id="rId229" Type="http://schemas.openxmlformats.org/officeDocument/2006/relationships/slideLayout" Target="../slideLayouts/slideLayout648.xml"/><Relationship Id="rId380" Type="http://schemas.openxmlformats.org/officeDocument/2006/relationships/slideLayout" Target="../slideLayouts/slideLayout799.xml"/><Relationship Id="rId436" Type="http://schemas.openxmlformats.org/officeDocument/2006/relationships/slideLayout" Target="../slideLayouts/slideLayout855.xml"/><Relationship Id="rId240" Type="http://schemas.openxmlformats.org/officeDocument/2006/relationships/slideLayout" Target="../slideLayouts/slideLayout659.xml"/><Relationship Id="rId478" Type="http://schemas.openxmlformats.org/officeDocument/2006/relationships/slideLayout" Target="../slideLayouts/slideLayout897.xml"/><Relationship Id="rId35" Type="http://schemas.openxmlformats.org/officeDocument/2006/relationships/slideLayout" Target="../slideLayouts/slideLayout454.xml"/><Relationship Id="rId77" Type="http://schemas.openxmlformats.org/officeDocument/2006/relationships/slideLayout" Target="../slideLayouts/slideLayout496.xml"/><Relationship Id="rId100" Type="http://schemas.openxmlformats.org/officeDocument/2006/relationships/slideLayout" Target="../slideLayouts/slideLayout519.xml"/><Relationship Id="rId282" Type="http://schemas.openxmlformats.org/officeDocument/2006/relationships/slideLayout" Target="../slideLayouts/slideLayout701.xml"/><Relationship Id="rId338" Type="http://schemas.openxmlformats.org/officeDocument/2006/relationships/slideLayout" Target="../slideLayouts/slideLayout757.xml"/><Relationship Id="rId503" Type="http://schemas.openxmlformats.org/officeDocument/2006/relationships/slideLayout" Target="../slideLayouts/slideLayout922.xml"/><Relationship Id="rId8" Type="http://schemas.openxmlformats.org/officeDocument/2006/relationships/slideLayout" Target="../slideLayouts/slideLayout427.xml"/><Relationship Id="rId142" Type="http://schemas.openxmlformats.org/officeDocument/2006/relationships/slideLayout" Target="../slideLayouts/slideLayout561.xml"/><Relationship Id="rId184" Type="http://schemas.openxmlformats.org/officeDocument/2006/relationships/slideLayout" Target="../slideLayouts/slideLayout603.xml"/><Relationship Id="rId391" Type="http://schemas.openxmlformats.org/officeDocument/2006/relationships/slideLayout" Target="../slideLayouts/slideLayout810.xml"/><Relationship Id="rId405" Type="http://schemas.openxmlformats.org/officeDocument/2006/relationships/slideLayout" Target="../slideLayouts/slideLayout824.xml"/><Relationship Id="rId447" Type="http://schemas.openxmlformats.org/officeDocument/2006/relationships/slideLayout" Target="../slideLayouts/slideLayout866.xml"/><Relationship Id="rId251" Type="http://schemas.openxmlformats.org/officeDocument/2006/relationships/slideLayout" Target="../slideLayouts/slideLayout670.xml"/><Relationship Id="rId489" Type="http://schemas.openxmlformats.org/officeDocument/2006/relationships/slideLayout" Target="../slideLayouts/slideLayout908.xml"/><Relationship Id="rId46" Type="http://schemas.openxmlformats.org/officeDocument/2006/relationships/slideLayout" Target="../slideLayouts/slideLayout465.xml"/><Relationship Id="rId293" Type="http://schemas.openxmlformats.org/officeDocument/2006/relationships/slideLayout" Target="../slideLayouts/slideLayout712.xml"/><Relationship Id="rId307" Type="http://schemas.openxmlformats.org/officeDocument/2006/relationships/slideLayout" Target="../slideLayouts/slideLayout726.xml"/><Relationship Id="rId349" Type="http://schemas.openxmlformats.org/officeDocument/2006/relationships/slideLayout" Target="../slideLayouts/slideLayout768.xml"/><Relationship Id="rId88" Type="http://schemas.openxmlformats.org/officeDocument/2006/relationships/slideLayout" Target="../slideLayouts/slideLayout507.xml"/><Relationship Id="rId111" Type="http://schemas.openxmlformats.org/officeDocument/2006/relationships/slideLayout" Target="../slideLayouts/slideLayout530.xml"/><Relationship Id="rId153" Type="http://schemas.openxmlformats.org/officeDocument/2006/relationships/slideLayout" Target="../slideLayouts/slideLayout572.xml"/><Relationship Id="rId195" Type="http://schemas.openxmlformats.org/officeDocument/2006/relationships/slideLayout" Target="../slideLayouts/slideLayout614.xml"/><Relationship Id="rId209" Type="http://schemas.openxmlformats.org/officeDocument/2006/relationships/slideLayout" Target="../slideLayouts/slideLayout628.xml"/><Relationship Id="rId360" Type="http://schemas.openxmlformats.org/officeDocument/2006/relationships/slideLayout" Target="../slideLayouts/slideLayout779.xml"/><Relationship Id="rId416" Type="http://schemas.openxmlformats.org/officeDocument/2006/relationships/slideLayout" Target="../slideLayouts/slideLayout835.xml"/><Relationship Id="rId220" Type="http://schemas.openxmlformats.org/officeDocument/2006/relationships/slideLayout" Target="../slideLayouts/slideLayout639.xml"/><Relationship Id="rId458" Type="http://schemas.openxmlformats.org/officeDocument/2006/relationships/slideLayout" Target="../slideLayouts/slideLayout877.xml"/><Relationship Id="rId15" Type="http://schemas.openxmlformats.org/officeDocument/2006/relationships/slideLayout" Target="../slideLayouts/slideLayout434.xml"/><Relationship Id="rId57" Type="http://schemas.openxmlformats.org/officeDocument/2006/relationships/slideLayout" Target="../slideLayouts/slideLayout476.xml"/><Relationship Id="rId262" Type="http://schemas.openxmlformats.org/officeDocument/2006/relationships/slideLayout" Target="../slideLayouts/slideLayout681.xml"/><Relationship Id="rId318" Type="http://schemas.openxmlformats.org/officeDocument/2006/relationships/slideLayout" Target="../slideLayouts/slideLayout737.xml"/><Relationship Id="rId99" Type="http://schemas.openxmlformats.org/officeDocument/2006/relationships/slideLayout" Target="../slideLayouts/slideLayout518.xml"/><Relationship Id="rId122" Type="http://schemas.openxmlformats.org/officeDocument/2006/relationships/slideLayout" Target="../slideLayouts/slideLayout541.xml"/><Relationship Id="rId164" Type="http://schemas.openxmlformats.org/officeDocument/2006/relationships/slideLayout" Target="../slideLayouts/slideLayout583.xml"/><Relationship Id="rId371" Type="http://schemas.openxmlformats.org/officeDocument/2006/relationships/slideLayout" Target="../slideLayouts/slideLayout790.xml"/><Relationship Id="rId427" Type="http://schemas.openxmlformats.org/officeDocument/2006/relationships/slideLayout" Target="../slideLayouts/slideLayout846.xml"/><Relationship Id="rId469" Type="http://schemas.openxmlformats.org/officeDocument/2006/relationships/slideLayout" Target="../slideLayouts/slideLayout888.xml"/><Relationship Id="rId26" Type="http://schemas.openxmlformats.org/officeDocument/2006/relationships/slideLayout" Target="../slideLayouts/slideLayout445.xml"/><Relationship Id="rId231" Type="http://schemas.openxmlformats.org/officeDocument/2006/relationships/slideLayout" Target="../slideLayouts/slideLayout650.xml"/><Relationship Id="rId273" Type="http://schemas.openxmlformats.org/officeDocument/2006/relationships/slideLayout" Target="../slideLayouts/slideLayout692.xml"/><Relationship Id="rId329" Type="http://schemas.openxmlformats.org/officeDocument/2006/relationships/slideLayout" Target="../slideLayouts/slideLayout748.xml"/><Relationship Id="rId480" Type="http://schemas.openxmlformats.org/officeDocument/2006/relationships/slideLayout" Target="../slideLayouts/slideLayout899.xml"/><Relationship Id="rId68" Type="http://schemas.openxmlformats.org/officeDocument/2006/relationships/slideLayout" Target="../slideLayouts/slideLayout487.xml"/><Relationship Id="rId133" Type="http://schemas.openxmlformats.org/officeDocument/2006/relationships/slideLayout" Target="../slideLayouts/slideLayout552.xml"/><Relationship Id="rId175" Type="http://schemas.openxmlformats.org/officeDocument/2006/relationships/slideLayout" Target="../slideLayouts/slideLayout594.xml"/><Relationship Id="rId340" Type="http://schemas.openxmlformats.org/officeDocument/2006/relationships/slideLayout" Target="../slideLayouts/slideLayout759.xml"/><Relationship Id="rId200" Type="http://schemas.openxmlformats.org/officeDocument/2006/relationships/slideLayout" Target="../slideLayouts/slideLayout619.xml"/><Relationship Id="rId382" Type="http://schemas.openxmlformats.org/officeDocument/2006/relationships/slideLayout" Target="../slideLayouts/slideLayout801.xml"/><Relationship Id="rId438" Type="http://schemas.openxmlformats.org/officeDocument/2006/relationships/slideLayout" Target="../slideLayouts/slideLayout857.xml"/><Relationship Id="rId242" Type="http://schemas.openxmlformats.org/officeDocument/2006/relationships/slideLayout" Target="../slideLayouts/slideLayout661.xml"/><Relationship Id="rId284" Type="http://schemas.openxmlformats.org/officeDocument/2006/relationships/slideLayout" Target="../slideLayouts/slideLayout703.xml"/><Relationship Id="rId491" Type="http://schemas.openxmlformats.org/officeDocument/2006/relationships/slideLayout" Target="../slideLayouts/slideLayout910.xml"/><Relationship Id="rId505" Type="http://schemas.openxmlformats.org/officeDocument/2006/relationships/slideLayout" Target="../slideLayouts/slideLayout924.xml"/><Relationship Id="rId37" Type="http://schemas.openxmlformats.org/officeDocument/2006/relationships/slideLayout" Target="../slideLayouts/slideLayout456.xml"/><Relationship Id="rId79" Type="http://schemas.openxmlformats.org/officeDocument/2006/relationships/slideLayout" Target="../slideLayouts/slideLayout498.xml"/><Relationship Id="rId102" Type="http://schemas.openxmlformats.org/officeDocument/2006/relationships/slideLayout" Target="../slideLayouts/slideLayout521.xml"/><Relationship Id="rId144" Type="http://schemas.openxmlformats.org/officeDocument/2006/relationships/slideLayout" Target="../slideLayouts/slideLayout563.xml"/><Relationship Id="rId90" Type="http://schemas.openxmlformats.org/officeDocument/2006/relationships/slideLayout" Target="../slideLayouts/slideLayout509.xml"/><Relationship Id="rId186" Type="http://schemas.openxmlformats.org/officeDocument/2006/relationships/slideLayout" Target="../slideLayouts/slideLayout605.xml"/><Relationship Id="rId351" Type="http://schemas.openxmlformats.org/officeDocument/2006/relationships/slideLayout" Target="../slideLayouts/slideLayout770.xml"/><Relationship Id="rId393" Type="http://schemas.openxmlformats.org/officeDocument/2006/relationships/slideLayout" Target="../slideLayouts/slideLayout812.xml"/><Relationship Id="rId407" Type="http://schemas.openxmlformats.org/officeDocument/2006/relationships/slideLayout" Target="../slideLayouts/slideLayout826.xml"/><Relationship Id="rId449" Type="http://schemas.openxmlformats.org/officeDocument/2006/relationships/slideLayout" Target="../slideLayouts/slideLayout868.xml"/><Relationship Id="rId211" Type="http://schemas.openxmlformats.org/officeDocument/2006/relationships/slideLayout" Target="../slideLayouts/slideLayout630.xml"/><Relationship Id="rId253" Type="http://schemas.openxmlformats.org/officeDocument/2006/relationships/slideLayout" Target="../slideLayouts/slideLayout672.xml"/><Relationship Id="rId295" Type="http://schemas.openxmlformats.org/officeDocument/2006/relationships/slideLayout" Target="../slideLayouts/slideLayout714.xml"/><Relationship Id="rId309" Type="http://schemas.openxmlformats.org/officeDocument/2006/relationships/slideLayout" Target="../slideLayouts/slideLayout728.xml"/><Relationship Id="rId460" Type="http://schemas.openxmlformats.org/officeDocument/2006/relationships/slideLayout" Target="../slideLayouts/slideLayout879.xml"/><Relationship Id="rId48" Type="http://schemas.openxmlformats.org/officeDocument/2006/relationships/slideLayout" Target="../slideLayouts/slideLayout467.xml"/><Relationship Id="rId113" Type="http://schemas.openxmlformats.org/officeDocument/2006/relationships/slideLayout" Target="../slideLayouts/slideLayout532.xml"/><Relationship Id="rId320" Type="http://schemas.openxmlformats.org/officeDocument/2006/relationships/slideLayout" Target="../slideLayouts/slideLayout739.xml"/><Relationship Id="rId155" Type="http://schemas.openxmlformats.org/officeDocument/2006/relationships/slideLayout" Target="../slideLayouts/slideLayout574.xml"/><Relationship Id="rId197" Type="http://schemas.openxmlformats.org/officeDocument/2006/relationships/slideLayout" Target="../slideLayouts/slideLayout616.xml"/><Relationship Id="rId362" Type="http://schemas.openxmlformats.org/officeDocument/2006/relationships/slideLayout" Target="../slideLayouts/slideLayout781.xml"/><Relationship Id="rId418" Type="http://schemas.openxmlformats.org/officeDocument/2006/relationships/slideLayout" Target="../slideLayouts/slideLayout837.xml"/><Relationship Id="rId222" Type="http://schemas.openxmlformats.org/officeDocument/2006/relationships/slideLayout" Target="../slideLayouts/slideLayout641.xml"/><Relationship Id="rId264" Type="http://schemas.openxmlformats.org/officeDocument/2006/relationships/slideLayout" Target="../slideLayouts/slideLayout683.xml"/><Relationship Id="rId471" Type="http://schemas.openxmlformats.org/officeDocument/2006/relationships/slideLayout" Target="../slideLayouts/slideLayout890.xml"/><Relationship Id="rId17" Type="http://schemas.openxmlformats.org/officeDocument/2006/relationships/slideLayout" Target="../slideLayouts/slideLayout436.xml"/><Relationship Id="rId59" Type="http://schemas.openxmlformats.org/officeDocument/2006/relationships/slideLayout" Target="../slideLayouts/slideLayout478.xml"/><Relationship Id="rId124" Type="http://schemas.openxmlformats.org/officeDocument/2006/relationships/slideLayout" Target="../slideLayouts/slideLayout543.xml"/><Relationship Id="rId70" Type="http://schemas.openxmlformats.org/officeDocument/2006/relationships/slideLayout" Target="../slideLayouts/slideLayout489.xml"/><Relationship Id="rId166" Type="http://schemas.openxmlformats.org/officeDocument/2006/relationships/slideLayout" Target="../slideLayouts/slideLayout585.xml"/><Relationship Id="rId331" Type="http://schemas.openxmlformats.org/officeDocument/2006/relationships/slideLayout" Target="../slideLayouts/slideLayout750.xml"/><Relationship Id="rId373" Type="http://schemas.openxmlformats.org/officeDocument/2006/relationships/slideLayout" Target="../slideLayouts/slideLayout792.xml"/><Relationship Id="rId429" Type="http://schemas.openxmlformats.org/officeDocument/2006/relationships/slideLayout" Target="../slideLayouts/slideLayout848.xml"/><Relationship Id="rId1" Type="http://schemas.openxmlformats.org/officeDocument/2006/relationships/slideLayout" Target="../slideLayouts/slideLayout420.xml"/><Relationship Id="rId233" Type="http://schemas.openxmlformats.org/officeDocument/2006/relationships/slideLayout" Target="../slideLayouts/slideLayout652.xml"/><Relationship Id="rId440" Type="http://schemas.openxmlformats.org/officeDocument/2006/relationships/slideLayout" Target="../slideLayouts/slideLayout859.xml"/><Relationship Id="rId28" Type="http://schemas.openxmlformats.org/officeDocument/2006/relationships/slideLayout" Target="../slideLayouts/slideLayout447.xml"/><Relationship Id="rId275" Type="http://schemas.openxmlformats.org/officeDocument/2006/relationships/slideLayout" Target="../slideLayouts/slideLayout694.xml"/><Relationship Id="rId300" Type="http://schemas.openxmlformats.org/officeDocument/2006/relationships/slideLayout" Target="../slideLayouts/slideLayout719.xml"/><Relationship Id="rId482" Type="http://schemas.openxmlformats.org/officeDocument/2006/relationships/slideLayout" Target="../slideLayouts/slideLayout901.xml"/><Relationship Id="rId81" Type="http://schemas.openxmlformats.org/officeDocument/2006/relationships/slideLayout" Target="../slideLayouts/slideLayout500.xml"/><Relationship Id="rId135" Type="http://schemas.openxmlformats.org/officeDocument/2006/relationships/slideLayout" Target="../slideLayouts/slideLayout554.xml"/><Relationship Id="rId177" Type="http://schemas.openxmlformats.org/officeDocument/2006/relationships/slideLayout" Target="../slideLayouts/slideLayout596.xml"/><Relationship Id="rId342" Type="http://schemas.openxmlformats.org/officeDocument/2006/relationships/slideLayout" Target="../slideLayouts/slideLayout761.xml"/><Relationship Id="rId384" Type="http://schemas.openxmlformats.org/officeDocument/2006/relationships/slideLayout" Target="../slideLayouts/slideLayout803.xml"/><Relationship Id="rId202" Type="http://schemas.openxmlformats.org/officeDocument/2006/relationships/slideLayout" Target="../slideLayouts/slideLayout621.xml"/><Relationship Id="rId244" Type="http://schemas.openxmlformats.org/officeDocument/2006/relationships/slideLayout" Target="../slideLayouts/slideLayout663.xml"/><Relationship Id="rId39" Type="http://schemas.openxmlformats.org/officeDocument/2006/relationships/slideLayout" Target="../slideLayouts/slideLayout458.xml"/><Relationship Id="rId286" Type="http://schemas.openxmlformats.org/officeDocument/2006/relationships/slideLayout" Target="../slideLayouts/slideLayout705.xml"/><Relationship Id="rId451" Type="http://schemas.openxmlformats.org/officeDocument/2006/relationships/slideLayout" Target="../slideLayouts/slideLayout870.xml"/><Relationship Id="rId493" Type="http://schemas.openxmlformats.org/officeDocument/2006/relationships/slideLayout" Target="../slideLayouts/slideLayout912.xml"/><Relationship Id="rId507" Type="http://schemas.openxmlformats.org/officeDocument/2006/relationships/theme" Target="../theme/theme3.xml"/><Relationship Id="rId50" Type="http://schemas.openxmlformats.org/officeDocument/2006/relationships/slideLayout" Target="../slideLayouts/slideLayout469.xml"/><Relationship Id="rId104" Type="http://schemas.openxmlformats.org/officeDocument/2006/relationships/slideLayout" Target="../slideLayouts/slideLayout523.xml"/><Relationship Id="rId146" Type="http://schemas.openxmlformats.org/officeDocument/2006/relationships/slideLayout" Target="../slideLayouts/slideLayout565.xml"/><Relationship Id="rId188" Type="http://schemas.openxmlformats.org/officeDocument/2006/relationships/slideLayout" Target="../slideLayouts/slideLayout607.xml"/><Relationship Id="rId311" Type="http://schemas.openxmlformats.org/officeDocument/2006/relationships/slideLayout" Target="../slideLayouts/slideLayout730.xml"/><Relationship Id="rId353" Type="http://schemas.openxmlformats.org/officeDocument/2006/relationships/slideLayout" Target="../slideLayouts/slideLayout772.xml"/><Relationship Id="rId395" Type="http://schemas.openxmlformats.org/officeDocument/2006/relationships/slideLayout" Target="../slideLayouts/slideLayout814.xml"/><Relationship Id="rId409" Type="http://schemas.openxmlformats.org/officeDocument/2006/relationships/slideLayout" Target="../slideLayouts/slideLayout828.xml"/><Relationship Id="rId92" Type="http://schemas.openxmlformats.org/officeDocument/2006/relationships/slideLayout" Target="../slideLayouts/slideLayout511.xml"/><Relationship Id="rId213" Type="http://schemas.openxmlformats.org/officeDocument/2006/relationships/slideLayout" Target="../slideLayouts/slideLayout632.xml"/><Relationship Id="rId420" Type="http://schemas.openxmlformats.org/officeDocument/2006/relationships/slideLayout" Target="../slideLayouts/slideLayout839.xml"/><Relationship Id="rId255" Type="http://schemas.openxmlformats.org/officeDocument/2006/relationships/slideLayout" Target="../slideLayouts/slideLayout674.xml"/><Relationship Id="rId297" Type="http://schemas.openxmlformats.org/officeDocument/2006/relationships/slideLayout" Target="../slideLayouts/slideLayout716.xml"/><Relationship Id="rId462" Type="http://schemas.openxmlformats.org/officeDocument/2006/relationships/slideLayout" Target="../slideLayouts/slideLayout881.xml"/><Relationship Id="rId115" Type="http://schemas.openxmlformats.org/officeDocument/2006/relationships/slideLayout" Target="../slideLayouts/slideLayout534.xml"/><Relationship Id="rId157" Type="http://schemas.openxmlformats.org/officeDocument/2006/relationships/slideLayout" Target="../slideLayouts/slideLayout576.xml"/><Relationship Id="rId322" Type="http://schemas.openxmlformats.org/officeDocument/2006/relationships/slideLayout" Target="../slideLayouts/slideLayout741.xml"/><Relationship Id="rId364" Type="http://schemas.openxmlformats.org/officeDocument/2006/relationships/slideLayout" Target="../slideLayouts/slideLayout783.xml"/><Relationship Id="rId61" Type="http://schemas.openxmlformats.org/officeDocument/2006/relationships/slideLayout" Target="../slideLayouts/slideLayout480.xml"/><Relationship Id="rId199" Type="http://schemas.openxmlformats.org/officeDocument/2006/relationships/slideLayout" Target="../slideLayouts/slideLayout618.xml"/><Relationship Id="rId19" Type="http://schemas.openxmlformats.org/officeDocument/2006/relationships/slideLayout" Target="../slideLayouts/slideLayout438.xml"/><Relationship Id="rId224" Type="http://schemas.openxmlformats.org/officeDocument/2006/relationships/slideLayout" Target="../slideLayouts/slideLayout643.xml"/><Relationship Id="rId266" Type="http://schemas.openxmlformats.org/officeDocument/2006/relationships/slideLayout" Target="../slideLayouts/slideLayout685.xml"/><Relationship Id="rId431" Type="http://schemas.openxmlformats.org/officeDocument/2006/relationships/slideLayout" Target="../slideLayouts/slideLayout850.xml"/><Relationship Id="rId473" Type="http://schemas.openxmlformats.org/officeDocument/2006/relationships/slideLayout" Target="../slideLayouts/slideLayout892.xml"/><Relationship Id="rId30" Type="http://schemas.openxmlformats.org/officeDocument/2006/relationships/slideLayout" Target="../slideLayouts/slideLayout449.xml"/><Relationship Id="rId126" Type="http://schemas.openxmlformats.org/officeDocument/2006/relationships/slideLayout" Target="../slideLayouts/slideLayout545.xml"/><Relationship Id="rId168" Type="http://schemas.openxmlformats.org/officeDocument/2006/relationships/slideLayout" Target="../slideLayouts/slideLayout587.xml"/><Relationship Id="rId333" Type="http://schemas.openxmlformats.org/officeDocument/2006/relationships/slideLayout" Target="../slideLayouts/slideLayout752.xml"/><Relationship Id="rId72" Type="http://schemas.openxmlformats.org/officeDocument/2006/relationships/slideLayout" Target="../slideLayouts/slideLayout491.xml"/><Relationship Id="rId375" Type="http://schemas.openxmlformats.org/officeDocument/2006/relationships/slideLayout" Target="../slideLayouts/slideLayout794.xml"/><Relationship Id="rId3" Type="http://schemas.openxmlformats.org/officeDocument/2006/relationships/slideLayout" Target="../slideLayouts/slideLayout422.xml"/><Relationship Id="rId235" Type="http://schemas.openxmlformats.org/officeDocument/2006/relationships/slideLayout" Target="../slideLayouts/slideLayout654.xml"/><Relationship Id="rId277" Type="http://schemas.openxmlformats.org/officeDocument/2006/relationships/slideLayout" Target="../slideLayouts/slideLayout696.xml"/><Relationship Id="rId400" Type="http://schemas.openxmlformats.org/officeDocument/2006/relationships/slideLayout" Target="../slideLayouts/slideLayout819.xml"/><Relationship Id="rId442" Type="http://schemas.openxmlformats.org/officeDocument/2006/relationships/slideLayout" Target="../slideLayouts/slideLayout861.xml"/><Relationship Id="rId484" Type="http://schemas.openxmlformats.org/officeDocument/2006/relationships/slideLayout" Target="../slideLayouts/slideLayout903.xml"/><Relationship Id="rId137" Type="http://schemas.openxmlformats.org/officeDocument/2006/relationships/slideLayout" Target="../slideLayouts/slideLayout556.xml"/><Relationship Id="rId302" Type="http://schemas.openxmlformats.org/officeDocument/2006/relationships/slideLayout" Target="../slideLayouts/slideLayout721.xml"/><Relationship Id="rId344" Type="http://schemas.openxmlformats.org/officeDocument/2006/relationships/slideLayout" Target="../slideLayouts/slideLayout763.xml"/><Relationship Id="rId41" Type="http://schemas.openxmlformats.org/officeDocument/2006/relationships/slideLayout" Target="../slideLayouts/slideLayout460.xml"/><Relationship Id="rId83" Type="http://schemas.openxmlformats.org/officeDocument/2006/relationships/slideLayout" Target="../slideLayouts/slideLayout502.xml"/><Relationship Id="rId179" Type="http://schemas.openxmlformats.org/officeDocument/2006/relationships/slideLayout" Target="../slideLayouts/slideLayout598.xml"/><Relationship Id="rId386" Type="http://schemas.openxmlformats.org/officeDocument/2006/relationships/slideLayout" Target="../slideLayouts/slideLayout805.xml"/><Relationship Id="rId190" Type="http://schemas.openxmlformats.org/officeDocument/2006/relationships/slideLayout" Target="../slideLayouts/slideLayout609.xml"/><Relationship Id="rId204" Type="http://schemas.openxmlformats.org/officeDocument/2006/relationships/slideLayout" Target="../slideLayouts/slideLayout623.xml"/><Relationship Id="rId246" Type="http://schemas.openxmlformats.org/officeDocument/2006/relationships/slideLayout" Target="../slideLayouts/slideLayout665.xml"/><Relationship Id="rId288" Type="http://schemas.openxmlformats.org/officeDocument/2006/relationships/slideLayout" Target="../slideLayouts/slideLayout707.xml"/><Relationship Id="rId411" Type="http://schemas.openxmlformats.org/officeDocument/2006/relationships/slideLayout" Target="../slideLayouts/slideLayout830.xml"/><Relationship Id="rId453" Type="http://schemas.openxmlformats.org/officeDocument/2006/relationships/slideLayout" Target="../slideLayouts/slideLayout872.xml"/><Relationship Id="rId106" Type="http://schemas.openxmlformats.org/officeDocument/2006/relationships/slideLayout" Target="../slideLayouts/slideLayout525.xml"/><Relationship Id="rId313" Type="http://schemas.openxmlformats.org/officeDocument/2006/relationships/slideLayout" Target="../slideLayouts/slideLayout732.xml"/><Relationship Id="rId495" Type="http://schemas.openxmlformats.org/officeDocument/2006/relationships/slideLayout" Target="../slideLayouts/slideLayout914.xml"/><Relationship Id="rId10" Type="http://schemas.openxmlformats.org/officeDocument/2006/relationships/slideLayout" Target="../slideLayouts/slideLayout429.xml"/><Relationship Id="rId52" Type="http://schemas.openxmlformats.org/officeDocument/2006/relationships/slideLayout" Target="../slideLayouts/slideLayout471.xml"/><Relationship Id="rId94" Type="http://schemas.openxmlformats.org/officeDocument/2006/relationships/slideLayout" Target="../slideLayouts/slideLayout513.xml"/><Relationship Id="rId148" Type="http://schemas.openxmlformats.org/officeDocument/2006/relationships/slideLayout" Target="../slideLayouts/slideLayout567.xml"/><Relationship Id="rId355" Type="http://schemas.openxmlformats.org/officeDocument/2006/relationships/slideLayout" Target="../slideLayouts/slideLayout774.xml"/><Relationship Id="rId397" Type="http://schemas.openxmlformats.org/officeDocument/2006/relationships/slideLayout" Target="../slideLayouts/slideLayout816.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042.xml"/><Relationship Id="rId21" Type="http://schemas.openxmlformats.org/officeDocument/2006/relationships/slideLayout" Target="../slideLayouts/slideLayout946.xml"/><Relationship Id="rId42" Type="http://schemas.openxmlformats.org/officeDocument/2006/relationships/slideLayout" Target="../slideLayouts/slideLayout967.xml"/><Relationship Id="rId63" Type="http://schemas.openxmlformats.org/officeDocument/2006/relationships/slideLayout" Target="../slideLayouts/slideLayout988.xml"/><Relationship Id="rId84" Type="http://schemas.openxmlformats.org/officeDocument/2006/relationships/slideLayout" Target="../slideLayouts/slideLayout1009.xml"/><Relationship Id="rId138" Type="http://schemas.openxmlformats.org/officeDocument/2006/relationships/slideLayout" Target="../slideLayouts/slideLayout1063.xml"/><Relationship Id="rId159" Type="http://schemas.openxmlformats.org/officeDocument/2006/relationships/slideLayout" Target="../slideLayouts/slideLayout1084.xml"/><Relationship Id="rId170" Type="http://schemas.openxmlformats.org/officeDocument/2006/relationships/slideLayout" Target="../slideLayouts/slideLayout1095.xml"/><Relationship Id="rId191" Type="http://schemas.openxmlformats.org/officeDocument/2006/relationships/slideLayout" Target="../slideLayouts/slideLayout1116.xml"/><Relationship Id="rId205" Type="http://schemas.openxmlformats.org/officeDocument/2006/relationships/slideLayout" Target="../slideLayouts/slideLayout1130.xml"/><Relationship Id="rId226" Type="http://schemas.openxmlformats.org/officeDocument/2006/relationships/slideLayout" Target="../slideLayouts/slideLayout1151.xml"/><Relationship Id="rId107" Type="http://schemas.openxmlformats.org/officeDocument/2006/relationships/slideLayout" Target="../slideLayouts/slideLayout1032.xml"/><Relationship Id="rId11" Type="http://schemas.openxmlformats.org/officeDocument/2006/relationships/slideLayout" Target="../slideLayouts/slideLayout936.xml"/><Relationship Id="rId32" Type="http://schemas.openxmlformats.org/officeDocument/2006/relationships/slideLayout" Target="../slideLayouts/slideLayout957.xml"/><Relationship Id="rId53" Type="http://schemas.openxmlformats.org/officeDocument/2006/relationships/slideLayout" Target="../slideLayouts/slideLayout978.xml"/><Relationship Id="rId74" Type="http://schemas.openxmlformats.org/officeDocument/2006/relationships/slideLayout" Target="../slideLayouts/slideLayout999.xml"/><Relationship Id="rId128" Type="http://schemas.openxmlformats.org/officeDocument/2006/relationships/slideLayout" Target="../slideLayouts/slideLayout1053.xml"/><Relationship Id="rId149" Type="http://schemas.openxmlformats.org/officeDocument/2006/relationships/slideLayout" Target="../slideLayouts/slideLayout1074.xml"/><Relationship Id="rId5" Type="http://schemas.openxmlformats.org/officeDocument/2006/relationships/slideLayout" Target="../slideLayouts/slideLayout930.xml"/><Relationship Id="rId95" Type="http://schemas.openxmlformats.org/officeDocument/2006/relationships/slideLayout" Target="../slideLayouts/slideLayout1020.xml"/><Relationship Id="rId160" Type="http://schemas.openxmlformats.org/officeDocument/2006/relationships/slideLayout" Target="../slideLayouts/slideLayout1085.xml"/><Relationship Id="rId181" Type="http://schemas.openxmlformats.org/officeDocument/2006/relationships/slideLayout" Target="../slideLayouts/slideLayout1106.xml"/><Relationship Id="rId216" Type="http://schemas.openxmlformats.org/officeDocument/2006/relationships/slideLayout" Target="../slideLayouts/slideLayout1141.xml"/><Relationship Id="rId22" Type="http://schemas.openxmlformats.org/officeDocument/2006/relationships/slideLayout" Target="../slideLayouts/slideLayout947.xml"/><Relationship Id="rId43" Type="http://schemas.openxmlformats.org/officeDocument/2006/relationships/slideLayout" Target="../slideLayouts/slideLayout968.xml"/><Relationship Id="rId64" Type="http://schemas.openxmlformats.org/officeDocument/2006/relationships/slideLayout" Target="../slideLayouts/slideLayout989.xml"/><Relationship Id="rId118" Type="http://schemas.openxmlformats.org/officeDocument/2006/relationships/slideLayout" Target="../slideLayouts/slideLayout1043.xml"/><Relationship Id="rId139" Type="http://schemas.openxmlformats.org/officeDocument/2006/relationships/slideLayout" Target="../slideLayouts/slideLayout1064.xml"/><Relationship Id="rId85" Type="http://schemas.openxmlformats.org/officeDocument/2006/relationships/slideLayout" Target="../slideLayouts/slideLayout1010.xml"/><Relationship Id="rId150" Type="http://schemas.openxmlformats.org/officeDocument/2006/relationships/slideLayout" Target="../slideLayouts/slideLayout1075.xml"/><Relationship Id="rId171" Type="http://schemas.openxmlformats.org/officeDocument/2006/relationships/slideLayout" Target="../slideLayouts/slideLayout1096.xml"/><Relationship Id="rId192" Type="http://schemas.openxmlformats.org/officeDocument/2006/relationships/slideLayout" Target="../slideLayouts/slideLayout1117.xml"/><Relationship Id="rId206" Type="http://schemas.openxmlformats.org/officeDocument/2006/relationships/slideLayout" Target="../slideLayouts/slideLayout1131.xml"/><Relationship Id="rId227" Type="http://schemas.openxmlformats.org/officeDocument/2006/relationships/slideLayout" Target="../slideLayouts/slideLayout1152.xml"/><Relationship Id="rId12" Type="http://schemas.openxmlformats.org/officeDocument/2006/relationships/slideLayout" Target="../slideLayouts/slideLayout937.xml"/><Relationship Id="rId33" Type="http://schemas.openxmlformats.org/officeDocument/2006/relationships/slideLayout" Target="../slideLayouts/slideLayout958.xml"/><Relationship Id="rId108" Type="http://schemas.openxmlformats.org/officeDocument/2006/relationships/slideLayout" Target="../slideLayouts/slideLayout1033.xml"/><Relationship Id="rId129" Type="http://schemas.openxmlformats.org/officeDocument/2006/relationships/slideLayout" Target="../slideLayouts/slideLayout1054.xml"/><Relationship Id="rId54" Type="http://schemas.openxmlformats.org/officeDocument/2006/relationships/slideLayout" Target="../slideLayouts/slideLayout979.xml"/><Relationship Id="rId75" Type="http://schemas.openxmlformats.org/officeDocument/2006/relationships/slideLayout" Target="../slideLayouts/slideLayout1000.xml"/><Relationship Id="rId96" Type="http://schemas.openxmlformats.org/officeDocument/2006/relationships/slideLayout" Target="../slideLayouts/slideLayout1021.xml"/><Relationship Id="rId140" Type="http://schemas.openxmlformats.org/officeDocument/2006/relationships/slideLayout" Target="../slideLayouts/slideLayout1065.xml"/><Relationship Id="rId161" Type="http://schemas.openxmlformats.org/officeDocument/2006/relationships/slideLayout" Target="../slideLayouts/slideLayout1086.xml"/><Relationship Id="rId182" Type="http://schemas.openxmlformats.org/officeDocument/2006/relationships/slideLayout" Target="../slideLayouts/slideLayout1107.xml"/><Relationship Id="rId217" Type="http://schemas.openxmlformats.org/officeDocument/2006/relationships/slideLayout" Target="../slideLayouts/slideLayout1142.xml"/><Relationship Id="rId6" Type="http://schemas.openxmlformats.org/officeDocument/2006/relationships/slideLayout" Target="../slideLayouts/slideLayout931.xml"/><Relationship Id="rId23" Type="http://schemas.openxmlformats.org/officeDocument/2006/relationships/slideLayout" Target="../slideLayouts/slideLayout948.xml"/><Relationship Id="rId119" Type="http://schemas.openxmlformats.org/officeDocument/2006/relationships/slideLayout" Target="../slideLayouts/slideLayout1044.xml"/><Relationship Id="rId44" Type="http://schemas.openxmlformats.org/officeDocument/2006/relationships/slideLayout" Target="../slideLayouts/slideLayout969.xml"/><Relationship Id="rId65" Type="http://schemas.openxmlformats.org/officeDocument/2006/relationships/slideLayout" Target="../slideLayouts/slideLayout990.xml"/><Relationship Id="rId86" Type="http://schemas.openxmlformats.org/officeDocument/2006/relationships/slideLayout" Target="../slideLayouts/slideLayout1011.xml"/><Relationship Id="rId130" Type="http://schemas.openxmlformats.org/officeDocument/2006/relationships/slideLayout" Target="../slideLayouts/slideLayout1055.xml"/><Relationship Id="rId151" Type="http://schemas.openxmlformats.org/officeDocument/2006/relationships/slideLayout" Target="../slideLayouts/slideLayout1076.xml"/><Relationship Id="rId172" Type="http://schemas.openxmlformats.org/officeDocument/2006/relationships/slideLayout" Target="../slideLayouts/slideLayout1097.xml"/><Relationship Id="rId193" Type="http://schemas.openxmlformats.org/officeDocument/2006/relationships/slideLayout" Target="../slideLayouts/slideLayout1118.xml"/><Relationship Id="rId207" Type="http://schemas.openxmlformats.org/officeDocument/2006/relationships/slideLayout" Target="../slideLayouts/slideLayout1132.xml"/><Relationship Id="rId228" Type="http://schemas.openxmlformats.org/officeDocument/2006/relationships/slideLayout" Target="../slideLayouts/slideLayout1153.xml"/><Relationship Id="rId13" Type="http://schemas.openxmlformats.org/officeDocument/2006/relationships/slideLayout" Target="../slideLayouts/slideLayout938.xml"/><Relationship Id="rId109" Type="http://schemas.openxmlformats.org/officeDocument/2006/relationships/slideLayout" Target="../slideLayouts/slideLayout1034.xml"/><Relationship Id="rId34" Type="http://schemas.openxmlformats.org/officeDocument/2006/relationships/slideLayout" Target="../slideLayouts/slideLayout959.xml"/><Relationship Id="rId55" Type="http://schemas.openxmlformats.org/officeDocument/2006/relationships/slideLayout" Target="../slideLayouts/slideLayout980.xml"/><Relationship Id="rId76" Type="http://schemas.openxmlformats.org/officeDocument/2006/relationships/slideLayout" Target="../slideLayouts/slideLayout1001.xml"/><Relationship Id="rId97" Type="http://schemas.openxmlformats.org/officeDocument/2006/relationships/slideLayout" Target="../slideLayouts/slideLayout1022.xml"/><Relationship Id="rId120" Type="http://schemas.openxmlformats.org/officeDocument/2006/relationships/slideLayout" Target="../slideLayouts/slideLayout1045.xml"/><Relationship Id="rId141" Type="http://schemas.openxmlformats.org/officeDocument/2006/relationships/slideLayout" Target="../slideLayouts/slideLayout1066.xml"/><Relationship Id="rId7" Type="http://schemas.openxmlformats.org/officeDocument/2006/relationships/slideLayout" Target="../slideLayouts/slideLayout932.xml"/><Relationship Id="rId162" Type="http://schemas.openxmlformats.org/officeDocument/2006/relationships/slideLayout" Target="../slideLayouts/slideLayout1087.xml"/><Relationship Id="rId183" Type="http://schemas.openxmlformats.org/officeDocument/2006/relationships/slideLayout" Target="../slideLayouts/slideLayout1108.xml"/><Relationship Id="rId218" Type="http://schemas.openxmlformats.org/officeDocument/2006/relationships/slideLayout" Target="../slideLayouts/slideLayout1143.xml"/><Relationship Id="rId24" Type="http://schemas.openxmlformats.org/officeDocument/2006/relationships/slideLayout" Target="../slideLayouts/slideLayout949.xml"/><Relationship Id="rId45" Type="http://schemas.openxmlformats.org/officeDocument/2006/relationships/slideLayout" Target="../slideLayouts/slideLayout970.xml"/><Relationship Id="rId66" Type="http://schemas.openxmlformats.org/officeDocument/2006/relationships/slideLayout" Target="../slideLayouts/slideLayout991.xml"/><Relationship Id="rId87" Type="http://schemas.openxmlformats.org/officeDocument/2006/relationships/slideLayout" Target="../slideLayouts/slideLayout1012.xml"/><Relationship Id="rId110" Type="http://schemas.openxmlformats.org/officeDocument/2006/relationships/slideLayout" Target="../slideLayouts/slideLayout1035.xml"/><Relationship Id="rId131" Type="http://schemas.openxmlformats.org/officeDocument/2006/relationships/slideLayout" Target="../slideLayouts/slideLayout1056.xml"/><Relationship Id="rId152" Type="http://schemas.openxmlformats.org/officeDocument/2006/relationships/slideLayout" Target="../slideLayouts/slideLayout1077.xml"/><Relationship Id="rId173" Type="http://schemas.openxmlformats.org/officeDocument/2006/relationships/slideLayout" Target="../slideLayouts/slideLayout1098.xml"/><Relationship Id="rId194" Type="http://schemas.openxmlformats.org/officeDocument/2006/relationships/slideLayout" Target="../slideLayouts/slideLayout1119.xml"/><Relationship Id="rId208" Type="http://schemas.openxmlformats.org/officeDocument/2006/relationships/slideLayout" Target="../slideLayouts/slideLayout1133.xml"/><Relationship Id="rId229" Type="http://schemas.openxmlformats.org/officeDocument/2006/relationships/slideLayout" Target="../slideLayouts/slideLayout1154.xml"/><Relationship Id="rId14" Type="http://schemas.openxmlformats.org/officeDocument/2006/relationships/slideLayout" Target="../slideLayouts/slideLayout939.xml"/><Relationship Id="rId35" Type="http://schemas.openxmlformats.org/officeDocument/2006/relationships/slideLayout" Target="../slideLayouts/slideLayout960.xml"/><Relationship Id="rId56" Type="http://schemas.openxmlformats.org/officeDocument/2006/relationships/slideLayout" Target="../slideLayouts/slideLayout981.xml"/><Relationship Id="rId77" Type="http://schemas.openxmlformats.org/officeDocument/2006/relationships/slideLayout" Target="../slideLayouts/slideLayout1002.xml"/><Relationship Id="rId100" Type="http://schemas.openxmlformats.org/officeDocument/2006/relationships/slideLayout" Target="../slideLayouts/slideLayout1025.xml"/><Relationship Id="rId8" Type="http://schemas.openxmlformats.org/officeDocument/2006/relationships/slideLayout" Target="../slideLayouts/slideLayout933.xml"/><Relationship Id="rId98" Type="http://schemas.openxmlformats.org/officeDocument/2006/relationships/slideLayout" Target="../slideLayouts/slideLayout1023.xml"/><Relationship Id="rId121" Type="http://schemas.openxmlformats.org/officeDocument/2006/relationships/slideLayout" Target="../slideLayouts/slideLayout1046.xml"/><Relationship Id="rId142" Type="http://schemas.openxmlformats.org/officeDocument/2006/relationships/slideLayout" Target="../slideLayouts/slideLayout1067.xml"/><Relationship Id="rId163" Type="http://schemas.openxmlformats.org/officeDocument/2006/relationships/slideLayout" Target="../slideLayouts/slideLayout1088.xml"/><Relationship Id="rId184" Type="http://schemas.openxmlformats.org/officeDocument/2006/relationships/slideLayout" Target="../slideLayouts/slideLayout1109.xml"/><Relationship Id="rId219" Type="http://schemas.openxmlformats.org/officeDocument/2006/relationships/slideLayout" Target="../slideLayouts/slideLayout1144.xml"/><Relationship Id="rId230" Type="http://schemas.openxmlformats.org/officeDocument/2006/relationships/slideLayout" Target="../slideLayouts/slideLayout1155.xml"/><Relationship Id="rId25" Type="http://schemas.openxmlformats.org/officeDocument/2006/relationships/slideLayout" Target="../slideLayouts/slideLayout950.xml"/><Relationship Id="rId46" Type="http://schemas.openxmlformats.org/officeDocument/2006/relationships/slideLayout" Target="../slideLayouts/slideLayout971.xml"/><Relationship Id="rId67" Type="http://schemas.openxmlformats.org/officeDocument/2006/relationships/slideLayout" Target="../slideLayouts/slideLayout992.xml"/><Relationship Id="rId116" Type="http://schemas.openxmlformats.org/officeDocument/2006/relationships/slideLayout" Target="../slideLayouts/slideLayout1041.xml"/><Relationship Id="rId137" Type="http://schemas.openxmlformats.org/officeDocument/2006/relationships/slideLayout" Target="../slideLayouts/slideLayout1062.xml"/><Relationship Id="rId158" Type="http://schemas.openxmlformats.org/officeDocument/2006/relationships/slideLayout" Target="../slideLayouts/slideLayout1083.xml"/><Relationship Id="rId20" Type="http://schemas.openxmlformats.org/officeDocument/2006/relationships/slideLayout" Target="../slideLayouts/slideLayout945.xml"/><Relationship Id="rId41" Type="http://schemas.openxmlformats.org/officeDocument/2006/relationships/slideLayout" Target="../slideLayouts/slideLayout966.xml"/><Relationship Id="rId62" Type="http://schemas.openxmlformats.org/officeDocument/2006/relationships/slideLayout" Target="../slideLayouts/slideLayout987.xml"/><Relationship Id="rId83" Type="http://schemas.openxmlformats.org/officeDocument/2006/relationships/slideLayout" Target="../slideLayouts/slideLayout1008.xml"/><Relationship Id="rId88" Type="http://schemas.openxmlformats.org/officeDocument/2006/relationships/slideLayout" Target="../slideLayouts/slideLayout1013.xml"/><Relationship Id="rId111" Type="http://schemas.openxmlformats.org/officeDocument/2006/relationships/slideLayout" Target="../slideLayouts/slideLayout1036.xml"/><Relationship Id="rId132" Type="http://schemas.openxmlformats.org/officeDocument/2006/relationships/slideLayout" Target="../slideLayouts/slideLayout1057.xml"/><Relationship Id="rId153" Type="http://schemas.openxmlformats.org/officeDocument/2006/relationships/slideLayout" Target="../slideLayouts/slideLayout1078.xml"/><Relationship Id="rId174" Type="http://schemas.openxmlformats.org/officeDocument/2006/relationships/slideLayout" Target="../slideLayouts/slideLayout1099.xml"/><Relationship Id="rId179" Type="http://schemas.openxmlformats.org/officeDocument/2006/relationships/slideLayout" Target="../slideLayouts/slideLayout1104.xml"/><Relationship Id="rId195" Type="http://schemas.openxmlformats.org/officeDocument/2006/relationships/slideLayout" Target="../slideLayouts/slideLayout1120.xml"/><Relationship Id="rId209" Type="http://schemas.openxmlformats.org/officeDocument/2006/relationships/slideLayout" Target="../slideLayouts/slideLayout1134.xml"/><Relationship Id="rId190" Type="http://schemas.openxmlformats.org/officeDocument/2006/relationships/slideLayout" Target="../slideLayouts/slideLayout1115.xml"/><Relationship Id="rId204" Type="http://schemas.openxmlformats.org/officeDocument/2006/relationships/slideLayout" Target="../slideLayouts/slideLayout1129.xml"/><Relationship Id="rId220" Type="http://schemas.openxmlformats.org/officeDocument/2006/relationships/slideLayout" Target="../slideLayouts/slideLayout1145.xml"/><Relationship Id="rId225" Type="http://schemas.openxmlformats.org/officeDocument/2006/relationships/slideLayout" Target="../slideLayouts/slideLayout1150.xml"/><Relationship Id="rId15" Type="http://schemas.openxmlformats.org/officeDocument/2006/relationships/slideLayout" Target="../slideLayouts/slideLayout940.xml"/><Relationship Id="rId36" Type="http://schemas.openxmlformats.org/officeDocument/2006/relationships/slideLayout" Target="../slideLayouts/slideLayout961.xml"/><Relationship Id="rId57" Type="http://schemas.openxmlformats.org/officeDocument/2006/relationships/slideLayout" Target="../slideLayouts/slideLayout982.xml"/><Relationship Id="rId106" Type="http://schemas.openxmlformats.org/officeDocument/2006/relationships/slideLayout" Target="../slideLayouts/slideLayout1031.xml"/><Relationship Id="rId127" Type="http://schemas.openxmlformats.org/officeDocument/2006/relationships/slideLayout" Target="../slideLayouts/slideLayout1052.xml"/><Relationship Id="rId10" Type="http://schemas.openxmlformats.org/officeDocument/2006/relationships/slideLayout" Target="../slideLayouts/slideLayout935.xml"/><Relationship Id="rId31" Type="http://schemas.openxmlformats.org/officeDocument/2006/relationships/slideLayout" Target="../slideLayouts/slideLayout956.xml"/><Relationship Id="rId52" Type="http://schemas.openxmlformats.org/officeDocument/2006/relationships/slideLayout" Target="../slideLayouts/slideLayout977.xml"/><Relationship Id="rId73" Type="http://schemas.openxmlformats.org/officeDocument/2006/relationships/slideLayout" Target="../slideLayouts/slideLayout998.xml"/><Relationship Id="rId78" Type="http://schemas.openxmlformats.org/officeDocument/2006/relationships/slideLayout" Target="../slideLayouts/slideLayout1003.xml"/><Relationship Id="rId94" Type="http://schemas.openxmlformats.org/officeDocument/2006/relationships/slideLayout" Target="../slideLayouts/slideLayout1019.xml"/><Relationship Id="rId99" Type="http://schemas.openxmlformats.org/officeDocument/2006/relationships/slideLayout" Target="../slideLayouts/slideLayout1024.xml"/><Relationship Id="rId101" Type="http://schemas.openxmlformats.org/officeDocument/2006/relationships/slideLayout" Target="../slideLayouts/slideLayout1026.xml"/><Relationship Id="rId122" Type="http://schemas.openxmlformats.org/officeDocument/2006/relationships/slideLayout" Target="../slideLayouts/slideLayout1047.xml"/><Relationship Id="rId143" Type="http://schemas.openxmlformats.org/officeDocument/2006/relationships/slideLayout" Target="../slideLayouts/slideLayout1068.xml"/><Relationship Id="rId148" Type="http://schemas.openxmlformats.org/officeDocument/2006/relationships/slideLayout" Target="../slideLayouts/slideLayout1073.xml"/><Relationship Id="rId164" Type="http://schemas.openxmlformats.org/officeDocument/2006/relationships/slideLayout" Target="../slideLayouts/slideLayout1089.xml"/><Relationship Id="rId169" Type="http://schemas.openxmlformats.org/officeDocument/2006/relationships/slideLayout" Target="../slideLayouts/slideLayout1094.xml"/><Relationship Id="rId185" Type="http://schemas.openxmlformats.org/officeDocument/2006/relationships/slideLayout" Target="../slideLayouts/slideLayout1110.xml"/><Relationship Id="rId4" Type="http://schemas.openxmlformats.org/officeDocument/2006/relationships/slideLayout" Target="../slideLayouts/slideLayout929.xml"/><Relationship Id="rId9" Type="http://schemas.openxmlformats.org/officeDocument/2006/relationships/slideLayout" Target="../slideLayouts/slideLayout934.xml"/><Relationship Id="rId180" Type="http://schemas.openxmlformats.org/officeDocument/2006/relationships/slideLayout" Target="../slideLayouts/slideLayout1105.xml"/><Relationship Id="rId210" Type="http://schemas.openxmlformats.org/officeDocument/2006/relationships/slideLayout" Target="../slideLayouts/slideLayout1135.xml"/><Relationship Id="rId215" Type="http://schemas.openxmlformats.org/officeDocument/2006/relationships/slideLayout" Target="../slideLayouts/slideLayout1140.xml"/><Relationship Id="rId26" Type="http://schemas.openxmlformats.org/officeDocument/2006/relationships/slideLayout" Target="../slideLayouts/slideLayout951.xml"/><Relationship Id="rId231" Type="http://schemas.openxmlformats.org/officeDocument/2006/relationships/theme" Target="../theme/theme4.xml"/><Relationship Id="rId47" Type="http://schemas.openxmlformats.org/officeDocument/2006/relationships/slideLayout" Target="../slideLayouts/slideLayout972.xml"/><Relationship Id="rId68" Type="http://schemas.openxmlformats.org/officeDocument/2006/relationships/slideLayout" Target="../slideLayouts/slideLayout993.xml"/><Relationship Id="rId89" Type="http://schemas.openxmlformats.org/officeDocument/2006/relationships/slideLayout" Target="../slideLayouts/slideLayout1014.xml"/><Relationship Id="rId112" Type="http://schemas.openxmlformats.org/officeDocument/2006/relationships/slideLayout" Target="../slideLayouts/slideLayout1037.xml"/><Relationship Id="rId133" Type="http://schemas.openxmlformats.org/officeDocument/2006/relationships/slideLayout" Target="../slideLayouts/slideLayout1058.xml"/><Relationship Id="rId154" Type="http://schemas.openxmlformats.org/officeDocument/2006/relationships/slideLayout" Target="../slideLayouts/slideLayout1079.xml"/><Relationship Id="rId175" Type="http://schemas.openxmlformats.org/officeDocument/2006/relationships/slideLayout" Target="../slideLayouts/slideLayout1100.xml"/><Relationship Id="rId196" Type="http://schemas.openxmlformats.org/officeDocument/2006/relationships/slideLayout" Target="../slideLayouts/slideLayout1121.xml"/><Relationship Id="rId200" Type="http://schemas.openxmlformats.org/officeDocument/2006/relationships/slideLayout" Target="../slideLayouts/slideLayout1125.xml"/><Relationship Id="rId16" Type="http://schemas.openxmlformats.org/officeDocument/2006/relationships/slideLayout" Target="../slideLayouts/slideLayout941.xml"/><Relationship Id="rId221" Type="http://schemas.openxmlformats.org/officeDocument/2006/relationships/slideLayout" Target="../slideLayouts/slideLayout1146.xml"/><Relationship Id="rId37" Type="http://schemas.openxmlformats.org/officeDocument/2006/relationships/slideLayout" Target="../slideLayouts/slideLayout962.xml"/><Relationship Id="rId58" Type="http://schemas.openxmlformats.org/officeDocument/2006/relationships/slideLayout" Target="../slideLayouts/slideLayout983.xml"/><Relationship Id="rId79" Type="http://schemas.openxmlformats.org/officeDocument/2006/relationships/slideLayout" Target="../slideLayouts/slideLayout1004.xml"/><Relationship Id="rId102" Type="http://schemas.openxmlformats.org/officeDocument/2006/relationships/slideLayout" Target="../slideLayouts/slideLayout1027.xml"/><Relationship Id="rId123" Type="http://schemas.openxmlformats.org/officeDocument/2006/relationships/slideLayout" Target="../slideLayouts/slideLayout1048.xml"/><Relationship Id="rId144" Type="http://schemas.openxmlformats.org/officeDocument/2006/relationships/slideLayout" Target="../slideLayouts/slideLayout1069.xml"/><Relationship Id="rId90" Type="http://schemas.openxmlformats.org/officeDocument/2006/relationships/slideLayout" Target="../slideLayouts/slideLayout1015.xml"/><Relationship Id="rId165" Type="http://schemas.openxmlformats.org/officeDocument/2006/relationships/slideLayout" Target="../slideLayouts/slideLayout1090.xml"/><Relationship Id="rId186" Type="http://schemas.openxmlformats.org/officeDocument/2006/relationships/slideLayout" Target="../slideLayouts/slideLayout1111.xml"/><Relationship Id="rId211" Type="http://schemas.openxmlformats.org/officeDocument/2006/relationships/slideLayout" Target="../slideLayouts/slideLayout1136.xml"/><Relationship Id="rId27" Type="http://schemas.openxmlformats.org/officeDocument/2006/relationships/slideLayout" Target="../slideLayouts/slideLayout952.xml"/><Relationship Id="rId48" Type="http://schemas.openxmlformats.org/officeDocument/2006/relationships/slideLayout" Target="../slideLayouts/slideLayout973.xml"/><Relationship Id="rId69" Type="http://schemas.openxmlformats.org/officeDocument/2006/relationships/slideLayout" Target="../slideLayouts/slideLayout994.xml"/><Relationship Id="rId113" Type="http://schemas.openxmlformats.org/officeDocument/2006/relationships/slideLayout" Target="../slideLayouts/slideLayout1038.xml"/><Relationship Id="rId134" Type="http://schemas.openxmlformats.org/officeDocument/2006/relationships/slideLayout" Target="../slideLayouts/slideLayout1059.xml"/><Relationship Id="rId80" Type="http://schemas.openxmlformats.org/officeDocument/2006/relationships/slideLayout" Target="../slideLayouts/slideLayout1005.xml"/><Relationship Id="rId155" Type="http://schemas.openxmlformats.org/officeDocument/2006/relationships/slideLayout" Target="../slideLayouts/slideLayout1080.xml"/><Relationship Id="rId176" Type="http://schemas.openxmlformats.org/officeDocument/2006/relationships/slideLayout" Target="../slideLayouts/slideLayout1101.xml"/><Relationship Id="rId197" Type="http://schemas.openxmlformats.org/officeDocument/2006/relationships/slideLayout" Target="../slideLayouts/slideLayout1122.xml"/><Relationship Id="rId201" Type="http://schemas.openxmlformats.org/officeDocument/2006/relationships/slideLayout" Target="../slideLayouts/slideLayout1126.xml"/><Relationship Id="rId222" Type="http://schemas.openxmlformats.org/officeDocument/2006/relationships/slideLayout" Target="../slideLayouts/slideLayout1147.xml"/><Relationship Id="rId17" Type="http://schemas.openxmlformats.org/officeDocument/2006/relationships/slideLayout" Target="../slideLayouts/slideLayout942.xml"/><Relationship Id="rId38" Type="http://schemas.openxmlformats.org/officeDocument/2006/relationships/slideLayout" Target="../slideLayouts/slideLayout963.xml"/><Relationship Id="rId59" Type="http://schemas.openxmlformats.org/officeDocument/2006/relationships/slideLayout" Target="../slideLayouts/slideLayout984.xml"/><Relationship Id="rId103" Type="http://schemas.openxmlformats.org/officeDocument/2006/relationships/slideLayout" Target="../slideLayouts/slideLayout1028.xml"/><Relationship Id="rId124" Type="http://schemas.openxmlformats.org/officeDocument/2006/relationships/slideLayout" Target="../slideLayouts/slideLayout1049.xml"/><Relationship Id="rId70" Type="http://schemas.openxmlformats.org/officeDocument/2006/relationships/slideLayout" Target="../slideLayouts/slideLayout995.xml"/><Relationship Id="rId91" Type="http://schemas.openxmlformats.org/officeDocument/2006/relationships/slideLayout" Target="../slideLayouts/slideLayout1016.xml"/><Relationship Id="rId145" Type="http://schemas.openxmlformats.org/officeDocument/2006/relationships/slideLayout" Target="../slideLayouts/slideLayout1070.xml"/><Relationship Id="rId166" Type="http://schemas.openxmlformats.org/officeDocument/2006/relationships/slideLayout" Target="../slideLayouts/slideLayout1091.xml"/><Relationship Id="rId187" Type="http://schemas.openxmlformats.org/officeDocument/2006/relationships/slideLayout" Target="../slideLayouts/slideLayout1112.xml"/><Relationship Id="rId1" Type="http://schemas.openxmlformats.org/officeDocument/2006/relationships/slideLayout" Target="../slideLayouts/slideLayout926.xml"/><Relationship Id="rId212" Type="http://schemas.openxmlformats.org/officeDocument/2006/relationships/slideLayout" Target="../slideLayouts/slideLayout1137.xml"/><Relationship Id="rId28" Type="http://schemas.openxmlformats.org/officeDocument/2006/relationships/slideLayout" Target="../slideLayouts/slideLayout953.xml"/><Relationship Id="rId49" Type="http://schemas.openxmlformats.org/officeDocument/2006/relationships/slideLayout" Target="../slideLayouts/slideLayout974.xml"/><Relationship Id="rId114" Type="http://schemas.openxmlformats.org/officeDocument/2006/relationships/slideLayout" Target="../slideLayouts/slideLayout1039.xml"/><Relationship Id="rId60" Type="http://schemas.openxmlformats.org/officeDocument/2006/relationships/slideLayout" Target="../slideLayouts/slideLayout985.xml"/><Relationship Id="rId81" Type="http://schemas.openxmlformats.org/officeDocument/2006/relationships/slideLayout" Target="../slideLayouts/slideLayout1006.xml"/><Relationship Id="rId135" Type="http://schemas.openxmlformats.org/officeDocument/2006/relationships/slideLayout" Target="../slideLayouts/slideLayout1060.xml"/><Relationship Id="rId156" Type="http://schemas.openxmlformats.org/officeDocument/2006/relationships/slideLayout" Target="../slideLayouts/slideLayout1081.xml"/><Relationship Id="rId177" Type="http://schemas.openxmlformats.org/officeDocument/2006/relationships/slideLayout" Target="../slideLayouts/slideLayout1102.xml"/><Relationship Id="rId198" Type="http://schemas.openxmlformats.org/officeDocument/2006/relationships/slideLayout" Target="../slideLayouts/slideLayout1123.xml"/><Relationship Id="rId202" Type="http://schemas.openxmlformats.org/officeDocument/2006/relationships/slideLayout" Target="../slideLayouts/slideLayout1127.xml"/><Relationship Id="rId223" Type="http://schemas.openxmlformats.org/officeDocument/2006/relationships/slideLayout" Target="../slideLayouts/slideLayout1148.xml"/><Relationship Id="rId18" Type="http://schemas.openxmlformats.org/officeDocument/2006/relationships/slideLayout" Target="../slideLayouts/slideLayout943.xml"/><Relationship Id="rId39" Type="http://schemas.openxmlformats.org/officeDocument/2006/relationships/slideLayout" Target="../slideLayouts/slideLayout964.xml"/><Relationship Id="rId50" Type="http://schemas.openxmlformats.org/officeDocument/2006/relationships/slideLayout" Target="../slideLayouts/slideLayout975.xml"/><Relationship Id="rId104" Type="http://schemas.openxmlformats.org/officeDocument/2006/relationships/slideLayout" Target="../slideLayouts/slideLayout1029.xml"/><Relationship Id="rId125" Type="http://schemas.openxmlformats.org/officeDocument/2006/relationships/slideLayout" Target="../slideLayouts/slideLayout1050.xml"/><Relationship Id="rId146" Type="http://schemas.openxmlformats.org/officeDocument/2006/relationships/slideLayout" Target="../slideLayouts/slideLayout1071.xml"/><Relationship Id="rId167" Type="http://schemas.openxmlformats.org/officeDocument/2006/relationships/slideLayout" Target="../slideLayouts/slideLayout1092.xml"/><Relationship Id="rId188" Type="http://schemas.openxmlformats.org/officeDocument/2006/relationships/slideLayout" Target="../slideLayouts/slideLayout1113.xml"/><Relationship Id="rId71" Type="http://schemas.openxmlformats.org/officeDocument/2006/relationships/slideLayout" Target="../slideLayouts/slideLayout996.xml"/><Relationship Id="rId92" Type="http://schemas.openxmlformats.org/officeDocument/2006/relationships/slideLayout" Target="../slideLayouts/slideLayout1017.xml"/><Relationship Id="rId213" Type="http://schemas.openxmlformats.org/officeDocument/2006/relationships/slideLayout" Target="../slideLayouts/slideLayout1138.xml"/><Relationship Id="rId2" Type="http://schemas.openxmlformats.org/officeDocument/2006/relationships/slideLayout" Target="../slideLayouts/slideLayout927.xml"/><Relationship Id="rId29" Type="http://schemas.openxmlformats.org/officeDocument/2006/relationships/slideLayout" Target="../slideLayouts/slideLayout954.xml"/><Relationship Id="rId40" Type="http://schemas.openxmlformats.org/officeDocument/2006/relationships/slideLayout" Target="../slideLayouts/slideLayout965.xml"/><Relationship Id="rId115" Type="http://schemas.openxmlformats.org/officeDocument/2006/relationships/slideLayout" Target="../slideLayouts/slideLayout1040.xml"/><Relationship Id="rId136" Type="http://schemas.openxmlformats.org/officeDocument/2006/relationships/slideLayout" Target="../slideLayouts/slideLayout1061.xml"/><Relationship Id="rId157" Type="http://schemas.openxmlformats.org/officeDocument/2006/relationships/slideLayout" Target="../slideLayouts/slideLayout1082.xml"/><Relationship Id="rId178" Type="http://schemas.openxmlformats.org/officeDocument/2006/relationships/slideLayout" Target="../slideLayouts/slideLayout1103.xml"/><Relationship Id="rId61" Type="http://schemas.openxmlformats.org/officeDocument/2006/relationships/slideLayout" Target="../slideLayouts/slideLayout986.xml"/><Relationship Id="rId82" Type="http://schemas.openxmlformats.org/officeDocument/2006/relationships/slideLayout" Target="../slideLayouts/slideLayout1007.xml"/><Relationship Id="rId199" Type="http://schemas.openxmlformats.org/officeDocument/2006/relationships/slideLayout" Target="../slideLayouts/slideLayout1124.xml"/><Relationship Id="rId203" Type="http://schemas.openxmlformats.org/officeDocument/2006/relationships/slideLayout" Target="../slideLayouts/slideLayout1128.xml"/><Relationship Id="rId19" Type="http://schemas.openxmlformats.org/officeDocument/2006/relationships/slideLayout" Target="../slideLayouts/slideLayout944.xml"/><Relationship Id="rId224" Type="http://schemas.openxmlformats.org/officeDocument/2006/relationships/slideLayout" Target="../slideLayouts/slideLayout1149.xml"/><Relationship Id="rId30" Type="http://schemas.openxmlformats.org/officeDocument/2006/relationships/slideLayout" Target="../slideLayouts/slideLayout955.xml"/><Relationship Id="rId105" Type="http://schemas.openxmlformats.org/officeDocument/2006/relationships/slideLayout" Target="../slideLayouts/slideLayout1030.xml"/><Relationship Id="rId126" Type="http://schemas.openxmlformats.org/officeDocument/2006/relationships/slideLayout" Target="../slideLayouts/slideLayout1051.xml"/><Relationship Id="rId147" Type="http://schemas.openxmlformats.org/officeDocument/2006/relationships/slideLayout" Target="../slideLayouts/slideLayout1072.xml"/><Relationship Id="rId168" Type="http://schemas.openxmlformats.org/officeDocument/2006/relationships/slideLayout" Target="../slideLayouts/slideLayout1093.xml"/><Relationship Id="rId51" Type="http://schemas.openxmlformats.org/officeDocument/2006/relationships/slideLayout" Target="../slideLayouts/slideLayout976.xml"/><Relationship Id="rId72" Type="http://schemas.openxmlformats.org/officeDocument/2006/relationships/slideLayout" Target="../slideLayouts/slideLayout997.xml"/><Relationship Id="rId93" Type="http://schemas.openxmlformats.org/officeDocument/2006/relationships/slideLayout" Target="../slideLayouts/slideLayout1018.xml"/><Relationship Id="rId189" Type="http://schemas.openxmlformats.org/officeDocument/2006/relationships/slideLayout" Target="../slideLayouts/slideLayout1114.xml"/><Relationship Id="rId3" Type="http://schemas.openxmlformats.org/officeDocument/2006/relationships/slideLayout" Target="../slideLayouts/slideLayout928.xml"/><Relationship Id="rId214" Type="http://schemas.openxmlformats.org/officeDocument/2006/relationships/slideLayout" Target="../slideLayouts/slideLayout11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63.xml"/><Relationship Id="rId13" Type="http://schemas.openxmlformats.org/officeDocument/2006/relationships/theme" Target="../theme/theme5.xml"/><Relationship Id="rId3" Type="http://schemas.openxmlformats.org/officeDocument/2006/relationships/slideLayout" Target="../slideLayouts/slideLayout1158.xml"/><Relationship Id="rId7" Type="http://schemas.openxmlformats.org/officeDocument/2006/relationships/slideLayout" Target="../slideLayouts/slideLayout1162.xml"/><Relationship Id="rId12" Type="http://schemas.openxmlformats.org/officeDocument/2006/relationships/slideLayout" Target="../slideLayouts/slideLayout1167.xml"/><Relationship Id="rId2" Type="http://schemas.openxmlformats.org/officeDocument/2006/relationships/slideLayout" Target="../slideLayouts/slideLayout1157.xml"/><Relationship Id="rId1" Type="http://schemas.openxmlformats.org/officeDocument/2006/relationships/slideLayout" Target="../slideLayouts/slideLayout1156.xml"/><Relationship Id="rId6" Type="http://schemas.openxmlformats.org/officeDocument/2006/relationships/slideLayout" Target="../slideLayouts/slideLayout1161.xml"/><Relationship Id="rId11" Type="http://schemas.openxmlformats.org/officeDocument/2006/relationships/slideLayout" Target="../slideLayouts/slideLayout1166.xml"/><Relationship Id="rId5" Type="http://schemas.openxmlformats.org/officeDocument/2006/relationships/slideLayout" Target="../slideLayouts/slideLayout1160.xml"/><Relationship Id="rId10" Type="http://schemas.openxmlformats.org/officeDocument/2006/relationships/slideLayout" Target="../slideLayouts/slideLayout1165.xml"/><Relationship Id="rId4" Type="http://schemas.openxmlformats.org/officeDocument/2006/relationships/slideLayout" Target="../slideLayouts/slideLayout1159.xml"/><Relationship Id="rId9" Type="http://schemas.openxmlformats.org/officeDocument/2006/relationships/slideLayout" Target="../slideLayouts/slideLayout1164.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1284.xml"/><Relationship Id="rId21" Type="http://schemas.openxmlformats.org/officeDocument/2006/relationships/slideLayout" Target="../slideLayouts/slideLayout1188.xml"/><Relationship Id="rId42" Type="http://schemas.openxmlformats.org/officeDocument/2006/relationships/slideLayout" Target="../slideLayouts/slideLayout1209.xml"/><Relationship Id="rId63" Type="http://schemas.openxmlformats.org/officeDocument/2006/relationships/slideLayout" Target="../slideLayouts/slideLayout1230.xml"/><Relationship Id="rId84" Type="http://schemas.openxmlformats.org/officeDocument/2006/relationships/slideLayout" Target="../slideLayouts/slideLayout1251.xml"/><Relationship Id="rId138" Type="http://schemas.openxmlformats.org/officeDocument/2006/relationships/slideLayout" Target="../slideLayouts/slideLayout1305.xml"/><Relationship Id="rId159" Type="http://schemas.openxmlformats.org/officeDocument/2006/relationships/slideLayout" Target="../slideLayouts/slideLayout1326.xml"/><Relationship Id="rId170" Type="http://schemas.openxmlformats.org/officeDocument/2006/relationships/slideLayout" Target="../slideLayouts/slideLayout1337.xml"/><Relationship Id="rId191" Type="http://schemas.openxmlformats.org/officeDocument/2006/relationships/slideLayout" Target="../slideLayouts/slideLayout1358.xml"/><Relationship Id="rId205" Type="http://schemas.openxmlformats.org/officeDocument/2006/relationships/slideLayout" Target="../slideLayouts/slideLayout1372.xml"/><Relationship Id="rId226" Type="http://schemas.openxmlformats.org/officeDocument/2006/relationships/slideLayout" Target="../slideLayouts/slideLayout1393.xml"/><Relationship Id="rId107" Type="http://schemas.openxmlformats.org/officeDocument/2006/relationships/slideLayout" Target="../slideLayouts/slideLayout1274.xml"/><Relationship Id="rId11" Type="http://schemas.openxmlformats.org/officeDocument/2006/relationships/slideLayout" Target="../slideLayouts/slideLayout1178.xml"/><Relationship Id="rId32" Type="http://schemas.openxmlformats.org/officeDocument/2006/relationships/slideLayout" Target="../slideLayouts/slideLayout1199.xml"/><Relationship Id="rId53" Type="http://schemas.openxmlformats.org/officeDocument/2006/relationships/slideLayout" Target="../slideLayouts/slideLayout1220.xml"/><Relationship Id="rId74" Type="http://schemas.openxmlformats.org/officeDocument/2006/relationships/slideLayout" Target="../slideLayouts/slideLayout1241.xml"/><Relationship Id="rId128" Type="http://schemas.openxmlformats.org/officeDocument/2006/relationships/slideLayout" Target="../slideLayouts/slideLayout1295.xml"/><Relationship Id="rId149" Type="http://schemas.openxmlformats.org/officeDocument/2006/relationships/slideLayout" Target="../slideLayouts/slideLayout1316.xml"/><Relationship Id="rId5" Type="http://schemas.openxmlformats.org/officeDocument/2006/relationships/slideLayout" Target="../slideLayouts/slideLayout1172.xml"/><Relationship Id="rId95" Type="http://schemas.openxmlformats.org/officeDocument/2006/relationships/slideLayout" Target="../slideLayouts/slideLayout1262.xml"/><Relationship Id="rId160" Type="http://schemas.openxmlformats.org/officeDocument/2006/relationships/slideLayout" Target="../slideLayouts/slideLayout1327.xml"/><Relationship Id="rId181" Type="http://schemas.openxmlformats.org/officeDocument/2006/relationships/slideLayout" Target="../slideLayouts/slideLayout1348.xml"/><Relationship Id="rId216" Type="http://schemas.openxmlformats.org/officeDocument/2006/relationships/slideLayout" Target="../slideLayouts/slideLayout1383.xml"/><Relationship Id="rId237" Type="http://schemas.openxmlformats.org/officeDocument/2006/relationships/theme" Target="../theme/theme6.xml"/><Relationship Id="rId22" Type="http://schemas.openxmlformats.org/officeDocument/2006/relationships/slideLayout" Target="../slideLayouts/slideLayout1189.xml"/><Relationship Id="rId43" Type="http://schemas.openxmlformats.org/officeDocument/2006/relationships/slideLayout" Target="../slideLayouts/slideLayout1210.xml"/><Relationship Id="rId64" Type="http://schemas.openxmlformats.org/officeDocument/2006/relationships/slideLayout" Target="../slideLayouts/slideLayout1231.xml"/><Relationship Id="rId118" Type="http://schemas.openxmlformats.org/officeDocument/2006/relationships/slideLayout" Target="../slideLayouts/slideLayout1285.xml"/><Relationship Id="rId139" Type="http://schemas.openxmlformats.org/officeDocument/2006/relationships/slideLayout" Target="../slideLayouts/slideLayout1306.xml"/><Relationship Id="rId85" Type="http://schemas.openxmlformats.org/officeDocument/2006/relationships/slideLayout" Target="../slideLayouts/slideLayout1252.xml"/><Relationship Id="rId150" Type="http://schemas.openxmlformats.org/officeDocument/2006/relationships/slideLayout" Target="../slideLayouts/slideLayout1317.xml"/><Relationship Id="rId171" Type="http://schemas.openxmlformats.org/officeDocument/2006/relationships/slideLayout" Target="../slideLayouts/slideLayout1338.xml"/><Relationship Id="rId192" Type="http://schemas.openxmlformats.org/officeDocument/2006/relationships/slideLayout" Target="../slideLayouts/slideLayout1359.xml"/><Relationship Id="rId206" Type="http://schemas.openxmlformats.org/officeDocument/2006/relationships/slideLayout" Target="../slideLayouts/slideLayout1373.xml"/><Relationship Id="rId227" Type="http://schemas.openxmlformats.org/officeDocument/2006/relationships/slideLayout" Target="../slideLayouts/slideLayout1394.xml"/><Relationship Id="rId12" Type="http://schemas.openxmlformats.org/officeDocument/2006/relationships/slideLayout" Target="../slideLayouts/slideLayout1179.xml"/><Relationship Id="rId33" Type="http://schemas.openxmlformats.org/officeDocument/2006/relationships/slideLayout" Target="../slideLayouts/slideLayout1200.xml"/><Relationship Id="rId108" Type="http://schemas.openxmlformats.org/officeDocument/2006/relationships/slideLayout" Target="../slideLayouts/slideLayout1275.xml"/><Relationship Id="rId129" Type="http://schemas.openxmlformats.org/officeDocument/2006/relationships/slideLayout" Target="../slideLayouts/slideLayout1296.xml"/><Relationship Id="rId54" Type="http://schemas.openxmlformats.org/officeDocument/2006/relationships/slideLayout" Target="../slideLayouts/slideLayout1221.xml"/><Relationship Id="rId75" Type="http://schemas.openxmlformats.org/officeDocument/2006/relationships/slideLayout" Target="../slideLayouts/slideLayout1242.xml"/><Relationship Id="rId96" Type="http://schemas.openxmlformats.org/officeDocument/2006/relationships/slideLayout" Target="../slideLayouts/slideLayout1263.xml"/><Relationship Id="rId140" Type="http://schemas.openxmlformats.org/officeDocument/2006/relationships/slideLayout" Target="../slideLayouts/slideLayout1307.xml"/><Relationship Id="rId161" Type="http://schemas.openxmlformats.org/officeDocument/2006/relationships/slideLayout" Target="../slideLayouts/slideLayout1328.xml"/><Relationship Id="rId182" Type="http://schemas.openxmlformats.org/officeDocument/2006/relationships/slideLayout" Target="../slideLayouts/slideLayout1349.xml"/><Relationship Id="rId217" Type="http://schemas.openxmlformats.org/officeDocument/2006/relationships/slideLayout" Target="../slideLayouts/slideLayout1384.xml"/><Relationship Id="rId6" Type="http://schemas.openxmlformats.org/officeDocument/2006/relationships/slideLayout" Target="../slideLayouts/slideLayout1173.xml"/><Relationship Id="rId23" Type="http://schemas.openxmlformats.org/officeDocument/2006/relationships/slideLayout" Target="../slideLayouts/slideLayout1190.xml"/><Relationship Id="rId119" Type="http://schemas.openxmlformats.org/officeDocument/2006/relationships/slideLayout" Target="../slideLayouts/slideLayout1286.xml"/><Relationship Id="rId44" Type="http://schemas.openxmlformats.org/officeDocument/2006/relationships/slideLayout" Target="../slideLayouts/slideLayout1211.xml"/><Relationship Id="rId65" Type="http://schemas.openxmlformats.org/officeDocument/2006/relationships/slideLayout" Target="../slideLayouts/slideLayout1232.xml"/><Relationship Id="rId86" Type="http://schemas.openxmlformats.org/officeDocument/2006/relationships/slideLayout" Target="../slideLayouts/slideLayout1253.xml"/><Relationship Id="rId130" Type="http://schemas.openxmlformats.org/officeDocument/2006/relationships/slideLayout" Target="../slideLayouts/slideLayout1297.xml"/><Relationship Id="rId151" Type="http://schemas.openxmlformats.org/officeDocument/2006/relationships/slideLayout" Target="../slideLayouts/slideLayout1318.xml"/><Relationship Id="rId172" Type="http://schemas.openxmlformats.org/officeDocument/2006/relationships/slideLayout" Target="../slideLayouts/slideLayout1339.xml"/><Relationship Id="rId193" Type="http://schemas.openxmlformats.org/officeDocument/2006/relationships/slideLayout" Target="../slideLayouts/slideLayout1360.xml"/><Relationship Id="rId207" Type="http://schemas.openxmlformats.org/officeDocument/2006/relationships/slideLayout" Target="../slideLayouts/slideLayout1374.xml"/><Relationship Id="rId228" Type="http://schemas.openxmlformats.org/officeDocument/2006/relationships/slideLayout" Target="../slideLayouts/slideLayout1395.xml"/><Relationship Id="rId13" Type="http://schemas.openxmlformats.org/officeDocument/2006/relationships/slideLayout" Target="../slideLayouts/slideLayout1180.xml"/><Relationship Id="rId109" Type="http://schemas.openxmlformats.org/officeDocument/2006/relationships/slideLayout" Target="../slideLayouts/slideLayout1276.xml"/><Relationship Id="rId34" Type="http://schemas.openxmlformats.org/officeDocument/2006/relationships/slideLayout" Target="../slideLayouts/slideLayout1201.xml"/><Relationship Id="rId55" Type="http://schemas.openxmlformats.org/officeDocument/2006/relationships/slideLayout" Target="../slideLayouts/slideLayout1222.xml"/><Relationship Id="rId76" Type="http://schemas.openxmlformats.org/officeDocument/2006/relationships/slideLayout" Target="../slideLayouts/slideLayout1243.xml"/><Relationship Id="rId97" Type="http://schemas.openxmlformats.org/officeDocument/2006/relationships/slideLayout" Target="../slideLayouts/slideLayout1264.xml"/><Relationship Id="rId120" Type="http://schemas.openxmlformats.org/officeDocument/2006/relationships/slideLayout" Target="../slideLayouts/slideLayout1287.xml"/><Relationship Id="rId141" Type="http://schemas.openxmlformats.org/officeDocument/2006/relationships/slideLayout" Target="../slideLayouts/slideLayout1308.xml"/><Relationship Id="rId7" Type="http://schemas.openxmlformats.org/officeDocument/2006/relationships/slideLayout" Target="../slideLayouts/slideLayout1174.xml"/><Relationship Id="rId162" Type="http://schemas.openxmlformats.org/officeDocument/2006/relationships/slideLayout" Target="../slideLayouts/slideLayout1329.xml"/><Relationship Id="rId183" Type="http://schemas.openxmlformats.org/officeDocument/2006/relationships/slideLayout" Target="../slideLayouts/slideLayout1350.xml"/><Relationship Id="rId218" Type="http://schemas.openxmlformats.org/officeDocument/2006/relationships/slideLayout" Target="../slideLayouts/slideLayout1385.xml"/><Relationship Id="rId24" Type="http://schemas.openxmlformats.org/officeDocument/2006/relationships/slideLayout" Target="../slideLayouts/slideLayout1191.xml"/><Relationship Id="rId45" Type="http://schemas.openxmlformats.org/officeDocument/2006/relationships/slideLayout" Target="../slideLayouts/slideLayout1212.xml"/><Relationship Id="rId66" Type="http://schemas.openxmlformats.org/officeDocument/2006/relationships/slideLayout" Target="../slideLayouts/slideLayout1233.xml"/><Relationship Id="rId87" Type="http://schemas.openxmlformats.org/officeDocument/2006/relationships/slideLayout" Target="../slideLayouts/slideLayout1254.xml"/><Relationship Id="rId110" Type="http://schemas.openxmlformats.org/officeDocument/2006/relationships/slideLayout" Target="../slideLayouts/slideLayout1277.xml"/><Relationship Id="rId131" Type="http://schemas.openxmlformats.org/officeDocument/2006/relationships/slideLayout" Target="../slideLayouts/slideLayout1298.xml"/><Relationship Id="rId152" Type="http://schemas.openxmlformats.org/officeDocument/2006/relationships/slideLayout" Target="../slideLayouts/slideLayout1319.xml"/><Relationship Id="rId173" Type="http://schemas.openxmlformats.org/officeDocument/2006/relationships/slideLayout" Target="../slideLayouts/slideLayout1340.xml"/><Relationship Id="rId194" Type="http://schemas.openxmlformats.org/officeDocument/2006/relationships/slideLayout" Target="../slideLayouts/slideLayout1361.xml"/><Relationship Id="rId208" Type="http://schemas.openxmlformats.org/officeDocument/2006/relationships/slideLayout" Target="../slideLayouts/slideLayout1375.xml"/><Relationship Id="rId229" Type="http://schemas.openxmlformats.org/officeDocument/2006/relationships/slideLayout" Target="../slideLayouts/slideLayout1396.xml"/><Relationship Id="rId14" Type="http://schemas.openxmlformats.org/officeDocument/2006/relationships/slideLayout" Target="../slideLayouts/slideLayout1181.xml"/><Relationship Id="rId35" Type="http://schemas.openxmlformats.org/officeDocument/2006/relationships/slideLayout" Target="../slideLayouts/slideLayout1202.xml"/><Relationship Id="rId56" Type="http://schemas.openxmlformats.org/officeDocument/2006/relationships/slideLayout" Target="../slideLayouts/slideLayout1223.xml"/><Relationship Id="rId77" Type="http://schemas.openxmlformats.org/officeDocument/2006/relationships/slideLayout" Target="../slideLayouts/slideLayout1244.xml"/><Relationship Id="rId100" Type="http://schemas.openxmlformats.org/officeDocument/2006/relationships/slideLayout" Target="../slideLayouts/slideLayout1267.xml"/><Relationship Id="rId8" Type="http://schemas.openxmlformats.org/officeDocument/2006/relationships/slideLayout" Target="../slideLayouts/slideLayout1175.xml"/><Relationship Id="rId98" Type="http://schemas.openxmlformats.org/officeDocument/2006/relationships/slideLayout" Target="../slideLayouts/slideLayout1265.xml"/><Relationship Id="rId121" Type="http://schemas.openxmlformats.org/officeDocument/2006/relationships/slideLayout" Target="../slideLayouts/slideLayout1288.xml"/><Relationship Id="rId142" Type="http://schemas.openxmlformats.org/officeDocument/2006/relationships/slideLayout" Target="../slideLayouts/slideLayout1309.xml"/><Relationship Id="rId163" Type="http://schemas.openxmlformats.org/officeDocument/2006/relationships/slideLayout" Target="../slideLayouts/slideLayout1330.xml"/><Relationship Id="rId184" Type="http://schemas.openxmlformats.org/officeDocument/2006/relationships/slideLayout" Target="../slideLayouts/slideLayout1351.xml"/><Relationship Id="rId219" Type="http://schemas.openxmlformats.org/officeDocument/2006/relationships/slideLayout" Target="../slideLayouts/slideLayout1386.xml"/><Relationship Id="rId230" Type="http://schemas.openxmlformats.org/officeDocument/2006/relationships/slideLayout" Target="../slideLayouts/slideLayout1397.xml"/><Relationship Id="rId25" Type="http://schemas.openxmlformats.org/officeDocument/2006/relationships/slideLayout" Target="../slideLayouts/slideLayout1192.xml"/><Relationship Id="rId46" Type="http://schemas.openxmlformats.org/officeDocument/2006/relationships/slideLayout" Target="../slideLayouts/slideLayout1213.xml"/><Relationship Id="rId67" Type="http://schemas.openxmlformats.org/officeDocument/2006/relationships/slideLayout" Target="../slideLayouts/slideLayout1234.xml"/><Relationship Id="rId88" Type="http://schemas.openxmlformats.org/officeDocument/2006/relationships/slideLayout" Target="../slideLayouts/slideLayout1255.xml"/><Relationship Id="rId111" Type="http://schemas.openxmlformats.org/officeDocument/2006/relationships/slideLayout" Target="../slideLayouts/slideLayout1278.xml"/><Relationship Id="rId132" Type="http://schemas.openxmlformats.org/officeDocument/2006/relationships/slideLayout" Target="../slideLayouts/slideLayout1299.xml"/><Relationship Id="rId153" Type="http://schemas.openxmlformats.org/officeDocument/2006/relationships/slideLayout" Target="../slideLayouts/slideLayout1320.xml"/><Relationship Id="rId174" Type="http://schemas.openxmlformats.org/officeDocument/2006/relationships/slideLayout" Target="../slideLayouts/slideLayout1341.xml"/><Relationship Id="rId195" Type="http://schemas.openxmlformats.org/officeDocument/2006/relationships/slideLayout" Target="../slideLayouts/slideLayout1362.xml"/><Relationship Id="rId209" Type="http://schemas.openxmlformats.org/officeDocument/2006/relationships/slideLayout" Target="../slideLayouts/slideLayout1376.xml"/><Relationship Id="rId190" Type="http://schemas.openxmlformats.org/officeDocument/2006/relationships/slideLayout" Target="../slideLayouts/slideLayout1357.xml"/><Relationship Id="rId204" Type="http://schemas.openxmlformats.org/officeDocument/2006/relationships/slideLayout" Target="../slideLayouts/slideLayout1371.xml"/><Relationship Id="rId220" Type="http://schemas.openxmlformats.org/officeDocument/2006/relationships/slideLayout" Target="../slideLayouts/slideLayout1387.xml"/><Relationship Id="rId225" Type="http://schemas.openxmlformats.org/officeDocument/2006/relationships/slideLayout" Target="../slideLayouts/slideLayout1392.xml"/><Relationship Id="rId15" Type="http://schemas.openxmlformats.org/officeDocument/2006/relationships/slideLayout" Target="../slideLayouts/slideLayout1182.xml"/><Relationship Id="rId36" Type="http://schemas.openxmlformats.org/officeDocument/2006/relationships/slideLayout" Target="../slideLayouts/slideLayout1203.xml"/><Relationship Id="rId57" Type="http://schemas.openxmlformats.org/officeDocument/2006/relationships/slideLayout" Target="../slideLayouts/slideLayout1224.xml"/><Relationship Id="rId106" Type="http://schemas.openxmlformats.org/officeDocument/2006/relationships/slideLayout" Target="../slideLayouts/slideLayout1273.xml"/><Relationship Id="rId127" Type="http://schemas.openxmlformats.org/officeDocument/2006/relationships/slideLayout" Target="../slideLayouts/slideLayout1294.xml"/><Relationship Id="rId10" Type="http://schemas.openxmlformats.org/officeDocument/2006/relationships/slideLayout" Target="../slideLayouts/slideLayout1177.xml"/><Relationship Id="rId31" Type="http://schemas.openxmlformats.org/officeDocument/2006/relationships/slideLayout" Target="../slideLayouts/slideLayout1198.xml"/><Relationship Id="rId52" Type="http://schemas.openxmlformats.org/officeDocument/2006/relationships/slideLayout" Target="../slideLayouts/slideLayout1219.xml"/><Relationship Id="rId73" Type="http://schemas.openxmlformats.org/officeDocument/2006/relationships/slideLayout" Target="../slideLayouts/slideLayout1240.xml"/><Relationship Id="rId78" Type="http://schemas.openxmlformats.org/officeDocument/2006/relationships/slideLayout" Target="../slideLayouts/slideLayout1245.xml"/><Relationship Id="rId94" Type="http://schemas.openxmlformats.org/officeDocument/2006/relationships/slideLayout" Target="../slideLayouts/slideLayout1261.xml"/><Relationship Id="rId99" Type="http://schemas.openxmlformats.org/officeDocument/2006/relationships/slideLayout" Target="../slideLayouts/slideLayout1266.xml"/><Relationship Id="rId101" Type="http://schemas.openxmlformats.org/officeDocument/2006/relationships/slideLayout" Target="../slideLayouts/slideLayout1268.xml"/><Relationship Id="rId122" Type="http://schemas.openxmlformats.org/officeDocument/2006/relationships/slideLayout" Target="../slideLayouts/slideLayout1289.xml"/><Relationship Id="rId143" Type="http://schemas.openxmlformats.org/officeDocument/2006/relationships/slideLayout" Target="../slideLayouts/slideLayout1310.xml"/><Relationship Id="rId148" Type="http://schemas.openxmlformats.org/officeDocument/2006/relationships/slideLayout" Target="../slideLayouts/slideLayout1315.xml"/><Relationship Id="rId164" Type="http://schemas.openxmlformats.org/officeDocument/2006/relationships/slideLayout" Target="../slideLayouts/slideLayout1331.xml"/><Relationship Id="rId169" Type="http://schemas.openxmlformats.org/officeDocument/2006/relationships/slideLayout" Target="../slideLayouts/slideLayout1336.xml"/><Relationship Id="rId185" Type="http://schemas.openxmlformats.org/officeDocument/2006/relationships/slideLayout" Target="../slideLayouts/slideLayout1352.xml"/><Relationship Id="rId4" Type="http://schemas.openxmlformats.org/officeDocument/2006/relationships/slideLayout" Target="../slideLayouts/slideLayout1171.xml"/><Relationship Id="rId9" Type="http://schemas.openxmlformats.org/officeDocument/2006/relationships/slideLayout" Target="../slideLayouts/slideLayout1176.xml"/><Relationship Id="rId180" Type="http://schemas.openxmlformats.org/officeDocument/2006/relationships/slideLayout" Target="../slideLayouts/slideLayout1347.xml"/><Relationship Id="rId210" Type="http://schemas.openxmlformats.org/officeDocument/2006/relationships/slideLayout" Target="../slideLayouts/slideLayout1377.xml"/><Relationship Id="rId215" Type="http://schemas.openxmlformats.org/officeDocument/2006/relationships/slideLayout" Target="../slideLayouts/slideLayout1382.xml"/><Relationship Id="rId236" Type="http://schemas.openxmlformats.org/officeDocument/2006/relationships/slideLayout" Target="../slideLayouts/slideLayout1403.xml"/><Relationship Id="rId26" Type="http://schemas.openxmlformats.org/officeDocument/2006/relationships/slideLayout" Target="../slideLayouts/slideLayout1193.xml"/><Relationship Id="rId231" Type="http://schemas.openxmlformats.org/officeDocument/2006/relationships/slideLayout" Target="../slideLayouts/slideLayout1398.xml"/><Relationship Id="rId47" Type="http://schemas.openxmlformats.org/officeDocument/2006/relationships/slideLayout" Target="../slideLayouts/slideLayout1214.xml"/><Relationship Id="rId68" Type="http://schemas.openxmlformats.org/officeDocument/2006/relationships/slideLayout" Target="../slideLayouts/slideLayout1235.xml"/><Relationship Id="rId89" Type="http://schemas.openxmlformats.org/officeDocument/2006/relationships/slideLayout" Target="../slideLayouts/slideLayout1256.xml"/><Relationship Id="rId112" Type="http://schemas.openxmlformats.org/officeDocument/2006/relationships/slideLayout" Target="../slideLayouts/slideLayout1279.xml"/><Relationship Id="rId133" Type="http://schemas.openxmlformats.org/officeDocument/2006/relationships/slideLayout" Target="../slideLayouts/slideLayout1300.xml"/><Relationship Id="rId154" Type="http://schemas.openxmlformats.org/officeDocument/2006/relationships/slideLayout" Target="../slideLayouts/slideLayout1321.xml"/><Relationship Id="rId175" Type="http://schemas.openxmlformats.org/officeDocument/2006/relationships/slideLayout" Target="../slideLayouts/slideLayout1342.xml"/><Relationship Id="rId196" Type="http://schemas.openxmlformats.org/officeDocument/2006/relationships/slideLayout" Target="../slideLayouts/slideLayout1363.xml"/><Relationship Id="rId200" Type="http://schemas.openxmlformats.org/officeDocument/2006/relationships/slideLayout" Target="../slideLayouts/slideLayout1367.xml"/><Relationship Id="rId16" Type="http://schemas.openxmlformats.org/officeDocument/2006/relationships/slideLayout" Target="../slideLayouts/slideLayout1183.xml"/><Relationship Id="rId221" Type="http://schemas.openxmlformats.org/officeDocument/2006/relationships/slideLayout" Target="../slideLayouts/slideLayout1388.xml"/><Relationship Id="rId37" Type="http://schemas.openxmlformats.org/officeDocument/2006/relationships/slideLayout" Target="../slideLayouts/slideLayout1204.xml"/><Relationship Id="rId58" Type="http://schemas.openxmlformats.org/officeDocument/2006/relationships/slideLayout" Target="../slideLayouts/slideLayout1225.xml"/><Relationship Id="rId79" Type="http://schemas.openxmlformats.org/officeDocument/2006/relationships/slideLayout" Target="../slideLayouts/slideLayout1246.xml"/><Relationship Id="rId102" Type="http://schemas.openxmlformats.org/officeDocument/2006/relationships/slideLayout" Target="../slideLayouts/slideLayout1269.xml"/><Relationship Id="rId123" Type="http://schemas.openxmlformats.org/officeDocument/2006/relationships/slideLayout" Target="../slideLayouts/slideLayout1290.xml"/><Relationship Id="rId144" Type="http://schemas.openxmlformats.org/officeDocument/2006/relationships/slideLayout" Target="../slideLayouts/slideLayout1311.xml"/><Relationship Id="rId90" Type="http://schemas.openxmlformats.org/officeDocument/2006/relationships/slideLayout" Target="../slideLayouts/slideLayout1257.xml"/><Relationship Id="rId165" Type="http://schemas.openxmlformats.org/officeDocument/2006/relationships/slideLayout" Target="../slideLayouts/slideLayout1332.xml"/><Relationship Id="rId186" Type="http://schemas.openxmlformats.org/officeDocument/2006/relationships/slideLayout" Target="../slideLayouts/slideLayout1353.xml"/><Relationship Id="rId211" Type="http://schemas.openxmlformats.org/officeDocument/2006/relationships/slideLayout" Target="../slideLayouts/slideLayout1378.xml"/><Relationship Id="rId232" Type="http://schemas.openxmlformats.org/officeDocument/2006/relationships/slideLayout" Target="../slideLayouts/slideLayout1399.xml"/><Relationship Id="rId27" Type="http://schemas.openxmlformats.org/officeDocument/2006/relationships/slideLayout" Target="../slideLayouts/slideLayout1194.xml"/><Relationship Id="rId48" Type="http://schemas.openxmlformats.org/officeDocument/2006/relationships/slideLayout" Target="../slideLayouts/slideLayout1215.xml"/><Relationship Id="rId69" Type="http://schemas.openxmlformats.org/officeDocument/2006/relationships/slideLayout" Target="../slideLayouts/slideLayout1236.xml"/><Relationship Id="rId113" Type="http://schemas.openxmlformats.org/officeDocument/2006/relationships/slideLayout" Target="../slideLayouts/slideLayout1280.xml"/><Relationship Id="rId134" Type="http://schemas.openxmlformats.org/officeDocument/2006/relationships/slideLayout" Target="../slideLayouts/slideLayout1301.xml"/><Relationship Id="rId80" Type="http://schemas.openxmlformats.org/officeDocument/2006/relationships/slideLayout" Target="../slideLayouts/slideLayout1247.xml"/><Relationship Id="rId155" Type="http://schemas.openxmlformats.org/officeDocument/2006/relationships/slideLayout" Target="../slideLayouts/slideLayout1322.xml"/><Relationship Id="rId176" Type="http://schemas.openxmlformats.org/officeDocument/2006/relationships/slideLayout" Target="../slideLayouts/slideLayout1343.xml"/><Relationship Id="rId197" Type="http://schemas.openxmlformats.org/officeDocument/2006/relationships/slideLayout" Target="../slideLayouts/slideLayout1364.xml"/><Relationship Id="rId201" Type="http://schemas.openxmlformats.org/officeDocument/2006/relationships/slideLayout" Target="../slideLayouts/slideLayout1368.xml"/><Relationship Id="rId222" Type="http://schemas.openxmlformats.org/officeDocument/2006/relationships/slideLayout" Target="../slideLayouts/slideLayout1389.xml"/><Relationship Id="rId17" Type="http://schemas.openxmlformats.org/officeDocument/2006/relationships/slideLayout" Target="../slideLayouts/slideLayout1184.xml"/><Relationship Id="rId38" Type="http://schemas.openxmlformats.org/officeDocument/2006/relationships/slideLayout" Target="../slideLayouts/slideLayout1205.xml"/><Relationship Id="rId59" Type="http://schemas.openxmlformats.org/officeDocument/2006/relationships/slideLayout" Target="../slideLayouts/slideLayout1226.xml"/><Relationship Id="rId103" Type="http://schemas.openxmlformats.org/officeDocument/2006/relationships/slideLayout" Target="../slideLayouts/slideLayout1270.xml"/><Relationship Id="rId124" Type="http://schemas.openxmlformats.org/officeDocument/2006/relationships/slideLayout" Target="../slideLayouts/slideLayout1291.xml"/><Relationship Id="rId70" Type="http://schemas.openxmlformats.org/officeDocument/2006/relationships/slideLayout" Target="../slideLayouts/slideLayout1237.xml"/><Relationship Id="rId91" Type="http://schemas.openxmlformats.org/officeDocument/2006/relationships/slideLayout" Target="../slideLayouts/slideLayout1258.xml"/><Relationship Id="rId145" Type="http://schemas.openxmlformats.org/officeDocument/2006/relationships/slideLayout" Target="../slideLayouts/slideLayout1312.xml"/><Relationship Id="rId166" Type="http://schemas.openxmlformats.org/officeDocument/2006/relationships/slideLayout" Target="../slideLayouts/slideLayout1333.xml"/><Relationship Id="rId187" Type="http://schemas.openxmlformats.org/officeDocument/2006/relationships/slideLayout" Target="../slideLayouts/slideLayout1354.xml"/><Relationship Id="rId1" Type="http://schemas.openxmlformats.org/officeDocument/2006/relationships/slideLayout" Target="../slideLayouts/slideLayout1168.xml"/><Relationship Id="rId212" Type="http://schemas.openxmlformats.org/officeDocument/2006/relationships/slideLayout" Target="../slideLayouts/slideLayout1379.xml"/><Relationship Id="rId233" Type="http://schemas.openxmlformats.org/officeDocument/2006/relationships/slideLayout" Target="../slideLayouts/slideLayout1400.xml"/><Relationship Id="rId28" Type="http://schemas.openxmlformats.org/officeDocument/2006/relationships/slideLayout" Target="../slideLayouts/slideLayout1195.xml"/><Relationship Id="rId49" Type="http://schemas.openxmlformats.org/officeDocument/2006/relationships/slideLayout" Target="../slideLayouts/slideLayout1216.xml"/><Relationship Id="rId114" Type="http://schemas.openxmlformats.org/officeDocument/2006/relationships/slideLayout" Target="../slideLayouts/slideLayout1281.xml"/><Relationship Id="rId60" Type="http://schemas.openxmlformats.org/officeDocument/2006/relationships/slideLayout" Target="../slideLayouts/slideLayout1227.xml"/><Relationship Id="rId81" Type="http://schemas.openxmlformats.org/officeDocument/2006/relationships/slideLayout" Target="../slideLayouts/slideLayout1248.xml"/><Relationship Id="rId135" Type="http://schemas.openxmlformats.org/officeDocument/2006/relationships/slideLayout" Target="../slideLayouts/slideLayout1302.xml"/><Relationship Id="rId156" Type="http://schemas.openxmlformats.org/officeDocument/2006/relationships/slideLayout" Target="../slideLayouts/slideLayout1323.xml"/><Relationship Id="rId177" Type="http://schemas.openxmlformats.org/officeDocument/2006/relationships/slideLayout" Target="../slideLayouts/slideLayout1344.xml"/><Relationship Id="rId198" Type="http://schemas.openxmlformats.org/officeDocument/2006/relationships/slideLayout" Target="../slideLayouts/slideLayout1365.xml"/><Relationship Id="rId202" Type="http://schemas.openxmlformats.org/officeDocument/2006/relationships/slideLayout" Target="../slideLayouts/slideLayout1369.xml"/><Relationship Id="rId223" Type="http://schemas.openxmlformats.org/officeDocument/2006/relationships/slideLayout" Target="../slideLayouts/slideLayout1390.xml"/><Relationship Id="rId18" Type="http://schemas.openxmlformats.org/officeDocument/2006/relationships/slideLayout" Target="../slideLayouts/slideLayout1185.xml"/><Relationship Id="rId39" Type="http://schemas.openxmlformats.org/officeDocument/2006/relationships/slideLayout" Target="../slideLayouts/slideLayout1206.xml"/><Relationship Id="rId50" Type="http://schemas.openxmlformats.org/officeDocument/2006/relationships/slideLayout" Target="../slideLayouts/slideLayout1217.xml"/><Relationship Id="rId104" Type="http://schemas.openxmlformats.org/officeDocument/2006/relationships/slideLayout" Target="../slideLayouts/slideLayout1271.xml"/><Relationship Id="rId125" Type="http://schemas.openxmlformats.org/officeDocument/2006/relationships/slideLayout" Target="../slideLayouts/slideLayout1292.xml"/><Relationship Id="rId146" Type="http://schemas.openxmlformats.org/officeDocument/2006/relationships/slideLayout" Target="../slideLayouts/slideLayout1313.xml"/><Relationship Id="rId167" Type="http://schemas.openxmlformats.org/officeDocument/2006/relationships/slideLayout" Target="../slideLayouts/slideLayout1334.xml"/><Relationship Id="rId188" Type="http://schemas.openxmlformats.org/officeDocument/2006/relationships/slideLayout" Target="../slideLayouts/slideLayout1355.xml"/><Relationship Id="rId71" Type="http://schemas.openxmlformats.org/officeDocument/2006/relationships/slideLayout" Target="../slideLayouts/slideLayout1238.xml"/><Relationship Id="rId92" Type="http://schemas.openxmlformats.org/officeDocument/2006/relationships/slideLayout" Target="../slideLayouts/slideLayout1259.xml"/><Relationship Id="rId213" Type="http://schemas.openxmlformats.org/officeDocument/2006/relationships/slideLayout" Target="../slideLayouts/slideLayout1380.xml"/><Relationship Id="rId234" Type="http://schemas.openxmlformats.org/officeDocument/2006/relationships/slideLayout" Target="../slideLayouts/slideLayout1401.xml"/><Relationship Id="rId2" Type="http://schemas.openxmlformats.org/officeDocument/2006/relationships/slideLayout" Target="../slideLayouts/slideLayout1169.xml"/><Relationship Id="rId29" Type="http://schemas.openxmlformats.org/officeDocument/2006/relationships/slideLayout" Target="../slideLayouts/slideLayout1196.xml"/><Relationship Id="rId40" Type="http://schemas.openxmlformats.org/officeDocument/2006/relationships/slideLayout" Target="../slideLayouts/slideLayout1207.xml"/><Relationship Id="rId115" Type="http://schemas.openxmlformats.org/officeDocument/2006/relationships/slideLayout" Target="../slideLayouts/slideLayout1282.xml"/><Relationship Id="rId136" Type="http://schemas.openxmlformats.org/officeDocument/2006/relationships/slideLayout" Target="../slideLayouts/slideLayout1303.xml"/><Relationship Id="rId157" Type="http://schemas.openxmlformats.org/officeDocument/2006/relationships/slideLayout" Target="../slideLayouts/slideLayout1324.xml"/><Relationship Id="rId178" Type="http://schemas.openxmlformats.org/officeDocument/2006/relationships/slideLayout" Target="../slideLayouts/slideLayout1345.xml"/><Relationship Id="rId61" Type="http://schemas.openxmlformats.org/officeDocument/2006/relationships/slideLayout" Target="../slideLayouts/slideLayout1228.xml"/><Relationship Id="rId82" Type="http://schemas.openxmlformats.org/officeDocument/2006/relationships/slideLayout" Target="../slideLayouts/slideLayout1249.xml"/><Relationship Id="rId199" Type="http://schemas.openxmlformats.org/officeDocument/2006/relationships/slideLayout" Target="../slideLayouts/slideLayout1366.xml"/><Relationship Id="rId203" Type="http://schemas.openxmlformats.org/officeDocument/2006/relationships/slideLayout" Target="../slideLayouts/slideLayout1370.xml"/><Relationship Id="rId19" Type="http://schemas.openxmlformats.org/officeDocument/2006/relationships/slideLayout" Target="../slideLayouts/slideLayout1186.xml"/><Relationship Id="rId224" Type="http://schemas.openxmlformats.org/officeDocument/2006/relationships/slideLayout" Target="../slideLayouts/slideLayout1391.xml"/><Relationship Id="rId30" Type="http://schemas.openxmlformats.org/officeDocument/2006/relationships/slideLayout" Target="../slideLayouts/slideLayout1197.xml"/><Relationship Id="rId105" Type="http://schemas.openxmlformats.org/officeDocument/2006/relationships/slideLayout" Target="../slideLayouts/slideLayout1272.xml"/><Relationship Id="rId126" Type="http://schemas.openxmlformats.org/officeDocument/2006/relationships/slideLayout" Target="../slideLayouts/slideLayout1293.xml"/><Relationship Id="rId147" Type="http://schemas.openxmlformats.org/officeDocument/2006/relationships/slideLayout" Target="../slideLayouts/slideLayout1314.xml"/><Relationship Id="rId168" Type="http://schemas.openxmlformats.org/officeDocument/2006/relationships/slideLayout" Target="../slideLayouts/slideLayout1335.xml"/><Relationship Id="rId51" Type="http://schemas.openxmlformats.org/officeDocument/2006/relationships/slideLayout" Target="../slideLayouts/slideLayout1218.xml"/><Relationship Id="rId72" Type="http://schemas.openxmlformats.org/officeDocument/2006/relationships/slideLayout" Target="../slideLayouts/slideLayout1239.xml"/><Relationship Id="rId93" Type="http://schemas.openxmlformats.org/officeDocument/2006/relationships/slideLayout" Target="../slideLayouts/slideLayout1260.xml"/><Relationship Id="rId189" Type="http://schemas.openxmlformats.org/officeDocument/2006/relationships/slideLayout" Target="../slideLayouts/slideLayout1356.xml"/><Relationship Id="rId3" Type="http://schemas.openxmlformats.org/officeDocument/2006/relationships/slideLayout" Target="../slideLayouts/slideLayout1170.xml"/><Relationship Id="rId214" Type="http://schemas.openxmlformats.org/officeDocument/2006/relationships/slideLayout" Target="../slideLayouts/slideLayout1381.xml"/><Relationship Id="rId235" Type="http://schemas.openxmlformats.org/officeDocument/2006/relationships/slideLayout" Target="../slideLayouts/slideLayout1402.xml"/><Relationship Id="rId116" Type="http://schemas.openxmlformats.org/officeDocument/2006/relationships/slideLayout" Target="../slideLayouts/slideLayout1283.xml"/><Relationship Id="rId137" Type="http://schemas.openxmlformats.org/officeDocument/2006/relationships/slideLayout" Target="../slideLayouts/slideLayout1304.xml"/><Relationship Id="rId158" Type="http://schemas.openxmlformats.org/officeDocument/2006/relationships/slideLayout" Target="../slideLayouts/slideLayout1325.xml"/><Relationship Id="rId20" Type="http://schemas.openxmlformats.org/officeDocument/2006/relationships/slideLayout" Target="../slideLayouts/slideLayout1187.xml"/><Relationship Id="rId41" Type="http://schemas.openxmlformats.org/officeDocument/2006/relationships/slideLayout" Target="../slideLayouts/slideLayout1208.xml"/><Relationship Id="rId62" Type="http://schemas.openxmlformats.org/officeDocument/2006/relationships/slideLayout" Target="../slideLayouts/slideLayout1229.xml"/><Relationship Id="rId83" Type="http://schemas.openxmlformats.org/officeDocument/2006/relationships/slideLayout" Target="../slideLayouts/slideLayout1250.xml"/><Relationship Id="rId179" Type="http://schemas.openxmlformats.org/officeDocument/2006/relationships/slideLayout" Target="../slideLayouts/slideLayout13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1.xml"/><Relationship Id="rId13" Type="http://schemas.openxmlformats.org/officeDocument/2006/relationships/slideLayout" Target="../slideLayouts/slideLayout1416.xml"/><Relationship Id="rId3" Type="http://schemas.openxmlformats.org/officeDocument/2006/relationships/slideLayout" Target="../slideLayouts/slideLayout1406.xml"/><Relationship Id="rId7" Type="http://schemas.openxmlformats.org/officeDocument/2006/relationships/slideLayout" Target="../slideLayouts/slideLayout1410.xml"/><Relationship Id="rId12" Type="http://schemas.openxmlformats.org/officeDocument/2006/relationships/slideLayout" Target="../slideLayouts/slideLayout1415.xml"/><Relationship Id="rId2" Type="http://schemas.openxmlformats.org/officeDocument/2006/relationships/slideLayout" Target="../slideLayouts/slideLayout1405.xml"/><Relationship Id="rId1" Type="http://schemas.openxmlformats.org/officeDocument/2006/relationships/slideLayout" Target="../slideLayouts/slideLayout1404.xml"/><Relationship Id="rId6" Type="http://schemas.openxmlformats.org/officeDocument/2006/relationships/slideLayout" Target="../slideLayouts/slideLayout1409.xml"/><Relationship Id="rId11" Type="http://schemas.openxmlformats.org/officeDocument/2006/relationships/slideLayout" Target="../slideLayouts/slideLayout1414.xml"/><Relationship Id="rId5" Type="http://schemas.openxmlformats.org/officeDocument/2006/relationships/slideLayout" Target="../slideLayouts/slideLayout1408.xml"/><Relationship Id="rId10" Type="http://schemas.openxmlformats.org/officeDocument/2006/relationships/slideLayout" Target="../slideLayouts/slideLayout1413.xml"/><Relationship Id="rId4" Type="http://schemas.openxmlformats.org/officeDocument/2006/relationships/slideLayout" Target="../slideLayouts/slideLayout1407.xml"/><Relationship Id="rId9" Type="http://schemas.openxmlformats.org/officeDocument/2006/relationships/slideLayout" Target="../slideLayouts/slideLayout141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24.xml"/><Relationship Id="rId3" Type="http://schemas.openxmlformats.org/officeDocument/2006/relationships/slideLayout" Target="../slideLayouts/slideLayout1419.xml"/><Relationship Id="rId7" Type="http://schemas.openxmlformats.org/officeDocument/2006/relationships/slideLayout" Target="../slideLayouts/slideLayout1423.xml"/><Relationship Id="rId12" Type="http://schemas.openxmlformats.org/officeDocument/2006/relationships/theme" Target="../theme/theme8.xml"/><Relationship Id="rId2" Type="http://schemas.openxmlformats.org/officeDocument/2006/relationships/slideLayout" Target="../slideLayouts/slideLayout1418.xml"/><Relationship Id="rId1" Type="http://schemas.openxmlformats.org/officeDocument/2006/relationships/slideLayout" Target="../slideLayouts/slideLayout1417.xml"/><Relationship Id="rId6" Type="http://schemas.openxmlformats.org/officeDocument/2006/relationships/slideLayout" Target="../slideLayouts/slideLayout1422.xml"/><Relationship Id="rId11" Type="http://schemas.openxmlformats.org/officeDocument/2006/relationships/slideLayout" Target="../slideLayouts/slideLayout1427.xml"/><Relationship Id="rId5" Type="http://schemas.openxmlformats.org/officeDocument/2006/relationships/slideLayout" Target="../slideLayouts/slideLayout1421.xml"/><Relationship Id="rId10" Type="http://schemas.openxmlformats.org/officeDocument/2006/relationships/slideLayout" Target="../slideLayouts/slideLayout1426.xml"/><Relationship Id="rId4" Type="http://schemas.openxmlformats.org/officeDocument/2006/relationships/slideLayout" Target="../slideLayouts/slideLayout1420.xml"/><Relationship Id="rId9" Type="http://schemas.openxmlformats.org/officeDocument/2006/relationships/slideLayout" Target="../slideLayouts/slideLayout142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35.xml"/><Relationship Id="rId13" Type="http://schemas.openxmlformats.org/officeDocument/2006/relationships/theme" Target="../theme/theme9.xml"/><Relationship Id="rId3" Type="http://schemas.openxmlformats.org/officeDocument/2006/relationships/slideLayout" Target="../slideLayouts/slideLayout1430.xml"/><Relationship Id="rId7" Type="http://schemas.openxmlformats.org/officeDocument/2006/relationships/slideLayout" Target="../slideLayouts/slideLayout1434.xml"/><Relationship Id="rId12" Type="http://schemas.openxmlformats.org/officeDocument/2006/relationships/slideLayout" Target="../slideLayouts/slideLayout1439.xml"/><Relationship Id="rId2" Type="http://schemas.openxmlformats.org/officeDocument/2006/relationships/slideLayout" Target="../slideLayouts/slideLayout1429.xml"/><Relationship Id="rId1" Type="http://schemas.openxmlformats.org/officeDocument/2006/relationships/slideLayout" Target="../slideLayouts/slideLayout1428.xml"/><Relationship Id="rId6" Type="http://schemas.openxmlformats.org/officeDocument/2006/relationships/slideLayout" Target="../slideLayouts/slideLayout1433.xml"/><Relationship Id="rId11" Type="http://schemas.openxmlformats.org/officeDocument/2006/relationships/slideLayout" Target="../slideLayouts/slideLayout1438.xml"/><Relationship Id="rId5" Type="http://schemas.openxmlformats.org/officeDocument/2006/relationships/slideLayout" Target="../slideLayouts/slideLayout1432.xml"/><Relationship Id="rId10" Type="http://schemas.openxmlformats.org/officeDocument/2006/relationships/slideLayout" Target="../slideLayouts/slideLayout1437.xml"/><Relationship Id="rId4" Type="http://schemas.openxmlformats.org/officeDocument/2006/relationships/slideLayout" Target="../slideLayouts/slideLayout1431.xml"/><Relationship Id="rId9" Type="http://schemas.openxmlformats.org/officeDocument/2006/relationships/slideLayout" Target="../slideLayouts/slideLayout1436.xml"/><Relationship Id="rId14" Type="http://schemas.openxmlformats.org/officeDocument/2006/relationships/image" Target="../media/image8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6691" r:id="rId11"/>
    <p:sldLayoutId id="2147486692" r:id="rId12"/>
    <p:sldLayoutId id="2147486693" r:id="rId13"/>
    <p:sldLayoutId id="2147486694" r:id="rId14"/>
    <p:sldLayoutId id="2147486695" r:id="rId15"/>
    <p:sldLayoutId id="2147486696" r:id="rId16"/>
    <p:sldLayoutId id="2147486697" r:id="rId17"/>
    <p:sldLayoutId id="2147486698" r:id="rId18"/>
    <p:sldLayoutId id="2147486699" r:id="rId19"/>
    <p:sldLayoutId id="2147486700" r:id="rId20"/>
    <p:sldLayoutId id="2147486701" r:id="rId21"/>
    <p:sldLayoutId id="214748670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 id="2147483683" r:id="rId33"/>
    <p:sldLayoutId id="2147483684" r:id="rId34"/>
    <p:sldLayoutId id="2147483685" r:id="rId35"/>
    <p:sldLayoutId id="2147483686" r:id="rId36"/>
    <p:sldLayoutId id="2147483687" r:id="rId37"/>
    <p:sldLayoutId id="2147483688" r:id="rId38"/>
    <p:sldLayoutId id="2147483689" r:id="rId39"/>
    <p:sldLayoutId id="2147483690" r:id="rId40"/>
    <p:sldLayoutId id="2147483691" r:id="rId41"/>
    <p:sldLayoutId id="2147483692" r:id="rId42"/>
    <p:sldLayoutId id="2147483693" r:id="rId43"/>
    <p:sldLayoutId id="2147483694" r:id="rId44"/>
    <p:sldLayoutId id="2147483695" r:id="rId45"/>
    <p:sldLayoutId id="2147483696" r:id="rId46"/>
    <p:sldLayoutId id="2147483697" r:id="rId47"/>
    <p:sldLayoutId id="2147483698" r:id="rId48"/>
    <p:sldLayoutId id="2147483699" r:id="rId49"/>
    <p:sldLayoutId id="2147483700" r:id="rId50"/>
    <p:sldLayoutId id="2147483701" r:id="rId51"/>
    <p:sldLayoutId id="2147483702" r:id="rId52"/>
    <p:sldLayoutId id="2147483703" r:id="rId53"/>
    <p:sldLayoutId id="2147483704" r:id="rId54"/>
    <p:sldLayoutId id="2147483705" r:id="rId55"/>
    <p:sldLayoutId id="2147483706" r:id="rId56"/>
    <p:sldLayoutId id="2147483707" r:id="rId57"/>
    <p:sldLayoutId id="2147483708" r:id="rId58"/>
    <p:sldLayoutId id="2147483709" r:id="rId59"/>
    <p:sldLayoutId id="2147483710" r:id="rId60"/>
    <p:sldLayoutId id="2147483711" r:id="rId61"/>
    <p:sldLayoutId id="2147483712" r:id="rId62"/>
    <p:sldLayoutId id="2147483713" r:id="rId63"/>
    <p:sldLayoutId id="2147483714" r:id="rId64"/>
    <p:sldLayoutId id="2147483715" r:id="rId65"/>
    <p:sldLayoutId id="2147485644" r:id="rId66"/>
    <p:sldLayoutId id="2147485646" r:id="rId67"/>
    <p:sldLayoutId id="2147485647" r:id="rId68"/>
    <p:sldLayoutId id="2147483719" r:id="rId69"/>
    <p:sldLayoutId id="2147483720" r:id="rId70"/>
    <p:sldLayoutId id="2147485642" r:id="rId71"/>
    <p:sldLayoutId id="2147483722" r:id="rId72"/>
    <p:sldLayoutId id="2147483723" r:id="rId73"/>
    <p:sldLayoutId id="2147483724" r:id="rId74"/>
    <p:sldLayoutId id="2147483725" r:id="rId75"/>
    <p:sldLayoutId id="2147483726" r:id="rId76"/>
    <p:sldLayoutId id="2147483727" r:id="rId77"/>
    <p:sldLayoutId id="2147483728" r:id="rId78"/>
    <p:sldLayoutId id="2147483729" r:id="rId79"/>
    <p:sldLayoutId id="2147483730" r:id="rId80"/>
    <p:sldLayoutId id="2147483731" r:id="rId81"/>
    <p:sldLayoutId id="2147483732" r:id="rId82"/>
    <p:sldLayoutId id="2147483733" r:id="rId83"/>
    <p:sldLayoutId id="2147483734" r:id="rId84"/>
    <p:sldLayoutId id="2147483735" r:id="rId85"/>
    <p:sldLayoutId id="2147483736" r:id="rId86"/>
    <p:sldLayoutId id="2147483737" r:id="rId87"/>
    <p:sldLayoutId id="2147483738" r:id="rId88"/>
    <p:sldLayoutId id="2147483739" r:id="rId89"/>
    <p:sldLayoutId id="2147483740" r:id="rId90"/>
    <p:sldLayoutId id="2147485734" r:id="rId91"/>
    <p:sldLayoutId id="2147483742" r:id="rId92"/>
    <p:sldLayoutId id="2147483743" r:id="rId93"/>
    <p:sldLayoutId id="2147483744" r:id="rId94"/>
    <p:sldLayoutId id="2147483745" r:id="rId95"/>
    <p:sldLayoutId id="2147483746" r:id="rId96"/>
    <p:sldLayoutId id="2147483747" r:id="rId97"/>
    <p:sldLayoutId id="2147483748" r:id="rId98"/>
    <p:sldLayoutId id="2147483749" r:id="rId99"/>
    <p:sldLayoutId id="2147483750" r:id="rId100"/>
    <p:sldLayoutId id="2147483751" r:id="rId101"/>
    <p:sldLayoutId id="2147483752" r:id="rId102"/>
    <p:sldLayoutId id="2147483753" r:id="rId103"/>
    <p:sldLayoutId id="2147483754" r:id="rId104"/>
    <p:sldLayoutId id="2147483755" r:id="rId105"/>
    <p:sldLayoutId id="2147483756" r:id="rId106"/>
    <p:sldLayoutId id="2147483757" r:id="rId107"/>
    <p:sldLayoutId id="2147483758" r:id="rId108"/>
    <p:sldLayoutId id="2147483759" r:id="rId109"/>
    <p:sldLayoutId id="2147483760" r:id="rId110"/>
    <p:sldLayoutId id="2147483761" r:id="rId111"/>
    <p:sldLayoutId id="2147483762" r:id="rId112"/>
    <p:sldLayoutId id="2147483763" r:id="rId113"/>
    <p:sldLayoutId id="2147483764" r:id="rId114"/>
    <p:sldLayoutId id="2147483765" r:id="rId115"/>
    <p:sldLayoutId id="2147483766" r:id="rId116"/>
    <p:sldLayoutId id="2147483767" r:id="rId117"/>
    <p:sldLayoutId id="2147483768" r:id="rId118"/>
    <p:sldLayoutId id="2147483769" r:id="rId119"/>
    <p:sldLayoutId id="2147483770" r:id="rId120"/>
    <p:sldLayoutId id="2147483771" r:id="rId121"/>
    <p:sldLayoutId id="2147483772" r:id="rId122"/>
    <p:sldLayoutId id="2147483773" r:id="rId123"/>
    <p:sldLayoutId id="2147483774" r:id="rId124"/>
    <p:sldLayoutId id="2147483775" r:id="rId125"/>
    <p:sldLayoutId id="2147483776" r:id="rId126"/>
    <p:sldLayoutId id="2147483777" r:id="rId127"/>
    <p:sldLayoutId id="2147483778" r:id="rId128"/>
    <p:sldLayoutId id="2147483779" r:id="rId129"/>
    <p:sldLayoutId id="2147483780" r:id="rId130"/>
    <p:sldLayoutId id="2147483781" r:id="rId131"/>
    <p:sldLayoutId id="2147483782" r:id="rId132"/>
    <p:sldLayoutId id="2147483783" r:id="rId133"/>
    <p:sldLayoutId id="2147483784" r:id="rId134"/>
    <p:sldLayoutId id="2147483785" r:id="rId135"/>
    <p:sldLayoutId id="2147483786" r:id="rId136"/>
    <p:sldLayoutId id="2147483787" r:id="rId137"/>
    <p:sldLayoutId id="2147483788" r:id="rId138"/>
    <p:sldLayoutId id="2147483789" r:id="rId139"/>
    <p:sldLayoutId id="2147483790" r:id="rId140"/>
    <p:sldLayoutId id="2147483791" r:id="rId141"/>
    <p:sldLayoutId id="2147483792" r:id="rId142"/>
    <p:sldLayoutId id="2147483793" r:id="rId143"/>
    <p:sldLayoutId id="2147483794" r:id="rId144"/>
    <p:sldLayoutId id="2147483795" r:id="rId145"/>
    <p:sldLayoutId id="2147483796" r:id="rId146"/>
    <p:sldLayoutId id="2147483797" r:id="rId147"/>
    <p:sldLayoutId id="2147483798" r:id="rId148"/>
    <p:sldLayoutId id="2147483799" r:id="rId149"/>
    <p:sldLayoutId id="2147483800" r:id="rId150"/>
    <p:sldLayoutId id="2147483801" r:id="rId151"/>
    <p:sldLayoutId id="2147483802" r:id="rId152"/>
    <p:sldLayoutId id="2147483803" r:id="rId153"/>
    <p:sldLayoutId id="2147483804" r:id="rId154"/>
    <p:sldLayoutId id="2147483805" r:id="rId155"/>
    <p:sldLayoutId id="2147483806" r:id="rId156"/>
    <p:sldLayoutId id="2147483807" r:id="rId157"/>
    <p:sldLayoutId id="2147483808" r:id="rId158"/>
    <p:sldLayoutId id="2147483809" r:id="rId159"/>
    <p:sldLayoutId id="2147483810" r:id="rId160"/>
    <p:sldLayoutId id="2147483811" r:id="rId161"/>
    <p:sldLayoutId id="2147483812" r:id="rId162"/>
    <p:sldLayoutId id="2147483813" r:id="rId163"/>
    <p:sldLayoutId id="2147483814" r:id="rId164"/>
    <p:sldLayoutId id="2147483815" r:id="rId165"/>
    <p:sldLayoutId id="2147483816" r:id="rId166"/>
    <p:sldLayoutId id="2147483817" r:id="rId167"/>
    <p:sldLayoutId id="2147483818" r:id="rId168"/>
    <p:sldLayoutId id="2147483819" r:id="rId169"/>
    <p:sldLayoutId id="2147483820" r:id="rId170"/>
    <p:sldLayoutId id="2147483821" r:id="rId171"/>
    <p:sldLayoutId id="2147483822" r:id="rId172"/>
    <p:sldLayoutId id="2147483823" r:id="rId173"/>
    <p:sldLayoutId id="2147483824" r:id="rId174"/>
    <p:sldLayoutId id="2147483825" r:id="rId175"/>
    <p:sldLayoutId id="2147483826" r:id="rId176"/>
    <p:sldLayoutId id="2147483827" r:id="rId177"/>
    <p:sldLayoutId id="2147483828" r:id="rId178"/>
    <p:sldLayoutId id="2147483829" r:id="rId179"/>
    <p:sldLayoutId id="2147483830" r:id="rId180"/>
    <p:sldLayoutId id="2147483831" r:id="rId181"/>
    <p:sldLayoutId id="2147483832" r:id="rId182"/>
    <p:sldLayoutId id="2147483833" r:id="rId183"/>
    <p:sldLayoutId id="2147483834" r:id="rId184"/>
    <p:sldLayoutId id="2147483835" r:id="rId185"/>
    <p:sldLayoutId id="2147483836" r:id="rId186"/>
    <p:sldLayoutId id="2147483837" r:id="rId187"/>
    <p:sldLayoutId id="2147483838" r:id="rId188"/>
    <p:sldLayoutId id="2147483839" r:id="rId189"/>
    <p:sldLayoutId id="2147483840" r:id="rId190"/>
    <p:sldLayoutId id="2147483841" r:id="rId191"/>
    <p:sldLayoutId id="2147483842" r:id="rId192"/>
    <p:sldLayoutId id="2147483843" r:id="rId193"/>
    <p:sldLayoutId id="2147483844" r:id="rId194"/>
    <p:sldLayoutId id="2147483845" r:id="rId195"/>
    <p:sldLayoutId id="2147483846" r:id="rId196"/>
    <p:sldLayoutId id="2147483847" r:id="rId197"/>
    <p:sldLayoutId id="2147483848" r:id="rId198"/>
    <p:sldLayoutId id="2147483849" r:id="rId199"/>
    <p:sldLayoutId id="2147483850" r:id="rId200"/>
    <p:sldLayoutId id="2147483851" r:id="rId201"/>
    <p:sldLayoutId id="2147483852" r:id="rId202"/>
    <p:sldLayoutId id="2147483853" r:id="rId203"/>
    <p:sldLayoutId id="2147483854" r:id="rId204"/>
    <p:sldLayoutId id="2147483855" r:id="rId205"/>
    <p:sldLayoutId id="2147483856" r:id="rId206"/>
    <p:sldLayoutId id="2147483857" r:id="rId207"/>
    <p:sldLayoutId id="2147483858" r:id="rId208"/>
    <p:sldLayoutId id="2147483859" r:id="rId209"/>
    <p:sldLayoutId id="2147483860" r:id="rId210"/>
    <p:sldLayoutId id="2147483861" r:id="rId211"/>
    <p:sldLayoutId id="2147483862" r:id="rId212"/>
    <p:sldLayoutId id="2147483863" r:id="rId213"/>
    <p:sldLayoutId id="2147483864" r:id="rId214"/>
    <p:sldLayoutId id="2147483865" r:id="rId215"/>
    <p:sldLayoutId id="2147483866" r:id="rId216"/>
    <p:sldLayoutId id="2147483867" r:id="rId217"/>
    <p:sldLayoutId id="2147485671" r:id="rId218"/>
    <p:sldLayoutId id="2147483869" r:id="rId219"/>
    <p:sldLayoutId id="2147483870" r:id="rId220"/>
    <p:sldLayoutId id="2147483871" r:id="rId221"/>
    <p:sldLayoutId id="2147483872" r:id="rId222"/>
    <p:sldLayoutId id="2147483873" r:id="rId223"/>
    <p:sldLayoutId id="2147483874" r:id="rId224"/>
    <p:sldLayoutId id="2147483875" r:id="rId225"/>
    <p:sldLayoutId id="2147483876" r:id="rId226"/>
    <p:sldLayoutId id="2147485696" r:id="rId227"/>
    <p:sldLayoutId id="2147485697" r:id="rId228"/>
    <p:sldLayoutId id="2147483879" r:id="rId229"/>
    <p:sldLayoutId id="2147483880" r:id="rId230"/>
    <p:sldLayoutId id="2147483881" r:id="rId231"/>
    <p:sldLayoutId id="2147483882" r:id="rId232"/>
    <p:sldLayoutId id="2147483883" r:id="rId233"/>
    <p:sldLayoutId id="2147483884" r:id="rId234"/>
    <p:sldLayoutId id="2147485735" r:id="rId235"/>
    <p:sldLayoutId id="2147483886" r:id="rId236"/>
    <p:sldLayoutId id="2147483887" r:id="rId237"/>
    <p:sldLayoutId id="2147483888" r:id="rId238"/>
    <p:sldLayoutId id="2147483889" r:id="rId239"/>
    <p:sldLayoutId id="2147483890" r:id="rId240"/>
    <p:sldLayoutId id="2147483891" r:id="rId241"/>
    <p:sldLayoutId id="2147483892" r:id="rId242"/>
    <p:sldLayoutId id="2147483893" r:id="rId243"/>
    <p:sldLayoutId id="2147483894" r:id="rId244"/>
    <p:sldLayoutId id="2147483895" r:id="rId245"/>
    <p:sldLayoutId id="2147483896" r:id="rId246"/>
    <p:sldLayoutId id="2147483897" r:id="rId247"/>
    <p:sldLayoutId id="2147483898" r:id="rId248"/>
    <p:sldLayoutId id="2147483899" r:id="rId249"/>
    <p:sldLayoutId id="2147483900" r:id="rId250"/>
    <p:sldLayoutId id="2147483901" r:id="rId251"/>
    <p:sldLayoutId id="2147483902" r:id="rId252"/>
    <p:sldLayoutId id="2147483903" r:id="rId253"/>
    <p:sldLayoutId id="2147483904" r:id="rId254"/>
    <p:sldLayoutId id="2147483905" r:id="rId255"/>
    <p:sldLayoutId id="2147483906" r:id="rId256"/>
    <p:sldLayoutId id="2147483907" r:id="rId257"/>
    <p:sldLayoutId id="2147483908" r:id="rId258"/>
    <p:sldLayoutId id="2147483909" r:id="rId259"/>
    <p:sldLayoutId id="2147483910" r:id="rId260"/>
    <p:sldLayoutId id="2147483911" r:id="rId261"/>
    <p:sldLayoutId id="2147483912" r:id="rId262"/>
    <p:sldLayoutId id="2147483913" r:id="rId263"/>
    <p:sldLayoutId id="2147483914" r:id="rId264"/>
    <p:sldLayoutId id="2147483915" r:id="rId265"/>
    <p:sldLayoutId id="2147483916" r:id="rId266"/>
    <p:sldLayoutId id="2147483917" r:id="rId267"/>
    <p:sldLayoutId id="2147483918" r:id="rId268"/>
    <p:sldLayoutId id="2147483919" r:id="rId269"/>
    <p:sldLayoutId id="2147483920" r:id="rId2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D07FF32-EB2A-3A34-47C3-076ADC8284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A42A8C4-C11C-34F7-1892-13EE728A07F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C0517E-DA78-5519-735F-DEBB67E005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2B8371-D38B-4C01-98E6-47F637E51C41}" type="datetimeFigureOut">
              <a:rPr lang="en-US" smtClean="0"/>
              <a:t>3/18/2024</a:t>
            </a:fld>
            <a:endParaRPr lang="en-US"/>
          </a:p>
        </p:txBody>
      </p:sp>
      <p:sp>
        <p:nvSpPr>
          <p:cNvPr id="5" name="Footer Placeholder 4">
            <a:extLst>
              <a:ext uri="{FF2B5EF4-FFF2-40B4-BE49-F238E27FC236}">
                <a16:creationId xmlns:a16="http://schemas.microsoft.com/office/drawing/2014/main" id="{F47D5B6D-237B-1808-F962-DB2F916905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3CC4AF5-7BF6-48DB-0632-1B46ED5C8A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3325B6-4B70-4C9B-91F4-029E53B84CC5}" type="slidenum">
              <a:rPr lang="en-US" smtClean="0"/>
              <a:t>‹#›</a:t>
            </a:fld>
            <a:endParaRPr lang="en-US"/>
          </a:p>
        </p:txBody>
      </p:sp>
    </p:spTree>
    <p:extLst>
      <p:ext uri="{BB962C8B-B14F-4D97-AF65-F5344CB8AC3E}">
        <p14:creationId xmlns:p14="http://schemas.microsoft.com/office/powerpoint/2010/main" val="2039778856"/>
      </p:ext>
    </p:extLst>
  </p:cSld>
  <p:clrMap bg1="lt1" tx1="dk1" bg2="lt2" tx2="dk2" accent1="accent1" accent2="accent2" accent3="accent3" accent4="accent4" accent5="accent5" accent6="accent6" hlink="hlink" folHlink="folHlink"/>
  <p:sldLayoutIdLst>
    <p:sldLayoutId id="2147486680" r:id="rId1"/>
    <p:sldLayoutId id="2147486681" r:id="rId2"/>
    <p:sldLayoutId id="2147486682" r:id="rId3"/>
    <p:sldLayoutId id="2147486683" r:id="rId4"/>
    <p:sldLayoutId id="2147486684" r:id="rId5"/>
    <p:sldLayoutId id="2147486685" r:id="rId6"/>
    <p:sldLayoutId id="2147486686" r:id="rId7"/>
    <p:sldLayoutId id="2147486687" r:id="rId8"/>
    <p:sldLayoutId id="2147486688" r:id="rId9"/>
    <p:sldLayoutId id="2147486689" r:id="rId10"/>
    <p:sldLayoutId id="21474866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5DC5B261-8843-42D1-AAFC-05E20E2D9B97}" type="datetimeFigureOut">
              <a:rPr lang="en-US" smtClean="0"/>
              <a:t>3/18/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smtClean="0"/>
              <a:pPr/>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64720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8253" r:id="rId6"/>
    <p:sldLayoutId id="2147488254" r:id="rId7"/>
    <p:sldLayoutId id="2147488255" r:id="rId8"/>
    <p:sldLayoutId id="2147488256" r:id="rId9"/>
    <p:sldLayoutId id="2147488257" r:id="rId10"/>
    <p:sldLayoutId id="2147483672" r:id="rId11"/>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3/1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8247" r:id="rId1"/>
    <p:sldLayoutId id="2147488248" r:id="rId2"/>
    <p:sldLayoutId id="2147488249" r:id="rId3"/>
    <p:sldLayoutId id="2147488250" r:id="rId4"/>
    <p:sldLayoutId id="2147488251" r:id="rId5"/>
    <p:sldLayoutId id="2147488252" r:id="rId6"/>
    <p:sldLayoutId id="2147483667" r:id="rId7"/>
    <p:sldLayoutId id="2147483668" r:id="rId8"/>
    <p:sldLayoutId id="2147483669" r:id="rId9"/>
    <p:sldLayoutId id="2147483670" r:id="rId10"/>
    <p:sldLayoutId id="2147483671" r:id="rId11"/>
    <p:sldLayoutId id="2147488242" r:id="rId12"/>
    <p:sldLayoutId id="2147488243" r:id="rId13"/>
    <p:sldLayoutId id="2147488244" r:id="rId14"/>
    <p:sldLayoutId id="2147488245" r:id="rId15"/>
    <p:sldLayoutId id="214748825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F4D17F-9DD3-4010-BB29-D4C0893046D8}" type="datetimeFigureOut">
              <a:rPr lang="en-US" smtClean="0"/>
              <a:t>3/1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375EE-A5DE-40F3-9099-C6D11A865E7E}" type="slidenum">
              <a:rPr lang="en-US" smtClean="0"/>
              <a:t>‹#›</a:t>
            </a:fld>
            <a:endParaRPr lang="en-US"/>
          </a:p>
        </p:txBody>
      </p:sp>
    </p:spTree>
    <p:extLst>
      <p:ext uri="{BB962C8B-B14F-4D97-AF65-F5344CB8AC3E}">
        <p14:creationId xmlns:p14="http://schemas.microsoft.com/office/powerpoint/2010/main" val="1812650384"/>
      </p:ext>
    </p:extLst>
  </p:cSld>
  <p:clrMap bg1="lt1" tx1="dk1" bg2="lt2" tx2="dk2" accent1="accent1" accent2="accent2" accent3="accent3" accent4="accent4" accent5="accent5" accent6="accent6" hlink="hlink" folHlink="folHlink"/>
  <p:sldLayoutIdLst>
    <p:sldLayoutId id="2147488260" r:id="rId1"/>
    <p:sldLayoutId id="2147488261" r:id="rId2"/>
    <p:sldLayoutId id="2147488262" r:id="rId3"/>
    <p:sldLayoutId id="2147488263" r:id="rId4"/>
    <p:sldLayoutId id="2147488264" r:id="rId5"/>
    <p:sldLayoutId id="2147488265" r:id="rId6"/>
    <p:sldLayoutId id="2147488266" r:id="rId7"/>
    <p:sldLayoutId id="2147488267" r:id="rId8"/>
    <p:sldLayoutId id="2147488268" r:id="rId9"/>
    <p:sldLayoutId id="2147488269" r:id="rId10"/>
    <p:sldLayoutId id="214748827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248865306"/>
      </p:ext>
    </p:extLst>
  </p:cSld>
  <p:clrMap bg1="lt1" tx1="dk1" bg2="lt2" tx2="dk2" accent1="accent1" accent2="accent2" accent3="accent3" accent4="accent4" accent5="accent5" accent6="accent6" hlink="hlink" folHlink="folHlink"/>
  <p:sldLayoutIdLst>
    <p:sldLayoutId id="2147488272" r:id="rId1"/>
    <p:sldLayoutId id="2147488273" r:id="rId2"/>
    <p:sldLayoutId id="2147488274" r:id="rId3"/>
    <p:sldLayoutId id="2147488275" r:id="rId4"/>
    <p:sldLayoutId id="2147488276" r:id="rId5"/>
    <p:sldLayoutId id="2147488277" r:id="rId6"/>
    <p:sldLayoutId id="2147488278" r:id="rId7"/>
    <p:sldLayoutId id="2147488279" r:id="rId8"/>
    <p:sldLayoutId id="2147488280" r:id="rId9"/>
    <p:sldLayoutId id="2147488281" r:id="rId10"/>
    <p:sldLayoutId id="2147488282" r:id="rId11"/>
    <p:sldLayoutId id="2147488283" r:id="rId12"/>
    <p:sldLayoutId id="2147488284" r:id="rId13"/>
    <p:sldLayoutId id="2147488285" r:id="rId14"/>
    <p:sldLayoutId id="2147488286" r:id="rId15"/>
    <p:sldLayoutId id="2147488287" r:id="rId16"/>
    <p:sldLayoutId id="2147488288" r:id="rId17"/>
    <p:sldLayoutId id="2147488289" r:id="rId18"/>
    <p:sldLayoutId id="2147488290" r:id="rId19"/>
    <p:sldLayoutId id="2147488291" r:id="rId20"/>
    <p:sldLayoutId id="2147488292" r:id="rId21"/>
    <p:sldLayoutId id="2147488293" r:id="rId22"/>
    <p:sldLayoutId id="2147488294" r:id="rId23"/>
    <p:sldLayoutId id="2147488295" r:id="rId24"/>
    <p:sldLayoutId id="2147488296" r:id="rId25"/>
    <p:sldLayoutId id="2147488297" r:id="rId26"/>
    <p:sldLayoutId id="2147488298" r:id="rId27"/>
    <p:sldLayoutId id="2147488299" r:id="rId28"/>
    <p:sldLayoutId id="2147488300" r:id="rId29"/>
    <p:sldLayoutId id="2147488301" r:id="rId30"/>
    <p:sldLayoutId id="2147488302" r:id="rId31"/>
    <p:sldLayoutId id="2147488303" r:id="rId32"/>
    <p:sldLayoutId id="2147488304" r:id="rId33"/>
    <p:sldLayoutId id="2147488305" r:id="rId34"/>
    <p:sldLayoutId id="2147488306" r:id="rId35"/>
    <p:sldLayoutId id="2147488307" r:id="rId36"/>
    <p:sldLayoutId id="2147488308" r:id="rId37"/>
    <p:sldLayoutId id="2147488309" r:id="rId38"/>
    <p:sldLayoutId id="2147488310" r:id="rId39"/>
    <p:sldLayoutId id="2147488311" r:id="rId40"/>
    <p:sldLayoutId id="2147488312" r:id="rId41"/>
    <p:sldLayoutId id="2147488313" r:id="rId42"/>
    <p:sldLayoutId id="2147488314" r:id="rId43"/>
    <p:sldLayoutId id="2147488315" r:id="rId44"/>
    <p:sldLayoutId id="2147488316" r:id="rId45"/>
    <p:sldLayoutId id="2147488317" r:id="rId46"/>
    <p:sldLayoutId id="2147488318" r:id="rId47"/>
    <p:sldLayoutId id="2147488319" r:id="rId48"/>
    <p:sldLayoutId id="2147488320" r:id="rId49"/>
    <p:sldLayoutId id="2147488321" r:id="rId50"/>
    <p:sldLayoutId id="2147488322" r:id="rId51"/>
    <p:sldLayoutId id="2147488323" r:id="rId52"/>
    <p:sldLayoutId id="2147488324" r:id="rId53"/>
    <p:sldLayoutId id="2147488325" r:id="rId54"/>
    <p:sldLayoutId id="2147488326" r:id="rId55"/>
    <p:sldLayoutId id="2147488327" r:id="rId56"/>
    <p:sldLayoutId id="2147488328" r:id="rId57"/>
    <p:sldLayoutId id="2147488329" r:id="rId58"/>
    <p:sldLayoutId id="2147488330" r:id="rId59"/>
    <p:sldLayoutId id="2147488331" r:id="rId60"/>
    <p:sldLayoutId id="2147488332" r:id="rId61"/>
    <p:sldLayoutId id="2147488333" r:id="rId62"/>
    <p:sldLayoutId id="2147488334" r:id="rId63"/>
    <p:sldLayoutId id="2147488335" r:id="rId64"/>
    <p:sldLayoutId id="2147488336" r:id="rId65"/>
    <p:sldLayoutId id="2147488337" r:id="rId66"/>
    <p:sldLayoutId id="2147488338" r:id="rId67"/>
    <p:sldLayoutId id="2147488339" r:id="rId68"/>
    <p:sldLayoutId id="2147488340" r:id="rId69"/>
    <p:sldLayoutId id="2147488341" r:id="rId70"/>
    <p:sldLayoutId id="2147488342" r:id="rId71"/>
    <p:sldLayoutId id="2147488343" r:id="rId72"/>
    <p:sldLayoutId id="2147488344" r:id="rId73"/>
    <p:sldLayoutId id="2147488345" r:id="rId74"/>
    <p:sldLayoutId id="2147488346" r:id="rId75"/>
    <p:sldLayoutId id="2147488347" r:id="rId76"/>
    <p:sldLayoutId id="2147488348" r:id="rId77"/>
    <p:sldLayoutId id="2147488349" r:id="rId78"/>
    <p:sldLayoutId id="2147488350" r:id="rId79"/>
    <p:sldLayoutId id="2147488351" r:id="rId80"/>
    <p:sldLayoutId id="2147488352" r:id="rId81"/>
    <p:sldLayoutId id="2147488353" r:id="rId82"/>
    <p:sldLayoutId id="2147488354" r:id="rId83"/>
    <p:sldLayoutId id="2147488355" r:id="rId84"/>
    <p:sldLayoutId id="2147488356" r:id="rId85"/>
    <p:sldLayoutId id="2147488357" r:id="rId86"/>
    <p:sldLayoutId id="2147488358" r:id="rId87"/>
    <p:sldLayoutId id="2147488359" r:id="rId88"/>
    <p:sldLayoutId id="2147488360" r:id="rId89"/>
    <p:sldLayoutId id="2147488361" r:id="rId90"/>
    <p:sldLayoutId id="2147488362" r:id="rId91"/>
    <p:sldLayoutId id="2147488363" r:id="rId92"/>
    <p:sldLayoutId id="2147488364" r:id="rId93"/>
    <p:sldLayoutId id="2147488365" r:id="rId94"/>
    <p:sldLayoutId id="2147488366" r:id="rId95"/>
    <p:sldLayoutId id="2147488367" r:id="rId96"/>
    <p:sldLayoutId id="2147488368" r:id="rId97"/>
    <p:sldLayoutId id="2147488369" r:id="rId98"/>
    <p:sldLayoutId id="2147488370" r:id="rId99"/>
    <p:sldLayoutId id="2147488371" r:id="rId100"/>
    <p:sldLayoutId id="2147488372" r:id="rId101"/>
    <p:sldLayoutId id="2147488373" r:id="rId102"/>
    <p:sldLayoutId id="2147488374" r:id="rId103"/>
    <p:sldLayoutId id="2147488375" r:id="rId104"/>
    <p:sldLayoutId id="2147488376" r:id="rId105"/>
    <p:sldLayoutId id="2147488377" r:id="rId106"/>
    <p:sldLayoutId id="2147488378" r:id="rId107"/>
    <p:sldLayoutId id="2147488379" r:id="rId108"/>
    <p:sldLayoutId id="2147488380" r:id="rId109"/>
    <p:sldLayoutId id="2147488381" r:id="rId110"/>
    <p:sldLayoutId id="2147488382" r:id="rId111"/>
    <p:sldLayoutId id="2147488383" r:id="rId112"/>
    <p:sldLayoutId id="2147488384" r:id="rId113"/>
    <p:sldLayoutId id="2147488385" r:id="rId114"/>
    <p:sldLayoutId id="2147488386" r:id="rId115"/>
    <p:sldLayoutId id="2147488387" r:id="rId116"/>
    <p:sldLayoutId id="2147488388" r:id="rId117"/>
    <p:sldLayoutId id="2147488389" r:id="rId118"/>
    <p:sldLayoutId id="2147488390" r:id="rId119"/>
    <p:sldLayoutId id="2147488391" r:id="rId120"/>
    <p:sldLayoutId id="2147488392" r:id="rId121"/>
    <p:sldLayoutId id="2147488393" r:id="rId122"/>
    <p:sldLayoutId id="2147488394" r:id="rId123"/>
    <p:sldLayoutId id="2147488395" r:id="rId124"/>
    <p:sldLayoutId id="2147488396" r:id="rId125"/>
    <p:sldLayoutId id="2147488397" r:id="rId126"/>
    <p:sldLayoutId id="2147488398" r:id="rId127"/>
    <p:sldLayoutId id="2147488399" r:id="rId128"/>
    <p:sldLayoutId id="2147488400" r:id="rId129"/>
    <p:sldLayoutId id="2147488401" r:id="rId130"/>
    <p:sldLayoutId id="2147488402" r:id="rId131"/>
    <p:sldLayoutId id="2147488403" r:id="rId132"/>
    <p:sldLayoutId id="2147488404" r:id="rId133"/>
    <p:sldLayoutId id="2147488405" r:id="rId134"/>
    <p:sldLayoutId id="2147488406" r:id="rId135"/>
    <p:sldLayoutId id="2147488407" r:id="rId136"/>
    <p:sldLayoutId id="2147488408" r:id="rId137"/>
    <p:sldLayoutId id="2147488409" r:id="rId138"/>
    <p:sldLayoutId id="2147488410" r:id="rId139"/>
    <p:sldLayoutId id="2147488411" r:id="rId140"/>
    <p:sldLayoutId id="2147488412" r:id="rId141"/>
    <p:sldLayoutId id="2147488413" r:id="rId142"/>
    <p:sldLayoutId id="2147488414" r:id="rId143"/>
    <p:sldLayoutId id="2147488415" r:id="rId144"/>
    <p:sldLayoutId id="2147488416" r:id="rId145"/>
    <p:sldLayoutId id="2147488417" r:id="rId146"/>
    <p:sldLayoutId id="2147488418" r:id="rId147"/>
    <p:sldLayoutId id="2147488419" r:id="rId148"/>
    <p:sldLayoutId id="2147488420" r:id="rId149"/>
    <p:sldLayoutId id="2147488421" r:id="rId150"/>
    <p:sldLayoutId id="2147488422" r:id="rId151"/>
    <p:sldLayoutId id="2147488423" r:id="rId152"/>
    <p:sldLayoutId id="2147488424" r:id="rId153"/>
    <p:sldLayoutId id="2147488425" r:id="rId154"/>
    <p:sldLayoutId id="2147488426" r:id="rId155"/>
    <p:sldLayoutId id="2147488427" r:id="rId156"/>
    <p:sldLayoutId id="2147488428" r:id="rId157"/>
    <p:sldLayoutId id="2147488429" r:id="rId158"/>
    <p:sldLayoutId id="2147488430" r:id="rId159"/>
    <p:sldLayoutId id="2147488431" r:id="rId160"/>
    <p:sldLayoutId id="2147488432" r:id="rId161"/>
    <p:sldLayoutId id="2147488433" r:id="rId162"/>
    <p:sldLayoutId id="2147488434" r:id="rId163"/>
    <p:sldLayoutId id="2147488435" r:id="rId164"/>
    <p:sldLayoutId id="2147488436" r:id="rId165"/>
    <p:sldLayoutId id="2147488437" r:id="rId166"/>
    <p:sldLayoutId id="2147488438" r:id="rId167"/>
    <p:sldLayoutId id="2147488439" r:id="rId168"/>
    <p:sldLayoutId id="2147488440" r:id="rId169"/>
    <p:sldLayoutId id="2147488441" r:id="rId170"/>
    <p:sldLayoutId id="2147488442" r:id="rId171"/>
    <p:sldLayoutId id="2147488443" r:id="rId172"/>
    <p:sldLayoutId id="2147488444" r:id="rId173"/>
    <p:sldLayoutId id="2147488445" r:id="rId174"/>
    <p:sldLayoutId id="2147488446" r:id="rId175"/>
    <p:sldLayoutId id="2147488447" r:id="rId176"/>
    <p:sldLayoutId id="2147488448" r:id="rId177"/>
    <p:sldLayoutId id="2147488449" r:id="rId178"/>
    <p:sldLayoutId id="2147488450" r:id="rId179"/>
    <p:sldLayoutId id="2147488451" r:id="rId180"/>
    <p:sldLayoutId id="2147488452" r:id="rId181"/>
    <p:sldLayoutId id="2147488453" r:id="rId182"/>
    <p:sldLayoutId id="2147488454" r:id="rId183"/>
    <p:sldLayoutId id="2147488455" r:id="rId184"/>
    <p:sldLayoutId id="2147488456" r:id="rId185"/>
    <p:sldLayoutId id="2147488457" r:id="rId186"/>
    <p:sldLayoutId id="2147488458" r:id="rId187"/>
    <p:sldLayoutId id="2147488459" r:id="rId188"/>
    <p:sldLayoutId id="2147488460" r:id="rId189"/>
    <p:sldLayoutId id="2147488461" r:id="rId190"/>
    <p:sldLayoutId id="2147488462" r:id="rId191"/>
    <p:sldLayoutId id="2147488463" r:id="rId192"/>
    <p:sldLayoutId id="2147488464" r:id="rId193"/>
    <p:sldLayoutId id="2147488465" r:id="rId194"/>
    <p:sldLayoutId id="2147488466" r:id="rId195"/>
    <p:sldLayoutId id="2147488467" r:id="rId196"/>
    <p:sldLayoutId id="2147488468" r:id="rId197"/>
    <p:sldLayoutId id="2147488469" r:id="rId198"/>
    <p:sldLayoutId id="2147488470" r:id="rId199"/>
    <p:sldLayoutId id="2147488471" r:id="rId200"/>
    <p:sldLayoutId id="2147488472" r:id="rId201"/>
    <p:sldLayoutId id="2147488473" r:id="rId202"/>
    <p:sldLayoutId id="2147488474" r:id="rId203"/>
    <p:sldLayoutId id="2147488475" r:id="rId204"/>
    <p:sldLayoutId id="2147488476" r:id="rId205"/>
    <p:sldLayoutId id="2147488477" r:id="rId206"/>
    <p:sldLayoutId id="2147488478" r:id="rId207"/>
    <p:sldLayoutId id="2147488479" r:id="rId208"/>
    <p:sldLayoutId id="2147488480" r:id="rId209"/>
    <p:sldLayoutId id="2147488481" r:id="rId210"/>
    <p:sldLayoutId id="2147488482" r:id="rId211"/>
    <p:sldLayoutId id="2147488483" r:id="rId212"/>
    <p:sldLayoutId id="2147488484" r:id="rId213"/>
    <p:sldLayoutId id="2147488485" r:id="rId214"/>
    <p:sldLayoutId id="2147488486" r:id="rId215"/>
    <p:sldLayoutId id="2147488487" r:id="rId216"/>
    <p:sldLayoutId id="2147488488" r:id="rId217"/>
    <p:sldLayoutId id="2147488489" r:id="rId218"/>
    <p:sldLayoutId id="2147488490" r:id="rId219"/>
    <p:sldLayoutId id="2147488491" r:id="rId220"/>
    <p:sldLayoutId id="2147488492" r:id="rId221"/>
    <p:sldLayoutId id="2147488493" r:id="rId222"/>
    <p:sldLayoutId id="2147488494" r:id="rId223"/>
    <p:sldLayoutId id="2147488495" r:id="rId224"/>
    <p:sldLayoutId id="2147488496" r:id="rId225"/>
    <p:sldLayoutId id="2147488497" r:id="rId226"/>
    <p:sldLayoutId id="2147488498" r:id="rId227"/>
    <p:sldLayoutId id="2147488499" r:id="rId228"/>
    <p:sldLayoutId id="2147488500" r:id="rId229"/>
    <p:sldLayoutId id="2147488501" r:id="rId230"/>
    <p:sldLayoutId id="2147488502" r:id="rId231"/>
    <p:sldLayoutId id="2147488503" r:id="rId232"/>
    <p:sldLayoutId id="2147488504" r:id="rId233"/>
    <p:sldLayoutId id="2147488505" r:id="rId234"/>
    <p:sldLayoutId id="2147488506" r:id="rId235"/>
    <p:sldLayoutId id="2147488507" r:id="rId236"/>
    <p:sldLayoutId id="2147488508" r:id="rId237"/>
    <p:sldLayoutId id="2147488509" r:id="rId238"/>
    <p:sldLayoutId id="2147488510" r:id="rId239"/>
    <p:sldLayoutId id="2147488511" r:id="rId240"/>
    <p:sldLayoutId id="2147488512" r:id="rId241"/>
    <p:sldLayoutId id="2147488513" r:id="rId242"/>
    <p:sldLayoutId id="2147488514" r:id="rId243"/>
    <p:sldLayoutId id="2147488515" r:id="rId244"/>
    <p:sldLayoutId id="2147488516" r:id="rId245"/>
    <p:sldLayoutId id="2147488517" r:id="rId246"/>
    <p:sldLayoutId id="2147488518" r:id="rId247"/>
    <p:sldLayoutId id="2147488519" r:id="rId248"/>
    <p:sldLayoutId id="2147488520" r:id="rId249"/>
    <p:sldLayoutId id="2147488521" r:id="rId250"/>
    <p:sldLayoutId id="2147488522" r:id="rId251"/>
    <p:sldLayoutId id="2147488523" r:id="rId252"/>
    <p:sldLayoutId id="2147488524" r:id="rId253"/>
    <p:sldLayoutId id="2147488525" r:id="rId254"/>
    <p:sldLayoutId id="2147488526" r:id="rId255"/>
    <p:sldLayoutId id="2147488527" r:id="rId256"/>
    <p:sldLayoutId id="2147488528" r:id="rId257"/>
    <p:sldLayoutId id="2147488529" r:id="rId258"/>
    <p:sldLayoutId id="2147488530" r:id="rId259"/>
    <p:sldLayoutId id="2147488531" r:id="rId260"/>
    <p:sldLayoutId id="2147488532" r:id="rId261"/>
    <p:sldLayoutId id="2147488533" r:id="rId262"/>
    <p:sldLayoutId id="2147488534" r:id="rId263"/>
    <p:sldLayoutId id="2147488535" r:id="rId264"/>
    <p:sldLayoutId id="2147488536" r:id="rId265"/>
    <p:sldLayoutId id="2147488537" r:id="rId266"/>
    <p:sldLayoutId id="2147488538" r:id="rId267"/>
    <p:sldLayoutId id="2147488539" r:id="rId268"/>
    <p:sldLayoutId id="2147488540" r:id="rId269"/>
    <p:sldLayoutId id="2147488541" r:id="rId270"/>
    <p:sldLayoutId id="2147488542" r:id="rId271"/>
    <p:sldLayoutId id="2147488543" r:id="rId272"/>
    <p:sldLayoutId id="2147488544" r:id="rId273"/>
    <p:sldLayoutId id="2147488545" r:id="rId274"/>
    <p:sldLayoutId id="2147488546" r:id="rId275"/>
    <p:sldLayoutId id="2147488547" r:id="rId276"/>
    <p:sldLayoutId id="2147488548" r:id="rId277"/>
    <p:sldLayoutId id="2147488549" r:id="rId278"/>
    <p:sldLayoutId id="2147488550" r:id="rId279"/>
    <p:sldLayoutId id="2147488551" r:id="rId280"/>
    <p:sldLayoutId id="2147488552" r:id="rId281"/>
    <p:sldLayoutId id="2147488553" r:id="rId282"/>
    <p:sldLayoutId id="2147488554" r:id="rId283"/>
    <p:sldLayoutId id="2147488555" r:id="rId284"/>
    <p:sldLayoutId id="2147488556" r:id="rId285"/>
    <p:sldLayoutId id="2147488557" r:id="rId286"/>
    <p:sldLayoutId id="2147488558" r:id="rId287"/>
    <p:sldLayoutId id="2147488559" r:id="rId288"/>
    <p:sldLayoutId id="2147488560" r:id="rId289"/>
    <p:sldLayoutId id="2147488561" r:id="rId290"/>
    <p:sldLayoutId id="2147488562" r:id="rId291"/>
    <p:sldLayoutId id="2147488563" r:id="rId292"/>
    <p:sldLayoutId id="2147488564" r:id="rId293"/>
    <p:sldLayoutId id="2147488565" r:id="rId294"/>
    <p:sldLayoutId id="2147488566" r:id="rId295"/>
    <p:sldLayoutId id="2147488567" r:id="rId296"/>
    <p:sldLayoutId id="2147488568" r:id="rId297"/>
    <p:sldLayoutId id="2147488569" r:id="rId298"/>
    <p:sldLayoutId id="2147488570" r:id="rId299"/>
    <p:sldLayoutId id="2147488571" r:id="rId300"/>
    <p:sldLayoutId id="2147488572" r:id="rId301"/>
    <p:sldLayoutId id="2147488573" r:id="rId302"/>
    <p:sldLayoutId id="2147488574" r:id="rId303"/>
    <p:sldLayoutId id="2147488575" r:id="rId304"/>
    <p:sldLayoutId id="2147488576" r:id="rId305"/>
    <p:sldLayoutId id="2147488577" r:id="rId306"/>
    <p:sldLayoutId id="2147488578" r:id="rId307"/>
    <p:sldLayoutId id="2147488579" r:id="rId308"/>
    <p:sldLayoutId id="2147488580" r:id="rId309"/>
    <p:sldLayoutId id="2147488581" r:id="rId310"/>
    <p:sldLayoutId id="2147488582" r:id="rId311"/>
    <p:sldLayoutId id="2147488583" r:id="rId312"/>
    <p:sldLayoutId id="2147488584" r:id="rId313"/>
    <p:sldLayoutId id="2147488585" r:id="rId314"/>
    <p:sldLayoutId id="2147488586" r:id="rId315"/>
    <p:sldLayoutId id="2147488587" r:id="rId316"/>
    <p:sldLayoutId id="2147488588" r:id="rId317"/>
    <p:sldLayoutId id="2147488589" r:id="rId318"/>
    <p:sldLayoutId id="2147488590" r:id="rId319"/>
    <p:sldLayoutId id="2147488591" r:id="rId320"/>
    <p:sldLayoutId id="2147488592" r:id="rId321"/>
    <p:sldLayoutId id="2147488593" r:id="rId322"/>
    <p:sldLayoutId id="2147488594" r:id="rId323"/>
    <p:sldLayoutId id="2147488595" r:id="rId324"/>
    <p:sldLayoutId id="2147488596" r:id="rId325"/>
    <p:sldLayoutId id="2147488597" r:id="rId326"/>
    <p:sldLayoutId id="2147488598" r:id="rId327"/>
    <p:sldLayoutId id="2147488599" r:id="rId328"/>
    <p:sldLayoutId id="2147488600" r:id="rId329"/>
    <p:sldLayoutId id="2147488601" r:id="rId330"/>
    <p:sldLayoutId id="2147488602" r:id="rId331"/>
    <p:sldLayoutId id="2147488603" r:id="rId332"/>
    <p:sldLayoutId id="2147488604" r:id="rId333"/>
    <p:sldLayoutId id="2147488605" r:id="rId334"/>
    <p:sldLayoutId id="2147488606" r:id="rId335"/>
    <p:sldLayoutId id="2147488607" r:id="rId336"/>
    <p:sldLayoutId id="2147488608" r:id="rId337"/>
    <p:sldLayoutId id="2147488609" r:id="rId338"/>
    <p:sldLayoutId id="2147488610" r:id="rId339"/>
    <p:sldLayoutId id="2147488611" r:id="rId340"/>
    <p:sldLayoutId id="2147488612" r:id="rId341"/>
    <p:sldLayoutId id="2147488613" r:id="rId342"/>
    <p:sldLayoutId id="2147488614" r:id="rId343"/>
    <p:sldLayoutId id="2147488615" r:id="rId344"/>
    <p:sldLayoutId id="2147488616" r:id="rId345"/>
    <p:sldLayoutId id="2147488617" r:id="rId346"/>
    <p:sldLayoutId id="2147488618" r:id="rId347"/>
    <p:sldLayoutId id="2147488619" r:id="rId348"/>
    <p:sldLayoutId id="2147488620" r:id="rId349"/>
    <p:sldLayoutId id="2147488621" r:id="rId350"/>
    <p:sldLayoutId id="2147488622" r:id="rId351"/>
    <p:sldLayoutId id="2147488623" r:id="rId352"/>
    <p:sldLayoutId id="2147488624" r:id="rId353"/>
    <p:sldLayoutId id="2147488625" r:id="rId354"/>
    <p:sldLayoutId id="2147488626" r:id="rId355"/>
    <p:sldLayoutId id="2147488627" r:id="rId356"/>
    <p:sldLayoutId id="2147488628" r:id="rId357"/>
    <p:sldLayoutId id="2147488629" r:id="rId358"/>
    <p:sldLayoutId id="2147488630" r:id="rId359"/>
    <p:sldLayoutId id="2147488631" r:id="rId360"/>
    <p:sldLayoutId id="2147488632" r:id="rId361"/>
    <p:sldLayoutId id="2147488633" r:id="rId362"/>
    <p:sldLayoutId id="2147488634" r:id="rId363"/>
    <p:sldLayoutId id="2147488635" r:id="rId364"/>
    <p:sldLayoutId id="2147488636" r:id="rId365"/>
    <p:sldLayoutId id="2147488637" r:id="rId366"/>
    <p:sldLayoutId id="2147488638" r:id="rId367"/>
    <p:sldLayoutId id="2147488639" r:id="rId368"/>
    <p:sldLayoutId id="2147488640" r:id="rId369"/>
    <p:sldLayoutId id="2147488641" r:id="rId370"/>
    <p:sldLayoutId id="2147488642" r:id="rId371"/>
    <p:sldLayoutId id="2147488643" r:id="rId372"/>
    <p:sldLayoutId id="2147488644" r:id="rId373"/>
    <p:sldLayoutId id="2147488645" r:id="rId374"/>
    <p:sldLayoutId id="2147488646" r:id="rId375"/>
    <p:sldLayoutId id="2147488647" r:id="rId376"/>
    <p:sldLayoutId id="2147488648" r:id="rId377"/>
    <p:sldLayoutId id="2147488649" r:id="rId378"/>
    <p:sldLayoutId id="2147488650" r:id="rId379"/>
    <p:sldLayoutId id="2147488651" r:id="rId380"/>
    <p:sldLayoutId id="2147488652" r:id="rId381"/>
    <p:sldLayoutId id="2147488653" r:id="rId382"/>
    <p:sldLayoutId id="2147488654" r:id="rId383"/>
    <p:sldLayoutId id="2147488655" r:id="rId384"/>
    <p:sldLayoutId id="2147488656" r:id="rId385"/>
    <p:sldLayoutId id="2147488657" r:id="rId386"/>
    <p:sldLayoutId id="2147488658" r:id="rId387"/>
    <p:sldLayoutId id="2147488659" r:id="rId388"/>
    <p:sldLayoutId id="2147488660" r:id="rId389"/>
    <p:sldLayoutId id="2147488661" r:id="rId390"/>
    <p:sldLayoutId id="2147488662" r:id="rId391"/>
    <p:sldLayoutId id="2147488663" r:id="rId392"/>
    <p:sldLayoutId id="2147488664" r:id="rId393"/>
    <p:sldLayoutId id="2147488665" r:id="rId394"/>
    <p:sldLayoutId id="2147488666" r:id="rId395"/>
    <p:sldLayoutId id="2147488667" r:id="rId396"/>
    <p:sldLayoutId id="2147488668" r:id="rId397"/>
    <p:sldLayoutId id="2147488669" r:id="rId398"/>
    <p:sldLayoutId id="2147488670" r:id="rId399"/>
    <p:sldLayoutId id="2147488671" r:id="rId400"/>
    <p:sldLayoutId id="2147488672" r:id="rId401"/>
    <p:sldLayoutId id="2147488673" r:id="rId402"/>
    <p:sldLayoutId id="2147488674" r:id="rId403"/>
    <p:sldLayoutId id="2147488675" r:id="rId404"/>
    <p:sldLayoutId id="2147488676" r:id="rId405"/>
    <p:sldLayoutId id="2147488677" r:id="rId406"/>
    <p:sldLayoutId id="2147488678" r:id="rId407"/>
    <p:sldLayoutId id="2147488679" r:id="rId408"/>
    <p:sldLayoutId id="2147488680" r:id="rId409"/>
    <p:sldLayoutId id="2147488681" r:id="rId410"/>
    <p:sldLayoutId id="2147488682" r:id="rId411"/>
    <p:sldLayoutId id="2147488683" r:id="rId412"/>
    <p:sldLayoutId id="2147488684" r:id="rId413"/>
    <p:sldLayoutId id="2147488685" r:id="rId414"/>
    <p:sldLayoutId id="2147488686" r:id="rId415"/>
    <p:sldLayoutId id="2147488687" r:id="rId416"/>
    <p:sldLayoutId id="2147488688" r:id="rId417"/>
    <p:sldLayoutId id="2147488689" r:id="rId418"/>
    <p:sldLayoutId id="2147488690" r:id="rId419"/>
    <p:sldLayoutId id="2147488691" r:id="rId420"/>
    <p:sldLayoutId id="2147488692" r:id="rId421"/>
    <p:sldLayoutId id="2147488693" r:id="rId422"/>
    <p:sldLayoutId id="2147488694" r:id="rId423"/>
    <p:sldLayoutId id="2147488695" r:id="rId424"/>
    <p:sldLayoutId id="2147488696" r:id="rId425"/>
    <p:sldLayoutId id="2147488697" r:id="rId426"/>
    <p:sldLayoutId id="2147488698" r:id="rId427"/>
    <p:sldLayoutId id="2147488699" r:id="rId428"/>
    <p:sldLayoutId id="2147488700" r:id="rId429"/>
    <p:sldLayoutId id="2147488701" r:id="rId430"/>
    <p:sldLayoutId id="2147488702" r:id="rId431"/>
    <p:sldLayoutId id="2147488703" r:id="rId432"/>
    <p:sldLayoutId id="2147488704" r:id="rId433"/>
    <p:sldLayoutId id="2147488705" r:id="rId434"/>
    <p:sldLayoutId id="2147488706" r:id="rId435"/>
    <p:sldLayoutId id="2147488707" r:id="rId436"/>
    <p:sldLayoutId id="2147488708" r:id="rId437"/>
    <p:sldLayoutId id="2147488709" r:id="rId438"/>
    <p:sldLayoutId id="2147488710" r:id="rId439"/>
    <p:sldLayoutId id="2147488711" r:id="rId440"/>
    <p:sldLayoutId id="2147488712" r:id="rId441"/>
    <p:sldLayoutId id="2147488713" r:id="rId442"/>
    <p:sldLayoutId id="2147488714" r:id="rId443"/>
    <p:sldLayoutId id="2147488715" r:id="rId444"/>
    <p:sldLayoutId id="2147488716" r:id="rId445"/>
    <p:sldLayoutId id="2147488717" r:id="rId446"/>
    <p:sldLayoutId id="2147488718" r:id="rId447"/>
    <p:sldLayoutId id="2147488719" r:id="rId448"/>
    <p:sldLayoutId id="2147488720" r:id="rId449"/>
    <p:sldLayoutId id="2147488721" r:id="rId450"/>
    <p:sldLayoutId id="2147488722" r:id="rId451"/>
    <p:sldLayoutId id="2147488723" r:id="rId452"/>
    <p:sldLayoutId id="2147488724" r:id="rId453"/>
    <p:sldLayoutId id="2147488725" r:id="rId454"/>
    <p:sldLayoutId id="2147488726" r:id="rId455"/>
    <p:sldLayoutId id="2147488727" r:id="rId456"/>
    <p:sldLayoutId id="2147488728" r:id="rId457"/>
    <p:sldLayoutId id="2147488729" r:id="rId458"/>
    <p:sldLayoutId id="2147488730" r:id="rId459"/>
    <p:sldLayoutId id="2147488731" r:id="rId460"/>
    <p:sldLayoutId id="2147488732" r:id="rId461"/>
    <p:sldLayoutId id="2147488733" r:id="rId462"/>
    <p:sldLayoutId id="2147488734" r:id="rId463"/>
    <p:sldLayoutId id="2147488735" r:id="rId46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93"/>
        <p:cNvGrpSpPr/>
        <p:nvPr/>
      </p:nvGrpSpPr>
      <p:grpSpPr>
        <a:xfrm>
          <a:off x="0" y="0"/>
          <a:ext cx="0" cy="0"/>
          <a:chOff x="0" y="0"/>
          <a:chExt cx="0" cy="0"/>
        </a:xfrm>
      </p:grpSpPr>
      <p:sp>
        <p:nvSpPr>
          <p:cNvPr id="2694" name="Google Shape;2694;p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95" name="Google Shape;2695;p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96" name="Google Shape;2696;p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697" name="Google Shape;2697;p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2" r:id="rId61"/>
    <p:sldLayoutId id="2147483983" r:id="rId62"/>
    <p:sldLayoutId id="2147483984" r:id="rId63"/>
    <p:sldLayoutId id="2147483985" r:id="rId64"/>
    <p:sldLayoutId id="2147483986" r:id="rId65"/>
    <p:sldLayoutId id="2147483987" r:id="rId66"/>
    <p:sldLayoutId id="2147483988" r:id="rId67"/>
    <p:sldLayoutId id="2147483989" r:id="rId68"/>
    <p:sldLayoutId id="2147483990" r:id="rId69"/>
    <p:sldLayoutId id="2147483991" r:id="rId70"/>
    <p:sldLayoutId id="2147483992" r:id="rId71"/>
    <p:sldLayoutId id="2147483993" r:id="rId72"/>
    <p:sldLayoutId id="2147483994" r:id="rId73"/>
    <p:sldLayoutId id="2147483995" r:id="rId74"/>
    <p:sldLayoutId id="2147483996" r:id="rId75"/>
    <p:sldLayoutId id="2147483997" r:id="rId76"/>
    <p:sldLayoutId id="2147483998" r:id="rId77"/>
    <p:sldLayoutId id="2147483999" r:id="rId78"/>
    <p:sldLayoutId id="2147484000" r:id="rId79"/>
    <p:sldLayoutId id="2147484001" r:id="rId80"/>
    <p:sldLayoutId id="2147484002" r:id="rId81"/>
    <p:sldLayoutId id="2147484003" r:id="rId82"/>
    <p:sldLayoutId id="2147484004" r:id="rId83"/>
    <p:sldLayoutId id="2147484005" r:id="rId84"/>
    <p:sldLayoutId id="2147484006" r:id="rId85"/>
    <p:sldLayoutId id="2147484007" r:id="rId86"/>
    <p:sldLayoutId id="2147484008" r:id="rId87"/>
    <p:sldLayoutId id="2147484009" r:id="rId88"/>
    <p:sldLayoutId id="2147484010" r:id="rId89"/>
    <p:sldLayoutId id="2147484011" r:id="rId90"/>
    <p:sldLayoutId id="2147484012" r:id="rId91"/>
    <p:sldLayoutId id="2147484013" r:id="rId92"/>
    <p:sldLayoutId id="2147484014" r:id="rId93"/>
    <p:sldLayoutId id="2147484015" r:id="rId94"/>
    <p:sldLayoutId id="2147484016" r:id="rId95"/>
    <p:sldLayoutId id="2147484017" r:id="rId96"/>
    <p:sldLayoutId id="2147484018" r:id="rId97"/>
    <p:sldLayoutId id="2147484019" r:id="rId98"/>
    <p:sldLayoutId id="2147484020" r:id="rId99"/>
    <p:sldLayoutId id="2147484021" r:id="rId100"/>
    <p:sldLayoutId id="2147484022" r:id="rId101"/>
    <p:sldLayoutId id="2147484023" r:id="rId102"/>
    <p:sldLayoutId id="2147484024" r:id="rId103"/>
    <p:sldLayoutId id="2147484025" r:id="rId104"/>
    <p:sldLayoutId id="2147484026" r:id="rId105"/>
    <p:sldLayoutId id="2147484027" r:id="rId106"/>
    <p:sldLayoutId id="2147484028" r:id="rId107"/>
    <p:sldLayoutId id="2147484029" r:id="rId108"/>
    <p:sldLayoutId id="2147484030" r:id="rId109"/>
    <p:sldLayoutId id="2147484031" r:id="rId110"/>
    <p:sldLayoutId id="2147484032" r:id="rId111"/>
    <p:sldLayoutId id="2147484033" r:id="rId112"/>
    <p:sldLayoutId id="2147484034" r:id="rId113"/>
    <p:sldLayoutId id="2147484035" r:id="rId114"/>
    <p:sldLayoutId id="2147484036" r:id="rId115"/>
    <p:sldLayoutId id="2147484037" r:id="rId116"/>
    <p:sldLayoutId id="2147484038" r:id="rId117"/>
    <p:sldLayoutId id="2147484039" r:id="rId118"/>
    <p:sldLayoutId id="2147484040" r:id="rId119"/>
    <p:sldLayoutId id="2147484041" r:id="rId120"/>
    <p:sldLayoutId id="2147484042" r:id="rId121"/>
    <p:sldLayoutId id="2147484043" r:id="rId122"/>
    <p:sldLayoutId id="2147484044" r:id="rId123"/>
    <p:sldLayoutId id="2147484045" r:id="rId124"/>
    <p:sldLayoutId id="2147484046" r:id="rId125"/>
    <p:sldLayoutId id="2147484047" r:id="rId126"/>
    <p:sldLayoutId id="2147484048" r:id="rId127"/>
    <p:sldLayoutId id="2147484049" r:id="rId128"/>
    <p:sldLayoutId id="2147484050" r:id="rId129"/>
    <p:sldLayoutId id="2147484051" r:id="rId130"/>
    <p:sldLayoutId id="2147484052" r:id="rId131"/>
    <p:sldLayoutId id="2147484053" r:id="rId132"/>
    <p:sldLayoutId id="2147484054" r:id="rId133"/>
    <p:sldLayoutId id="2147484055" r:id="rId134"/>
    <p:sldLayoutId id="2147484056" r:id="rId135"/>
    <p:sldLayoutId id="2147484057" r:id="rId136"/>
    <p:sldLayoutId id="2147484058" r:id="rId137"/>
    <p:sldLayoutId id="2147484059" r:id="rId138"/>
    <p:sldLayoutId id="2147484060" r:id="rId139"/>
    <p:sldLayoutId id="2147484061" r:id="rId140"/>
    <p:sldLayoutId id="2147484062" r:id="rId141"/>
    <p:sldLayoutId id="2147484063" r:id="rId142"/>
    <p:sldLayoutId id="2147484064" r:id="rId143"/>
    <p:sldLayoutId id="2147484065" r:id="rId144"/>
    <p:sldLayoutId id="2147484066" r:id="rId145"/>
    <p:sldLayoutId id="2147484067" r:id="rId146"/>
    <p:sldLayoutId id="2147484068" r:id="rId147"/>
    <p:sldLayoutId id="2147484069" r:id="rId148"/>
    <p:sldLayoutId id="2147484070" r:id="rId14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181"/>
        <p:cNvGrpSpPr/>
        <p:nvPr/>
      </p:nvGrpSpPr>
      <p:grpSpPr>
        <a:xfrm>
          <a:off x="0" y="0"/>
          <a:ext cx="0" cy="0"/>
          <a:chOff x="0" y="0"/>
          <a:chExt cx="0" cy="0"/>
        </a:xfrm>
      </p:grpSpPr>
      <p:sp>
        <p:nvSpPr>
          <p:cNvPr id="4182" name="Google Shape;4182;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183" name="Google Shape;4183;p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184" name="Google Shape;4184;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919497"/>
              </a:buClr>
              <a:buSzPts val="1200"/>
              <a:buFont typeface="Calibri"/>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4185" name="Google Shape;4185;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919497"/>
              </a:buClr>
              <a:buSzPts val="1400"/>
              <a:buFont typeface="Calibri"/>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 id="2147484114" r:id="rId43"/>
    <p:sldLayoutId id="2147484115" r:id="rId44"/>
    <p:sldLayoutId id="2147484116" r:id="rId45"/>
    <p:sldLayoutId id="2147484117" r:id="rId46"/>
    <p:sldLayoutId id="2147484118" r:id="rId47"/>
    <p:sldLayoutId id="2147484119" r:id="rId48"/>
    <p:sldLayoutId id="2147484120" r:id="rId49"/>
    <p:sldLayoutId id="2147484121" r:id="rId50"/>
    <p:sldLayoutId id="2147484122" r:id="rId51"/>
    <p:sldLayoutId id="2147484123" r:id="rId52"/>
    <p:sldLayoutId id="2147484124" r:id="rId53"/>
    <p:sldLayoutId id="2147484125" r:id="rId54"/>
    <p:sldLayoutId id="2147484126" r:id="rId55"/>
    <p:sldLayoutId id="2147484127" r:id="rId56"/>
    <p:sldLayoutId id="2147484128" r:id="rId57"/>
    <p:sldLayoutId id="2147484129" r:id="rId58"/>
    <p:sldLayoutId id="2147484130" r:id="rId59"/>
    <p:sldLayoutId id="2147484131" r:id="rId60"/>
    <p:sldLayoutId id="2147484132" r:id="rId61"/>
    <p:sldLayoutId id="2147484133" r:id="rId62"/>
    <p:sldLayoutId id="2147484134" r:id="rId63"/>
    <p:sldLayoutId id="2147484135" r:id="rId64"/>
    <p:sldLayoutId id="2147484136" r:id="rId65"/>
    <p:sldLayoutId id="2147484137" r:id="rId66"/>
    <p:sldLayoutId id="2147484138" r:id="rId67"/>
    <p:sldLayoutId id="2147484139" r:id="rId68"/>
    <p:sldLayoutId id="2147484140" r:id="rId69"/>
    <p:sldLayoutId id="2147484141" r:id="rId70"/>
    <p:sldLayoutId id="2147484142" r:id="rId71"/>
    <p:sldLayoutId id="2147484143" r:id="rId72"/>
    <p:sldLayoutId id="2147484144" r:id="rId73"/>
    <p:sldLayoutId id="2147484145" r:id="rId74"/>
    <p:sldLayoutId id="2147484146" r:id="rId75"/>
    <p:sldLayoutId id="2147484147" r:id="rId76"/>
    <p:sldLayoutId id="2147484148" r:id="rId77"/>
    <p:sldLayoutId id="2147484149" r:id="rId78"/>
    <p:sldLayoutId id="2147484150" r:id="rId79"/>
    <p:sldLayoutId id="2147484151" r:id="rId80"/>
    <p:sldLayoutId id="2147484152" r:id="rId81"/>
    <p:sldLayoutId id="2147484153" r:id="rId82"/>
    <p:sldLayoutId id="2147484154" r:id="rId83"/>
    <p:sldLayoutId id="2147484155" r:id="rId84"/>
    <p:sldLayoutId id="2147484156" r:id="rId85"/>
    <p:sldLayoutId id="2147484157" r:id="rId86"/>
    <p:sldLayoutId id="2147484158" r:id="rId87"/>
    <p:sldLayoutId id="2147484159" r:id="rId88"/>
    <p:sldLayoutId id="2147484160" r:id="rId89"/>
    <p:sldLayoutId id="2147484161" r:id="rId90"/>
    <p:sldLayoutId id="2147484162" r:id="rId91"/>
    <p:sldLayoutId id="2147484163" r:id="rId92"/>
    <p:sldLayoutId id="2147484164" r:id="rId93"/>
    <p:sldLayoutId id="2147484165" r:id="rId94"/>
    <p:sldLayoutId id="2147484166" r:id="rId95"/>
    <p:sldLayoutId id="2147484167" r:id="rId96"/>
    <p:sldLayoutId id="2147484168" r:id="rId97"/>
    <p:sldLayoutId id="2147484169" r:id="rId98"/>
    <p:sldLayoutId id="2147484170" r:id="rId99"/>
    <p:sldLayoutId id="2147484171" r:id="rId100"/>
    <p:sldLayoutId id="2147484172" r:id="rId101"/>
    <p:sldLayoutId id="2147484173" r:id="rId102"/>
    <p:sldLayoutId id="2147484174" r:id="rId103"/>
    <p:sldLayoutId id="2147484175" r:id="rId104"/>
    <p:sldLayoutId id="2147484176" r:id="rId105"/>
    <p:sldLayoutId id="2147484177" r:id="rId106"/>
    <p:sldLayoutId id="2147484178" r:id="rId107"/>
    <p:sldLayoutId id="2147484179" r:id="rId108"/>
    <p:sldLayoutId id="2147484180" r:id="rId109"/>
    <p:sldLayoutId id="2147484181" r:id="rId110"/>
    <p:sldLayoutId id="2147484182" r:id="rId111"/>
    <p:sldLayoutId id="2147484183" r:id="rId112"/>
    <p:sldLayoutId id="2147484184" r:id="rId113"/>
    <p:sldLayoutId id="2147484185" r:id="rId114"/>
    <p:sldLayoutId id="2147484186" r:id="rId115"/>
    <p:sldLayoutId id="2147484187" r:id="rId116"/>
    <p:sldLayoutId id="2147484188" r:id="rId117"/>
    <p:sldLayoutId id="2147484189" r:id="rId118"/>
    <p:sldLayoutId id="2147484190" r:id="rId119"/>
    <p:sldLayoutId id="2147484191" r:id="rId120"/>
    <p:sldLayoutId id="2147484192" r:id="rId121"/>
    <p:sldLayoutId id="2147484193" r:id="rId122"/>
    <p:sldLayoutId id="2147484194" r:id="rId123"/>
    <p:sldLayoutId id="2147484195" r:id="rId124"/>
    <p:sldLayoutId id="2147484196" r:id="rId125"/>
    <p:sldLayoutId id="2147484197" r:id="rId126"/>
    <p:sldLayoutId id="2147484198" r:id="rId127"/>
    <p:sldLayoutId id="2147484199" r:id="rId128"/>
    <p:sldLayoutId id="2147485608" r:id="rId129"/>
    <p:sldLayoutId id="2147484201" r:id="rId130"/>
    <p:sldLayoutId id="2147484202" r:id="rId131"/>
    <p:sldLayoutId id="2147484203" r:id="rId132"/>
    <p:sldLayoutId id="2147484204" r:id="rId133"/>
    <p:sldLayoutId id="2147485609" r:id="rId134"/>
    <p:sldLayoutId id="2147485610" r:id="rId135"/>
    <p:sldLayoutId id="2147484207" r:id="rId136"/>
    <p:sldLayoutId id="2147484208" r:id="rId137"/>
    <p:sldLayoutId id="2147484209" r:id="rId138"/>
    <p:sldLayoutId id="2147484210" r:id="rId139"/>
    <p:sldLayoutId id="2147484211" r:id="rId140"/>
    <p:sldLayoutId id="2147484212" r:id="rId141"/>
    <p:sldLayoutId id="2147484213" r:id="rId142"/>
    <p:sldLayoutId id="2147484214" r:id="rId143"/>
    <p:sldLayoutId id="2147484215" r:id="rId144"/>
    <p:sldLayoutId id="2147484216" r:id="rId145"/>
    <p:sldLayoutId id="2147484217" r:id="rId146"/>
    <p:sldLayoutId id="2147484218" r:id="rId147"/>
    <p:sldLayoutId id="2147484219" r:id="rId148"/>
    <p:sldLayoutId id="2147484220" r:id="rId149"/>
    <p:sldLayoutId id="2147484221" r:id="rId150"/>
    <p:sldLayoutId id="2147484222" r:id="rId151"/>
    <p:sldLayoutId id="2147484223" r:id="rId152"/>
    <p:sldLayoutId id="2147484224" r:id="rId153"/>
    <p:sldLayoutId id="2147484225" r:id="rId154"/>
    <p:sldLayoutId id="2147484226" r:id="rId155"/>
    <p:sldLayoutId id="2147484227" r:id="rId156"/>
    <p:sldLayoutId id="2147484228" r:id="rId157"/>
    <p:sldLayoutId id="2147484229" r:id="rId158"/>
    <p:sldLayoutId id="2147484230" r:id="rId159"/>
    <p:sldLayoutId id="2147485639" r:id="rId160"/>
    <p:sldLayoutId id="2147484232" r:id="rId161"/>
    <p:sldLayoutId id="2147484233" r:id="rId162"/>
    <p:sldLayoutId id="2147484234" r:id="rId163"/>
    <p:sldLayoutId id="2147485641" r:id="rId164"/>
    <p:sldLayoutId id="2147484236" r:id="rId165"/>
    <p:sldLayoutId id="2147484237" r:id="rId166"/>
    <p:sldLayoutId id="2147485607" r:id="rId167"/>
    <p:sldLayoutId id="2147484239" r:id="rId168"/>
    <p:sldLayoutId id="2147484240" r:id="rId169"/>
    <p:sldLayoutId id="2147484241" r:id="rId170"/>
    <p:sldLayoutId id="2147484242" r:id="rId171"/>
    <p:sldLayoutId id="2147484243" r:id="rId172"/>
    <p:sldLayoutId id="2147484244" r:id="rId173"/>
    <p:sldLayoutId id="2147484245" r:id="rId174"/>
    <p:sldLayoutId id="2147484246" r:id="rId175"/>
    <p:sldLayoutId id="2147484247" r:id="rId176"/>
    <p:sldLayoutId id="2147484248" r:id="rId177"/>
    <p:sldLayoutId id="2147484249" r:id="rId178"/>
    <p:sldLayoutId id="2147484250" r:id="rId179"/>
    <p:sldLayoutId id="2147485636" r:id="rId180"/>
    <p:sldLayoutId id="2147484252" r:id="rId181"/>
    <p:sldLayoutId id="2147484253" r:id="rId182"/>
    <p:sldLayoutId id="2147485635" r:id="rId183"/>
    <p:sldLayoutId id="2147484255" r:id="rId184"/>
    <p:sldLayoutId id="2147484256" r:id="rId185"/>
    <p:sldLayoutId id="2147485634" r:id="rId186"/>
    <p:sldLayoutId id="2147485633" r:id="rId187"/>
    <p:sldLayoutId id="2147484259" r:id="rId188"/>
    <p:sldLayoutId id="2147485694" r:id="rId189"/>
    <p:sldLayoutId id="2147484261" r:id="rId190"/>
    <p:sldLayoutId id="2147484262" r:id="rId191"/>
    <p:sldLayoutId id="2147484263" r:id="rId192"/>
    <p:sldLayoutId id="2147484264" r:id="rId193"/>
    <p:sldLayoutId id="2147484265" r:id="rId194"/>
    <p:sldLayoutId id="2147484266" r:id="rId195"/>
    <p:sldLayoutId id="2147484267" r:id="rId196"/>
    <p:sldLayoutId id="2147485640" r:id="rId197"/>
    <p:sldLayoutId id="2147484269" r:id="rId198"/>
    <p:sldLayoutId id="2147484270" r:id="rId199"/>
    <p:sldLayoutId id="2147484271" r:id="rId200"/>
    <p:sldLayoutId id="2147484272" r:id="rId201"/>
    <p:sldLayoutId id="2147484273" r:id="rId202"/>
    <p:sldLayoutId id="2147484274" r:id="rId203"/>
    <p:sldLayoutId id="2147484275" r:id="rId204"/>
    <p:sldLayoutId id="2147484276" r:id="rId205"/>
    <p:sldLayoutId id="2147484277" r:id="rId206"/>
    <p:sldLayoutId id="2147484278" r:id="rId207"/>
    <p:sldLayoutId id="2147484279" r:id="rId208"/>
    <p:sldLayoutId id="2147484280" r:id="rId209"/>
    <p:sldLayoutId id="2147484281" r:id="rId210"/>
    <p:sldLayoutId id="2147484282" r:id="rId211"/>
    <p:sldLayoutId id="2147484283" r:id="rId212"/>
    <p:sldLayoutId id="2147484284" r:id="rId213"/>
    <p:sldLayoutId id="2147484285" r:id="rId214"/>
    <p:sldLayoutId id="2147484286" r:id="rId215"/>
    <p:sldLayoutId id="2147484287" r:id="rId216"/>
    <p:sldLayoutId id="2147484288" r:id="rId217"/>
    <p:sldLayoutId id="2147484289" r:id="rId218"/>
    <p:sldLayoutId id="2147484290" r:id="rId219"/>
    <p:sldLayoutId id="2147484291" r:id="rId220"/>
    <p:sldLayoutId id="2147484292" r:id="rId221"/>
    <p:sldLayoutId id="2147484293" r:id="rId222"/>
    <p:sldLayoutId id="2147484294" r:id="rId223"/>
    <p:sldLayoutId id="2147484295" r:id="rId224"/>
    <p:sldLayoutId id="2147484296" r:id="rId225"/>
    <p:sldLayoutId id="2147484297" r:id="rId226"/>
    <p:sldLayoutId id="2147484298" r:id="rId227"/>
    <p:sldLayoutId id="2147484299" r:id="rId228"/>
    <p:sldLayoutId id="2147484300" r:id="rId229"/>
    <p:sldLayoutId id="2147484301" r:id="rId230"/>
    <p:sldLayoutId id="2147484302" r:id="rId231"/>
    <p:sldLayoutId id="2147484303" r:id="rId232"/>
    <p:sldLayoutId id="2147484304" r:id="rId233"/>
    <p:sldLayoutId id="2147484305" r:id="rId234"/>
    <p:sldLayoutId id="2147484306" r:id="rId235"/>
    <p:sldLayoutId id="2147484307" r:id="rId236"/>
    <p:sldLayoutId id="2147484308" r:id="rId237"/>
    <p:sldLayoutId id="2147484309" r:id="rId238"/>
    <p:sldLayoutId id="2147484310" r:id="rId239"/>
    <p:sldLayoutId id="2147484311" r:id="rId240"/>
    <p:sldLayoutId id="2147484312" r:id="rId241"/>
    <p:sldLayoutId id="2147485653" r:id="rId242"/>
    <p:sldLayoutId id="2147484314" r:id="rId243"/>
    <p:sldLayoutId id="2147485654" r:id="rId244"/>
    <p:sldLayoutId id="2147484316" r:id="rId245"/>
    <p:sldLayoutId id="2147484317" r:id="rId246"/>
    <p:sldLayoutId id="2147484318" r:id="rId247"/>
    <p:sldLayoutId id="2147484319" r:id="rId248"/>
    <p:sldLayoutId id="2147484320" r:id="rId249"/>
    <p:sldLayoutId id="2147484321" r:id="rId250"/>
    <p:sldLayoutId id="2147484322" r:id="rId251"/>
    <p:sldLayoutId id="2147484323" r:id="rId252"/>
    <p:sldLayoutId id="2147484324" r:id="rId253"/>
    <p:sldLayoutId id="2147484325" r:id="rId254"/>
    <p:sldLayoutId id="2147484326" r:id="rId255"/>
    <p:sldLayoutId id="2147484327" r:id="rId256"/>
    <p:sldLayoutId id="2147484328" r:id="rId257"/>
    <p:sldLayoutId id="2147485685" r:id="rId258"/>
    <p:sldLayoutId id="2147485686" r:id="rId259"/>
    <p:sldLayoutId id="2147485687" r:id="rId260"/>
    <p:sldLayoutId id="2147485688" r:id="rId261"/>
    <p:sldLayoutId id="2147484333" r:id="rId262"/>
    <p:sldLayoutId id="2147484334" r:id="rId263"/>
    <p:sldLayoutId id="2147485658" r:id="rId264"/>
    <p:sldLayoutId id="2147485659" r:id="rId265"/>
    <p:sldLayoutId id="2147485660" r:id="rId266"/>
    <p:sldLayoutId id="2147484338" r:id="rId267"/>
    <p:sldLayoutId id="2147485663" r:id="rId268"/>
    <p:sldLayoutId id="2147485664" r:id="rId269"/>
    <p:sldLayoutId id="2147485665" r:id="rId270"/>
    <p:sldLayoutId id="2147485666" r:id="rId271"/>
    <p:sldLayoutId id="2147485667" r:id="rId272"/>
    <p:sldLayoutId id="2147485668" r:id="rId273"/>
    <p:sldLayoutId id="2147484345" r:id="rId274"/>
    <p:sldLayoutId id="2147484346" r:id="rId275"/>
    <p:sldLayoutId id="2147484347" r:id="rId276"/>
    <p:sldLayoutId id="2147484348" r:id="rId277"/>
    <p:sldLayoutId id="2147485707" r:id="rId278"/>
    <p:sldLayoutId id="2147485623" r:id="rId279"/>
    <p:sldLayoutId id="2147485622" r:id="rId280"/>
    <p:sldLayoutId id="2147485624" r:id="rId281"/>
    <p:sldLayoutId id="2147485604" r:id="rId282"/>
    <p:sldLayoutId id="2147485708" r:id="rId283"/>
    <p:sldLayoutId id="2147485630" r:id="rId284"/>
    <p:sldLayoutId id="2147485631" r:id="rId285"/>
    <p:sldLayoutId id="2147485736" r:id="rId286"/>
    <p:sldLayoutId id="2147484358" r:id="rId287"/>
    <p:sldLayoutId id="2147484359" r:id="rId288"/>
    <p:sldLayoutId id="2147484360" r:id="rId289"/>
    <p:sldLayoutId id="2147484361" r:id="rId290"/>
    <p:sldLayoutId id="2147485617" r:id="rId291"/>
    <p:sldLayoutId id="2147485618" r:id="rId292"/>
    <p:sldLayoutId id="2147485669" r:id="rId293"/>
    <p:sldLayoutId id="2147485619" r:id="rId294"/>
    <p:sldLayoutId id="2147485620" r:id="rId295"/>
    <p:sldLayoutId id="2147485621" r:id="rId296"/>
    <p:sldLayoutId id="2147484368" r:id="rId297"/>
    <p:sldLayoutId id="2147484369" r:id="rId298"/>
    <p:sldLayoutId id="2147484370" r:id="rId299"/>
    <p:sldLayoutId id="2147484371" r:id="rId300"/>
    <p:sldLayoutId id="2147484372" r:id="rId301"/>
    <p:sldLayoutId id="2147484373" r:id="rId302"/>
    <p:sldLayoutId id="2147484374" r:id="rId303"/>
    <p:sldLayoutId id="2147484375" r:id="rId304"/>
    <p:sldLayoutId id="2147485710" r:id="rId305"/>
    <p:sldLayoutId id="2147484377" r:id="rId306"/>
    <p:sldLayoutId id="2147484378" r:id="rId307"/>
    <p:sldLayoutId id="2147485711" r:id="rId308"/>
    <p:sldLayoutId id="2147484380" r:id="rId309"/>
    <p:sldLayoutId id="2147484381" r:id="rId310"/>
    <p:sldLayoutId id="2147484382" r:id="rId311"/>
    <p:sldLayoutId id="2147484383" r:id="rId312"/>
    <p:sldLayoutId id="2147485601" r:id="rId313"/>
    <p:sldLayoutId id="2147485602" r:id="rId314"/>
    <p:sldLayoutId id="2147485681" r:id="rId315"/>
    <p:sldLayoutId id="2147484387" r:id="rId316"/>
    <p:sldLayoutId id="2147484388" r:id="rId317"/>
    <p:sldLayoutId id="2147484389" r:id="rId318"/>
    <p:sldLayoutId id="2147484390" r:id="rId319"/>
    <p:sldLayoutId id="2147485603" r:id="rId320"/>
    <p:sldLayoutId id="2147484392" r:id="rId321"/>
    <p:sldLayoutId id="2147485632" r:id="rId322"/>
    <p:sldLayoutId id="2147484394" r:id="rId323"/>
    <p:sldLayoutId id="2147484395" r:id="rId324"/>
    <p:sldLayoutId id="2147484396" r:id="rId325"/>
    <p:sldLayoutId id="2147484397" r:id="rId326"/>
    <p:sldLayoutId id="2147484398" r:id="rId327"/>
    <p:sldLayoutId id="2147484399" r:id="rId328"/>
    <p:sldLayoutId id="2147485648" r:id="rId329"/>
    <p:sldLayoutId id="2147485649" r:id="rId330"/>
    <p:sldLayoutId id="2147485650" r:id="rId331"/>
    <p:sldLayoutId id="2147484403" r:id="rId332"/>
    <p:sldLayoutId id="2147484404" r:id="rId333"/>
    <p:sldLayoutId id="2147484405" r:id="rId334"/>
    <p:sldLayoutId id="2147484406" r:id="rId335"/>
    <p:sldLayoutId id="2147484407" r:id="rId336"/>
    <p:sldLayoutId id="2147484408" r:id="rId337"/>
    <p:sldLayoutId id="2147484409" r:id="rId338"/>
    <p:sldLayoutId id="2147484410" r:id="rId339"/>
    <p:sldLayoutId id="2147484411" r:id="rId340"/>
    <p:sldLayoutId id="2147484412" r:id="rId341"/>
    <p:sldLayoutId id="2147484413" r:id="rId342"/>
    <p:sldLayoutId id="2147484414" r:id="rId343"/>
    <p:sldLayoutId id="2147484415" r:id="rId344"/>
    <p:sldLayoutId id="2147484416" r:id="rId345"/>
    <p:sldLayoutId id="2147484417" r:id="rId346"/>
    <p:sldLayoutId id="2147484418" r:id="rId347"/>
    <p:sldLayoutId id="2147484419" r:id="rId348"/>
    <p:sldLayoutId id="2147484420" r:id="rId349"/>
    <p:sldLayoutId id="2147484421" r:id="rId350"/>
    <p:sldLayoutId id="2147484422" r:id="rId351"/>
    <p:sldLayoutId id="2147484423" r:id="rId352"/>
    <p:sldLayoutId id="2147484424" r:id="rId353"/>
    <p:sldLayoutId id="2147484425" r:id="rId354"/>
    <p:sldLayoutId id="2147484426" r:id="rId355"/>
    <p:sldLayoutId id="2147484427" r:id="rId356"/>
    <p:sldLayoutId id="2147484428" r:id="rId357"/>
    <p:sldLayoutId id="2147484429" r:id="rId358"/>
    <p:sldLayoutId id="2147484430" r:id="rId359"/>
    <p:sldLayoutId id="2147484431" r:id="rId360"/>
    <p:sldLayoutId id="2147484432" r:id="rId361"/>
    <p:sldLayoutId id="2147484433" r:id="rId362"/>
    <p:sldLayoutId id="2147484434" r:id="rId363"/>
    <p:sldLayoutId id="2147484435" r:id="rId364"/>
    <p:sldLayoutId id="2147484436" r:id="rId365"/>
    <p:sldLayoutId id="2147484437" r:id="rId366"/>
    <p:sldLayoutId id="2147484438" r:id="rId367"/>
    <p:sldLayoutId id="2147484439" r:id="rId368"/>
    <p:sldLayoutId id="2147484440" r:id="rId369"/>
    <p:sldLayoutId id="2147484441" r:id="rId370"/>
    <p:sldLayoutId id="2147484442" r:id="rId371"/>
    <p:sldLayoutId id="2147484443" r:id="rId372"/>
    <p:sldLayoutId id="2147484444" r:id="rId373"/>
    <p:sldLayoutId id="2147484445" r:id="rId374"/>
    <p:sldLayoutId id="2147484446" r:id="rId375"/>
    <p:sldLayoutId id="2147484447" r:id="rId376"/>
    <p:sldLayoutId id="2147484448" r:id="rId377"/>
    <p:sldLayoutId id="2147484449" r:id="rId378"/>
    <p:sldLayoutId id="2147484450" r:id="rId379"/>
    <p:sldLayoutId id="2147484451" r:id="rId380"/>
    <p:sldLayoutId id="2147484452" r:id="rId381"/>
    <p:sldLayoutId id="2147484453" r:id="rId382"/>
    <p:sldLayoutId id="2147484454" r:id="rId383"/>
    <p:sldLayoutId id="2147484455" r:id="rId384"/>
    <p:sldLayoutId id="2147484456" r:id="rId385"/>
    <p:sldLayoutId id="2147484457" r:id="rId386"/>
    <p:sldLayoutId id="2147484458" r:id="rId387"/>
    <p:sldLayoutId id="2147484459" r:id="rId388"/>
    <p:sldLayoutId id="2147484460" r:id="rId389"/>
    <p:sldLayoutId id="2147484461" r:id="rId390"/>
    <p:sldLayoutId id="2147484462" r:id="rId391"/>
    <p:sldLayoutId id="2147484463" r:id="rId392"/>
    <p:sldLayoutId id="2147484464" r:id="rId393"/>
    <p:sldLayoutId id="2147484465" r:id="rId394"/>
    <p:sldLayoutId id="2147484466" r:id="rId395"/>
    <p:sldLayoutId id="2147484467" r:id="rId396"/>
    <p:sldLayoutId id="2147484468" r:id="rId397"/>
    <p:sldLayoutId id="2147484469" r:id="rId398"/>
    <p:sldLayoutId id="2147484470" r:id="rId399"/>
    <p:sldLayoutId id="2147484471" r:id="rId400"/>
    <p:sldLayoutId id="2147484472" r:id="rId401"/>
    <p:sldLayoutId id="2147484473" r:id="rId402"/>
    <p:sldLayoutId id="2147484474" r:id="rId403"/>
    <p:sldLayoutId id="2147484475" r:id="rId404"/>
    <p:sldLayoutId id="2147484476" r:id="rId405"/>
    <p:sldLayoutId id="2147485692" r:id="rId406"/>
    <p:sldLayoutId id="2147485693" r:id="rId407"/>
    <p:sldLayoutId id="2147484479" r:id="rId408"/>
    <p:sldLayoutId id="2147484480" r:id="rId409"/>
    <p:sldLayoutId id="2147484481" r:id="rId410"/>
    <p:sldLayoutId id="2147484482" r:id="rId411"/>
    <p:sldLayoutId id="2147485695" r:id="rId412"/>
    <p:sldLayoutId id="2147484484" r:id="rId413"/>
    <p:sldLayoutId id="2147485689" r:id="rId414"/>
    <p:sldLayoutId id="2147485690" r:id="rId415"/>
    <p:sldLayoutId id="2147484487" r:id="rId416"/>
    <p:sldLayoutId id="2147485656" r:id="rId417"/>
    <p:sldLayoutId id="2147484489" r:id="rId418"/>
    <p:sldLayoutId id="2147484490" r:id="rId419"/>
    <p:sldLayoutId id="2147484491" r:id="rId420"/>
    <p:sldLayoutId id="2147484492" r:id="rId421"/>
    <p:sldLayoutId id="2147484493" r:id="rId422"/>
    <p:sldLayoutId id="2147484494" r:id="rId423"/>
    <p:sldLayoutId id="2147484495" r:id="rId424"/>
    <p:sldLayoutId id="2147484496" r:id="rId425"/>
    <p:sldLayoutId id="2147484497" r:id="rId426"/>
    <p:sldLayoutId id="2147484498" r:id="rId427"/>
    <p:sldLayoutId id="2147484499" r:id="rId428"/>
    <p:sldLayoutId id="2147484500" r:id="rId429"/>
    <p:sldLayoutId id="2147484501" r:id="rId430"/>
    <p:sldLayoutId id="2147484502" r:id="rId431"/>
    <p:sldLayoutId id="2147484503" r:id="rId432"/>
    <p:sldLayoutId id="2147484504" r:id="rId433"/>
    <p:sldLayoutId id="2147484505" r:id="rId434"/>
    <p:sldLayoutId id="2147484506" r:id="rId435"/>
    <p:sldLayoutId id="2147484507" r:id="rId436"/>
    <p:sldLayoutId id="2147484508" r:id="rId437"/>
    <p:sldLayoutId id="2147484509" r:id="rId438"/>
    <p:sldLayoutId id="2147484510" r:id="rId439"/>
    <p:sldLayoutId id="2147484511" r:id="rId440"/>
    <p:sldLayoutId id="2147484512" r:id="rId441"/>
    <p:sldLayoutId id="2147484513" r:id="rId442"/>
    <p:sldLayoutId id="2147484514" r:id="rId443"/>
    <p:sldLayoutId id="2147484515" r:id="rId444"/>
    <p:sldLayoutId id="2147484516" r:id="rId445"/>
    <p:sldLayoutId id="2147484517" r:id="rId446"/>
    <p:sldLayoutId id="2147484518" r:id="rId447"/>
    <p:sldLayoutId id="2147484519" r:id="rId448"/>
    <p:sldLayoutId id="2147484520" r:id="rId449"/>
    <p:sldLayoutId id="2147484521" r:id="rId450"/>
    <p:sldLayoutId id="2147484522" r:id="rId451"/>
    <p:sldLayoutId id="2147484523" r:id="rId452"/>
    <p:sldLayoutId id="2147484524" r:id="rId453"/>
    <p:sldLayoutId id="2147484525" r:id="rId454"/>
    <p:sldLayoutId id="2147484526" r:id="rId455"/>
    <p:sldLayoutId id="2147484527" r:id="rId456"/>
    <p:sldLayoutId id="2147484528" r:id="rId457"/>
    <p:sldLayoutId id="2147484529" r:id="rId458"/>
    <p:sldLayoutId id="2147484530" r:id="rId459"/>
    <p:sldLayoutId id="2147484531" r:id="rId460"/>
    <p:sldLayoutId id="2147484532" r:id="rId461"/>
    <p:sldLayoutId id="2147484533" r:id="rId462"/>
    <p:sldLayoutId id="2147484534" r:id="rId463"/>
    <p:sldLayoutId id="2147484535" r:id="rId464"/>
    <p:sldLayoutId id="2147484536" r:id="rId465"/>
    <p:sldLayoutId id="2147484537" r:id="rId466"/>
    <p:sldLayoutId id="2147484538" r:id="rId467"/>
    <p:sldLayoutId id="2147484539" r:id="rId468"/>
    <p:sldLayoutId id="2147484540" r:id="rId469"/>
    <p:sldLayoutId id="2147484541" r:id="rId470"/>
    <p:sldLayoutId id="2147484542" r:id="rId471"/>
    <p:sldLayoutId id="2147484543" r:id="rId472"/>
    <p:sldLayoutId id="2147484544" r:id="rId473"/>
    <p:sldLayoutId id="2147484545" r:id="rId474"/>
    <p:sldLayoutId id="2147484546" r:id="rId475"/>
    <p:sldLayoutId id="2147484547" r:id="rId476"/>
    <p:sldLayoutId id="2147484548" r:id="rId477"/>
    <p:sldLayoutId id="2147484549" r:id="rId478"/>
    <p:sldLayoutId id="2147484550" r:id="rId479"/>
    <p:sldLayoutId id="2147484551" r:id="rId480"/>
    <p:sldLayoutId id="2147484552" r:id="rId481"/>
    <p:sldLayoutId id="2147484553" r:id="rId482"/>
    <p:sldLayoutId id="2147484554" r:id="rId483"/>
    <p:sldLayoutId id="2147484555" r:id="rId484"/>
    <p:sldLayoutId id="2147484556" r:id="rId485"/>
    <p:sldLayoutId id="2147484557" r:id="rId486"/>
    <p:sldLayoutId id="2147484558" r:id="rId487"/>
    <p:sldLayoutId id="2147485731" r:id="rId488"/>
    <p:sldLayoutId id="2147484560" r:id="rId489"/>
    <p:sldLayoutId id="2147484561" r:id="rId490"/>
    <p:sldLayoutId id="2147484562" r:id="rId491"/>
    <p:sldLayoutId id="2147484563" r:id="rId492"/>
    <p:sldLayoutId id="2147484564" r:id="rId493"/>
    <p:sldLayoutId id="2147484565" r:id="rId494"/>
    <p:sldLayoutId id="2147485737" r:id="rId495"/>
    <p:sldLayoutId id="2147484567" r:id="rId496"/>
    <p:sldLayoutId id="2147484568" r:id="rId497"/>
    <p:sldLayoutId id="2147484569" r:id="rId498"/>
    <p:sldLayoutId id="2147485670" r:id="rId499"/>
    <p:sldLayoutId id="2147484571" r:id="rId500"/>
    <p:sldLayoutId id="2147485709" r:id="rId501"/>
    <p:sldLayoutId id="2147484573" r:id="rId502"/>
    <p:sldLayoutId id="2147484574" r:id="rId503"/>
    <p:sldLayoutId id="2147484575" r:id="rId504"/>
    <p:sldLayoutId id="2147484576" r:id="rId505"/>
    <p:sldLayoutId id="2147484577" r:id="rId50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546"/>
        <p:cNvGrpSpPr/>
        <p:nvPr/>
      </p:nvGrpSpPr>
      <p:grpSpPr>
        <a:xfrm>
          <a:off x="0" y="0"/>
          <a:ext cx="0" cy="0"/>
          <a:chOff x="0" y="0"/>
          <a:chExt cx="0" cy="0"/>
        </a:xfrm>
      </p:grpSpPr>
      <p:sp>
        <p:nvSpPr>
          <p:cNvPr id="9547" name="Google Shape;9547;p1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548" name="Google Shape;9548;p11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549" name="Google Shape;9549;p1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9550" name="Google Shape;9550;p1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4599" r:id="rId1"/>
    <p:sldLayoutId id="2147484600" r:id="rId2"/>
    <p:sldLayoutId id="2147485596" r:id="rId3"/>
    <p:sldLayoutId id="2147485597" r:id="rId4"/>
    <p:sldLayoutId id="2147485598" r:id="rId5"/>
    <p:sldLayoutId id="2147485599" r:id="rId6"/>
    <p:sldLayoutId id="2147485704" r:id="rId7"/>
    <p:sldLayoutId id="2147484606" r:id="rId8"/>
    <p:sldLayoutId id="2147485702" r:id="rId9"/>
    <p:sldLayoutId id="2147485703" r:id="rId10"/>
    <p:sldLayoutId id="2147485691" r:id="rId11"/>
    <p:sldLayoutId id="2147484610" r:id="rId12"/>
    <p:sldLayoutId id="2147484612" r:id="rId13"/>
    <p:sldLayoutId id="2147484613" r:id="rId14"/>
    <p:sldLayoutId id="2147484614" r:id="rId15"/>
    <p:sldLayoutId id="2147484615" r:id="rId16"/>
    <p:sldLayoutId id="2147484616" r:id="rId17"/>
    <p:sldLayoutId id="2147484617" r:id="rId18"/>
    <p:sldLayoutId id="2147484618" r:id="rId19"/>
    <p:sldLayoutId id="2147484619" r:id="rId20"/>
    <p:sldLayoutId id="2147484620" r:id="rId21"/>
    <p:sldLayoutId id="2147484621" r:id="rId22"/>
    <p:sldLayoutId id="2147484622" r:id="rId23"/>
    <p:sldLayoutId id="2147484623" r:id="rId24"/>
    <p:sldLayoutId id="2147484624" r:id="rId25"/>
    <p:sldLayoutId id="2147484625" r:id="rId26"/>
    <p:sldLayoutId id="2147485593" r:id="rId27"/>
    <p:sldLayoutId id="2147485605" r:id="rId28"/>
    <p:sldLayoutId id="2147484628" r:id="rId29"/>
    <p:sldLayoutId id="2147484629" r:id="rId30"/>
    <p:sldLayoutId id="2147484630" r:id="rId31"/>
    <p:sldLayoutId id="2147484631" r:id="rId32"/>
    <p:sldLayoutId id="2147484632" r:id="rId33"/>
    <p:sldLayoutId id="2147484633" r:id="rId34"/>
    <p:sldLayoutId id="2147485606" r:id="rId35"/>
    <p:sldLayoutId id="2147484635" r:id="rId36"/>
    <p:sldLayoutId id="2147484636" r:id="rId37"/>
    <p:sldLayoutId id="2147484637" r:id="rId38"/>
    <p:sldLayoutId id="2147484638" r:id="rId39"/>
    <p:sldLayoutId id="2147484639" r:id="rId40"/>
    <p:sldLayoutId id="2147484640" r:id="rId41"/>
    <p:sldLayoutId id="2147484641" r:id="rId42"/>
    <p:sldLayoutId id="2147484642" r:id="rId43"/>
    <p:sldLayoutId id="2147484643" r:id="rId44"/>
    <p:sldLayoutId id="2147484644" r:id="rId45"/>
    <p:sldLayoutId id="2147484645" r:id="rId46"/>
    <p:sldLayoutId id="2147484646" r:id="rId47"/>
    <p:sldLayoutId id="2147484647" r:id="rId48"/>
    <p:sldLayoutId id="2147484648" r:id="rId49"/>
    <p:sldLayoutId id="2147484649" r:id="rId50"/>
    <p:sldLayoutId id="2147484650" r:id="rId51"/>
    <p:sldLayoutId id="2147484651" r:id="rId52"/>
    <p:sldLayoutId id="2147485698" r:id="rId53"/>
    <p:sldLayoutId id="2147485699" r:id="rId54"/>
    <p:sldLayoutId id="2147485700" r:id="rId55"/>
    <p:sldLayoutId id="2147485701" r:id="rId56"/>
    <p:sldLayoutId id="2147484656" r:id="rId57"/>
    <p:sldLayoutId id="2147484657" r:id="rId58"/>
    <p:sldLayoutId id="2147484658" r:id="rId59"/>
    <p:sldLayoutId id="2147484659" r:id="rId60"/>
    <p:sldLayoutId id="2147484660" r:id="rId61"/>
    <p:sldLayoutId id="2147484661" r:id="rId62"/>
    <p:sldLayoutId id="2147484662" r:id="rId63"/>
    <p:sldLayoutId id="2147484663" r:id="rId64"/>
    <p:sldLayoutId id="2147484664" r:id="rId65"/>
    <p:sldLayoutId id="2147484665" r:id="rId66"/>
    <p:sldLayoutId id="2147484666" r:id="rId67"/>
    <p:sldLayoutId id="2147484667" r:id="rId68"/>
    <p:sldLayoutId id="2147484668" r:id="rId69"/>
    <p:sldLayoutId id="2147484669" r:id="rId70"/>
    <p:sldLayoutId id="2147484670" r:id="rId71"/>
    <p:sldLayoutId id="2147484671" r:id="rId72"/>
    <p:sldLayoutId id="2147484672" r:id="rId73"/>
    <p:sldLayoutId id="2147484673" r:id="rId74"/>
    <p:sldLayoutId id="2147484674" r:id="rId75"/>
    <p:sldLayoutId id="2147484675" r:id="rId76"/>
    <p:sldLayoutId id="2147484676" r:id="rId77"/>
    <p:sldLayoutId id="2147484677" r:id="rId78"/>
    <p:sldLayoutId id="2147484678" r:id="rId79"/>
    <p:sldLayoutId id="2147484679" r:id="rId80"/>
    <p:sldLayoutId id="2147484680" r:id="rId81"/>
    <p:sldLayoutId id="2147484681" r:id="rId82"/>
    <p:sldLayoutId id="2147484682" r:id="rId83"/>
    <p:sldLayoutId id="2147484683" r:id="rId84"/>
    <p:sldLayoutId id="2147484684" r:id="rId85"/>
    <p:sldLayoutId id="2147484685" r:id="rId86"/>
    <p:sldLayoutId id="2147484686" r:id="rId87"/>
    <p:sldLayoutId id="2147484687" r:id="rId88"/>
    <p:sldLayoutId id="2147484688" r:id="rId89"/>
    <p:sldLayoutId id="2147484689" r:id="rId90"/>
    <p:sldLayoutId id="2147484690" r:id="rId91"/>
    <p:sldLayoutId id="2147484691" r:id="rId92"/>
    <p:sldLayoutId id="2147484692" r:id="rId93"/>
    <p:sldLayoutId id="2147484693" r:id="rId94"/>
    <p:sldLayoutId id="2147484694" r:id="rId95"/>
    <p:sldLayoutId id="2147484695" r:id="rId96"/>
    <p:sldLayoutId id="2147484696" r:id="rId97"/>
    <p:sldLayoutId id="2147484697" r:id="rId98"/>
    <p:sldLayoutId id="2147484698" r:id="rId99"/>
    <p:sldLayoutId id="2147484699" r:id="rId100"/>
    <p:sldLayoutId id="2147484700" r:id="rId101"/>
    <p:sldLayoutId id="2147484701" r:id="rId102"/>
    <p:sldLayoutId id="2147484702" r:id="rId103"/>
    <p:sldLayoutId id="2147484703" r:id="rId104"/>
    <p:sldLayoutId id="2147484704" r:id="rId105"/>
    <p:sldLayoutId id="2147484705" r:id="rId106"/>
    <p:sldLayoutId id="2147484706" r:id="rId107"/>
    <p:sldLayoutId id="2147484707" r:id="rId108"/>
    <p:sldLayoutId id="2147484708" r:id="rId109"/>
    <p:sldLayoutId id="2147484709" r:id="rId110"/>
    <p:sldLayoutId id="2147484710" r:id="rId111"/>
    <p:sldLayoutId id="2147484711" r:id="rId112"/>
    <p:sldLayoutId id="2147484712" r:id="rId113"/>
    <p:sldLayoutId id="2147484713" r:id="rId114"/>
    <p:sldLayoutId id="2147484714" r:id="rId115"/>
    <p:sldLayoutId id="2147484715" r:id="rId116"/>
    <p:sldLayoutId id="2147484716" r:id="rId117"/>
    <p:sldLayoutId id="2147484717" r:id="rId118"/>
    <p:sldLayoutId id="2147484718" r:id="rId119"/>
    <p:sldLayoutId id="2147484719" r:id="rId120"/>
    <p:sldLayoutId id="2147484720" r:id="rId121"/>
    <p:sldLayoutId id="2147484721" r:id="rId122"/>
    <p:sldLayoutId id="2147484722" r:id="rId123"/>
    <p:sldLayoutId id="2147484723" r:id="rId124"/>
    <p:sldLayoutId id="2147484724" r:id="rId125"/>
    <p:sldLayoutId id="2147484725" r:id="rId126"/>
    <p:sldLayoutId id="2147484726" r:id="rId127"/>
    <p:sldLayoutId id="2147484727" r:id="rId128"/>
    <p:sldLayoutId id="2147484728" r:id="rId129"/>
    <p:sldLayoutId id="2147484729" r:id="rId130"/>
    <p:sldLayoutId id="2147484730" r:id="rId131"/>
    <p:sldLayoutId id="2147484731" r:id="rId132"/>
    <p:sldLayoutId id="2147484732" r:id="rId133"/>
    <p:sldLayoutId id="2147484733" r:id="rId134"/>
    <p:sldLayoutId id="2147484734" r:id="rId135"/>
    <p:sldLayoutId id="2147484735" r:id="rId136"/>
    <p:sldLayoutId id="2147484736" r:id="rId137"/>
    <p:sldLayoutId id="2147484737" r:id="rId138"/>
    <p:sldLayoutId id="2147484738" r:id="rId139"/>
    <p:sldLayoutId id="2147484739" r:id="rId140"/>
    <p:sldLayoutId id="2147484740" r:id="rId141"/>
    <p:sldLayoutId id="2147484741" r:id="rId142"/>
    <p:sldLayoutId id="2147484742" r:id="rId143"/>
    <p:sldLayoutId id="2147484743" r:id="rId144"/>
    <p:sldLayoutId id="2147484744" r:id="rId145"/>
    <p:sldLayoutId id="2147484745" r:id="rId146"/>
    <p:sldLayoutId id="2147484746" r:id="rId147"/>
    <p:sldLayoutId id="2147484747" r:id="rId148"/>
    <p:sldLayoutId id="2147484748" r:id="rId149"/>
    <p:sldLayoutId id="2147484749" r:id="rId150"/>
    <p:sldLayoutId id="2147484750" r:id="rId151"/>
    <p:sldLayoutId id="2147484751" r:id="rId152"/>
    <p:sldLayoutId id="2147484752" r:id="rId153"/>
    <p:sldLayoutId id="2147484753" r:id="rId154"/>
    <p:sldLayoutId id="2147484754" r:id="rId155"/>
    <p:sldLayoutId id="2147484755" r:id="rId156"/>
    <p:sldLayoutId id="2147484756" r:id="rId157"/>
    <p:sldLayoutId id="2147484757" r:id="rId158"/>
    <p:sldLayoutId id="2147484758" r:id="rId159"/>
    <p:sldLayoutId id="2147484759" r:id="rId160"/>
    <p:sldLayoutId id="2147484760" r:id="rId161"/>
    <p:sldLayoutId id="2147484761" r:id="rId162"/>
    <p:sldLayoutId id="2147484762" r:id="rId163"/>
    <p:sldLayoutId id="2147484763" r:id="rId164"/>
    <p:sldLayoutId id="2147484764" r:id="rId165"/>
    <p:sldLayoutId id="2147484765" r:id="rId166"/>
    <p:sldLayoutId id="2147484766" r:id="rId167"/>
    <p:sldLayoutId id="2147484767" r:id="rId168"/>
    <p:sldLayoutId id="2147484768" r:id="rId169"/>
    <p:sldLayoutId id="2147484769" r:id="rId170"/>
    <p:sldLayoutId id="2147484770" r:id="rId171"/>
    <p:sldLayoutId id="2147484771" r:id="rId172"/>
    <p:sldLayoutId id="2147484772" r:id="rId173"/>
    <p:sldLayoutId id="2147484773" r:id="rId174"/>
    <p:sldLayoutId id="2147484774" r:id="rId175"/>
    <p:sldLayoutId id="2147484775" r:id="rId176"/>
    <p:sldLayoutId id="2147484776" r:id="rId177"/>
    <p:sldLayoutId id="2147484777" r:id="rId178"/>
    <p:sldLayoutId id="2147484778" r:id="rId179"/>
    <p:sldLayoutId id="2147484779" r:id="rId180"/>
    <p:sldLayoutId id="2147484780" r:id="rId181"/>
    <p:sldLayoutId id="2147484781" r:id="rId182"/>
    <p:sldLayoutId id="2147484782" r:id="rId183"/>
    <p:sldLayoutId id="2147484783" r:id="rId184"/>
    <p:sldLayoutId id="2147484784" r:id="rId185"/>
    <p:sldLayoutId id="2147484785" r:id="rId186"/>
    <p:sldLayoutId id="2147484786" r:id="rId187"/>
    <p:sldLayoutId id="2147484787" r:id="rId188"/>
    <p:sldLayoutId id="2147484788" r:id="rId189"/>
    <p:sldLayoutId id="2147484789" r:id="rId190"/>
    <p:sldLayoutId id="2147484790" r:id="rId191"/>
    <p:sldLayoutId id="2147484791" r:id="rId192"/>
    <p:sldLayoutId id="2147484792" r:id="rId193"/>
    <p:sldLayoutId id="2147484793" r:id="rId194"/>
    <p:sldLayoutId id="2147484794" r:id="rId195"/>
    <p:sldLayoutId id="2147484795" r:id="rId196"/>
    <p:sldLayoutId id="2147484796" r:id="rId197"/>
    <p:sldLayoutId id="2147484797" r:id="rId198"/>
    <p:sldLayoutId id="2147484798" r:id="rId199"/>
    <p:sldLayoutId id="2147484799" r:id="rId200"/>
    <p:sldLayoutId id="2147484800" r:id="rId201"/>
    <p:sldLayoutId id="2147484801" r:id="rId202"/>
    <p:sldLayoutId id="2147484802" r:id="rId203"/>
    <p:sldLayoutId id="2147484803" r:id="rId204"/>
    <p:sldLayoutId id="2147484804" r:id="rId205"/>
    <p:sldLayoutId id="2147484805" r:id="rId206"/>
    <p:sldLayoutId id="2147484806" r:id="rId207"/>
    <p:sldLayoutId id="2147484807" r:id="rId208"/>
    <p:sldLayoutId id="2147484808" r:id="rId209"/>
    <p:sldLayoutId id="2147484809" r:id="rId210"/>
    <p:sldLayoutId id="2147484810" r:id="rId211"/>
    <p:sldLayoutId id="2147484811" r:id="rId212"/>
    <p:sldLayoutId id="2147484812" r:id="rId213"/>
    <p:sldLayoutId id="2147485680" r:id="rId214"/>
    <p:sldLayoutId id="2147484814" r:id="rId215"/>
    <p:sldLayoutId id="2147485682" r:id="rId216"/>
    <p:sldLayoutId id="2147485683" r:id="rId217"/>
    <p:sldLayoutId id="2147485684" r:id="rId218"/>
    <p:sldLayoutId id="2147484818" r:id="rId219"/>
    <p:sldLayoutId id="2147484819" r:id="rId220"/>
    <p:sldLayoutId id="2147484820" r:id="rId221"/>
    <p:sldLayoutId id="2147485643" r:id="rId222"/>
    <p:sldLayoutId id="2147485651" r:id="rId223"/>
    <p:sldLayoutId id="2147484823" r:id="rId224"/>
    <p:sldLayoutId id="2147484824" r:id="rId225"/>
    <p:sldLayoutId id="2147484825" r:id="rId226"/>
    <p:sldLayoutId id="2147484826" r:id="rId227"/>
    <p:sldLayoutId id="2147484827" r:id="rId228"/>
    <p:sldLayoutId id="2147484828" r:id="rId229"/>
    <p:sldLayoutId id="2147485625" r:id="rId23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11870"/>
        <p:cNvGrpSpPr/>
        <p:nvPr/>
      </p:nvGrpSpPr>
      <p:grpSpPr>
        <a:xfrm>
          <a:off x="0" y="0"/>
          <a:ext cx="0" cy="0"/>
          <a:chOff x="0" y="0"/>
          <a:chExt cx="0" cy="0"/>
        </a:xfrm>
      </p:grpSpPr>
      <p:sp>
        <p:nvSpPr>
          <p:cNvPr id="11871" name="Google Shape;11871;p66"/>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1872" name="Google Shape;11872;p66"/>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867" b="0" i="0" u="none" strike="noStrike" cap="none">
                <a:solidFill>
                  <a:schemeClr val="dk2"/>
                </a:solidFill>
                <a:latin typeface="Arial"/>
                <a:ea typeface="Arial"/>
                <a:cs typeface="Arial"/>
                <a:sym typeface="Arial"/>
              </a:defRPr>
            </a:lvl9pPr>
          </a:lstStyle>
          <a:p>
            <a:endParaRPr/>
          </a:p>
        </p:txBody>
      </p:sp>
      <p:sp>
        <p:nvSpPr>
          <p:cNvPr id="11873" name="Google Shape;11873;p6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333"/>
              <a:buFont typeface="Arial"/>
              <a:buNone/>
              <a:defRPr sz="1333"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5627" r:id="rId1"/>
    <p:sldLayoutId id="2147485629" r:id="rId2"/>
    <p:sldLayoutId id="2147485705" r:id="rId3"/>
    <p:sldLayoutId id="2147485706" r:id="rId4"/>
    <p:sldLayoutId id="2147485592" r:id="rId5"/>
    <p:sldLayoutId id="2147485594" r:id="rId6"/>
    <p:sldLayoutId id="2147485595" r:id="rId7"/>
    <p:sldLayoutId id="2147485732" r:id="rId8"/>
    <p:sldLayoutId id="2147485600" r:id="rId9"/>
    <p:sldLayoutId id="2147485733" r:id="rId10"/>
    <p:sldLayoutId id="2147485615" r:id="rId11"/>
    <p:sldLayoutId id="2147485616"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23927416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743" r:id="rId4"/>
    <p:sldLayoutId id="2147485078" r:id="rId5"/>
    <p:sldLayoutId id="2147485079" r:id="rId6"/>
    <p:sldLayoutId id="2147485080" r:id="rId7"/>
    <p:sldLayoutId id="2147485081" r:id="rId8"/>
    <p:sldLayoutId id="2147485082" r:id="rId9"/>
    <p:sldLayoutId id="2147485083" r:id="rId10"/>
    <p:sldLayoutId id="2147484596" r:id="rId11"/>
    <p:sldLayoutId id="2147484835" r:id="rId12"/>
    <p:sldLayoutId id="2147484598" r:id="rId13"/>
    <p:sldLayoutId id="2147485744" r:id="rId14"/>
    <p:sldLayoutId id="2147484836" r:id="rId15"/>
    <p:sldLayoutId id="2147484837" r:id="rId16"/>
    <p:sldLayoutId id="2147484601" r:id="rId17"/>
    <p:sldLayoutId id="2147484602" r:id="rId18"/>
    <p:sldLayoutId id="2147484603" r:id="rId19"/>
    <p:sldLayoutId id="2147484604" r:id="rId20"/>
    <p:sldLayoutId id="2147485745" r:id="rId21"/>
    <p:sldLayoutId id="2147484844" r:id="rId22"/>
    <p:sldLayoutId id="2147485637" r:id="rId23"/>
    <p:sldLayoutId id="2147485638" r:id="rId24"/>
    <p:sldLayoutId id="2147485738" r:id="rId25"/>
    <p:sldLayoutId id="2147485645" r:id="rId26"/>
    <p:sldLayoutId id="2147485652" r:id="rId27"/>
    <p:sldLayoutId id="2147485655" r:id="rId28"/>
    <p:sldLayoutId id="2147485657" r:id="rId29"/>
    <p:sldLayoutId id="2147485661" r:id="rId30"/>
    <p:sldLayoutId id="2147485662" r:id="rId31"/>
    <p:sldLayoutId id="2147485739" r:id="rId32"/>
    <p:sldLayoutId id="2147485740" r:id="rId33"/>
    <p:sldLayoutId id="2147485741" r:id="rId34"/>
    <p:sldLayoutId id="2147485742" r:id="rId35"/>
    <p:sldLayoutId id="2147484858" r:id="rId36"/>
    <p:sldLayoutId id="2147484859" r:id="rId37"/>
    <p:sldLayoutId id="2147484860" r:id="rId38"/>
    <p:sldLayoutId id="2147484861" r:id="rId39"/>
    <p:sldLayoutId id="2147484862" r:id="rId40"/>
    <p:sldLayoutId id="2147484863" r:id="rId41"/>
    <p:sldLayoutId id="2147484864" r:id="rId42"/>
    <p:sldLayoutId id="2147484865" r:id="rId43"/>
    <p:sldLayoutId id="2147485070" r:id="rId44"/>
    <p:sldLayoutId id="2147484870" r:id="rId45"/>
    <p:sldLayoutId id="2147484871" r:id="rId46"/>
    <p:sldLayoutId id="2147484872" r:id="rId47"/>
    <p:sldLayoutId id="2147485069" r:id="rId48"/>
    <p:sldLayoutId id="2147485753" r:id="rId49"/>
    <p:sldLayoutId id="2147484873" r:id="rId50"/>
    <p:sldLayoutId id="2147485553" r:id="rId51"/>
    <p:sldLayoutId id="2147485554" r:id="rId52"/>
    <p:sldLayoutId id="2147485555" r:id="rId53"/>
    <p:sldLayoutId id="2147485754" r:id="rId54"/>
    <p:sldLayoutId id="2147485755" r:id="rId55"/>
    <p:sldLayoutId id="2147484362" r:id="rId56"/>
    <p:sldLayoutId id="2147484363" r:id="rId57"/>
    <p:sldLayoutId id="2147485557" r:id="rId58"/>
    <p:sldLayoutId id="2147484365" r:id="rId59"/>
    <p:sldLayoutId id="2147484366" r:id="rId60"/>
    <p:sldLayoutId id="2147484367" r:id="rId61"/>
    <p:sldLayoutId id="2147485566" r:id="rId62"/>
    <p:sldLayoutId id="2147484351" r:id="rId63"/>
    <p:sldLayoutId id="2147484350" r:id="rId64"/>
    <p:sldLayoutId id="2147484352" r:id="rId65"/>
    <p:sldLayoutId id="2147484829" r:id="rId66"/>
    <p:sldLayoutId id="2147484830" r:id="rId67"/>
    <p:sldLayoutId id="2147484831" r:id="rId68"/>
    <p:sldLayoutId id="2147485756" r:id="rId69"/>
    <p:sldLayoutId id="2147485262" r:id="rId70"/>
    <p:sldLayoutId id="2147484832" r:id="rId71"/>
    <p:sldLayoutId id="2147484875" r:id="rId72"/>
    <p:sldLayoutId id="2147484876" r:id="rId73"/>
    <p:sldLayoutId id="2147484877" r:id="rId74"/>
    <p:sldLayoutId id="2147485760" r:id="rId75"/>
    <p:sldLayoutId id="2147485761" r:id="rId76"/>
    <p:sldLayoutId id="2147485763" r:id="rId77"/>
    <p:sldLayoutId id="2147485764" r:id="rId78"/>
    <p:sldLayoutId id="2147484897" r:id="rId79"/>
    <p:sldLayoutId id="2147484898" r:id="rId80"/>
    <p:sldLayoutId id="2147484899" r:id="rId81"/>
    <p:sldLayoutId id="2147484900" r:id="rId82"/>
    <p:sldLayoutId id="2147484634" r:id="rId83"/>
    <p:sldLayoutId id="2147484902" r:id="rId84"/>
    <p:sldLayoutId id="2147484238" r:id="rId85"/>
    <p:sldLayoutId id="2147484200" r:id="rId86"/>
    <p:sldLayoutId id="2147485751" r:id="rId87"/>
    <p:sldLayoutId id="2147484353" r:id="rId88"/>
    <p:sldLayoutId id="2147484627" r:id="rId89"/>
    <p:sldLayoutId id="2147485564" r:id="rId90"/>
    <p:sldLayoutId id="2147485749" r:id="rId91"/>
    <p:sldLayoutId id="2147485750" r:id="rId92"/>
    <p:sldLayoutId id="2147484928" r:id="rId93"/>
    <p:sldLayoutId id="2147484929" r:id="rId94"/>
    <p:sldLayoutId id="2147484930" r:id="rId95"/>
    <p:sldLayoutId id="2147484205" r:id="rId96"/>
    <p:sldLayoutId id="2147484206" r:id="rId97"/>
    <p:sldLayoutId id="2147484933" r:id="rId98"/>
    <p:sldLayoutId id="2147484934" r:id="rId99"/>
    <p:sldLayoutId id="2147485064" r:id="rId100"/>
    <p:sldLayoutId id="2147485065" r:id="rId101"/>
    <p:sldLayoutId id="2147485752" r:id="rId102"/>
    <p:sldLayoutId id="2147485215" r:id="rId103"/>
    <p:sldLayoutId id="2147485781" r:id="rId104"/>
    <p:sldLayoutId id="2147485782" r:id="rId105"/>
    <p:sldLayoutId id="2147485391" r:id="rId106"/>
    <p:sldLayoutId id="2147485392" r:id="rId107"/>
    <p:sldLayoutId id="2147484376" r:id="rId108"/>
    <p:sldLayoutId id="2147485783" r:id="rId109"/>
    <p:sldLayoutId id="2147485784" r:id="rId110"/>
    <p:sldLayoutId id="2147484941" r:id="rId111"/>
    <p:sldLayoutId id="2147484942" r:id="rId112"/>
    <p:sldLayoutId id="2147484943" r:id="rId113"/>
    <p:sldLayoutId id="2147484944" r:id="rId114"/>
    <p:sldLayoutId id="2147485277" r:id="rId115"/>
    <p:sldLayoutId id="2147484946" r:id="rId116"/>
    <p:sldLayoutId id="2147483877" r:id="rId117"/>
    <p:sldLayoutId id="2147483878" r:id="rId118"/>
    <p:sldLayoutId id="2147484652" r:id="rId119"/>
    <p:sldLayoutId id="2147484653" r:id="rId120"/>
    <p:sldLayoutId id="2147484654" r:id="rId121"/>
    <p:sldLayoutId id="2147484655" r:id="rId122"/>
    <p:sldLayoutId id="2147484605" r:id="rId123"/>
    <p:sldLayoutId id="2147484833" r:id="rId124"/>
    <p:sldLayoutId id="2147484834" r:id="rId125"/>
    <p:sldLayoutId id="2147484349" r:id="rId126"/>
    <p:sldLayoutId id="2147484947" r:id="rId127"/>
    <p:sldLayoutId id="2147485776" r:id="rId128"/>
    <p:sldLayoutId id="2147485777" r:id="rId129"/>
    <p:sldLayoutId id="2147484963" r:id="rId130"/>
    <p:sldLayoutId id="2147485762" r:id="rId131"/>
    <p:sldLayoutId id="2147484231" r:id="rId132"/>
    <p:sldLayoutId id="2147484268" r:id="rId133"/>
    <p:sldLayoutId id="2147484235" r:id="rId134"/>
    <p:sldLayoutId id="2147485767" r:id="rId135"/>
    <p:sldLayoutId id="2147484970" r:id="rId136"/>
    <p:sldLayoutId id="2147484971" r:id="rId137"/>
    <p:sldLayoutId id="2147484972" r:id="rId138"/>
    <p:sldLayoutId id="2147484973" r:id="rId139"/>
    <p:sldLayoutId id="2147483721" r:id="rId140"/>
    <p:sldLayoutId id="2147484975" r:id="rId141"/>
    <p:sldLayoutId id="2147484821" r:id="rId142"/>
    <p:sldLayoutId id="2147483716" r:id="rId143"/>
    <p:sldLayoutId id="2147485239" r:id="rId144"/>
    <p:sldLayoutId id="2147485768" r:id="rId145"/>
    <p:sldLayoutId id="2147483717" r:id="rId146"/>
    <p:sldLayoutId id="2147483718" r:id="rId147"/>
    <p:sldLayoutId id="2147484400" r:id="rId148"/>
    <p:sldLayoutId id="2147484401" r:id="rId149"/>
    <p:sldLayoutId id="2147484402" r:id="rId150"/>
    <p:sldLayoutId id="2147484822" r:id="rId151"/>
    <p:sldLayoutId id="2147485769" r:id="rId152"/>
    <p:sldLayoutId id="2147485263" r:id="rId153"/>
    <p:sldLayoutId id="2147484339" r:id="rId154"/>
    <p:sldLayoutId id="2147484340" r:id="rId155"/>
    <p:sldLayoutId id="2147484341" r:id="rId156"/>
    <p:sldLayoutId id="2147484342" r:id="rId157"/>
    <p:sldLayoutId id="2147484343" r:id="rId158"/>
    <p:sldLayoutId id="2147484344" r:id="rId159"/>
    <p:sldLayoutId id="2147484976" r:id="rId160"/>
    <p:sldLayoutId id="2147484977" r:id="rId161"/>
    <p:sldLayoutId id="2147484978" r:id="rId162"/>
    <p:sldLayoutId id="2147484979" r:id="rId163"/>
    <p:sldLayoutId id="2147484980" r:id="rId164"/>
    <p:sldLayoutId id="2147484981" r:id="rId165"/>
    <p:sldLayoutId id="2147484982" r:id="rId166"/>
    <p:sldLayoutId id="2147484983" r:id="rId167"/>
    <p:sldLayoutId id="2147484984" r:id="rId168"/>
    <p:sldLayoutId id="2147484985" r:id="rId169"/>
    <p:sldLayoutId id="2147484986" r:id="rId170"/>
    <p:sldLayoutId id="2147484988" r:id="rId171"/>
    <p:sldLayoutId id="2147484989" r:id="rId172"/>
    <p:sldLayoutId id="2147484991" r:id="rId173"/>
    <p:sldLayoutId id="2147484992" r:id="rId174"/>
    <p:sldLayoutId id="2147484993" r:id="rId175"/>
    <p:sldLayoutId id="2147484994" r:id="rId176"/>
    <p:sldLayoutId id="2147484995" r:id="rId177"/>
    <p:sldLayoutId id="2147484996" r:id="rId178"/>
    <p:sldLayoutId id="2147484997" r:id="rId179"/>
    <p:sldLayoutId id="2147484998" r:id="rId180"/>
    <p:sldLayoutId id="2147485000" r:id="rId181"/>
    <p:sldLayoutId id="2147485001" r:id="rId182"/>
    <p:sldLayoutId id="2147485002" r:id="rId183"/>
    <p:sldLayoutId id="2147485013" r:id="rId184"/>
    <p:sldLayoutId id="2147483868" r:id="rId185"/>
    <p:sldLayoutId id="2147484585" r:id="rId186"/>
    <p:sldLayoutId id="2147484586" r:id="rId187"/>
    <p:sldLayoutId id="2147484587" r:id="rId188"/>
    <p:sldLayoutId id="2147484588" r:id="rId189"/>
    <p:sldLayoutId id="2147484592" r:id="rId190"/>
    <p:sldLayoutId id="2147484593" r:id="rId191"/>
    <p:sldLayoutId id="2147484594" r:id="rId192"/>
    <p:sldLayoutId id="2147484595" r:id="rId193"/>
    <p:sldLayoutId id="2147485579" r:id="rId194"/>
    <p:sldLayoutId id="2147485562" r:id="rId195"/>
    <p:sldLayoutId id="2147485367" r:id="rId196"/>
    <p:sldLayoutId id="2147485368" r:id="rId197"/>
    <p:sldLayoutId id="2147485369" r:id="rId198"/>
    <p:sldLayoutId id="2147485400" r:id="rId199"/>
    <p:sldLayoutId id="2147485401" r:id="rId200"/>
    <p:sldLayoutId id="2147485402" r:id="rId201"/>
    <p:sldLayoutId id="2147485403" r:id="rId202"/>
    <p:sldLayoutId id="2147484477" r:id="rId203"/>
    <p:sldLayoutId id="2147484478" r:id="rId204"/>
    <p:sldLayoutId id="2147484260" r:id="rId205"/>
    <p:sldLayoutId id="2147485778" r:id="rId206"/>
    <p:sldLayoutId id="2147485036" r:id="rId207"/>
    <p:sldLayoutId id="2147485037" r:id="rId208"/>
    <p:sldLayoutId id="2147485038" r:id="rId209"/>
    <p:sldLayoutId id="2147485039" r:id="rId210"/>
    <p:sldLayoutId id="2147484483" r:id="rId211"/>
    <p:sldLayoutId id="2147485041" r:id="rId212"/>
    <p:sldLayoutId id="2147485270" r:id="rId213"/>
    <p:sldLayoutId id="2147485271" r:id="rId214"/>
    <p:sldLayoutId id="2147485272" r:id="rId215"/>
    <p:sldLayoutId id="2147485779" r:id="rId216"/>
    <p:sldLayoutId id="2147485043" r:id="rId217"/>
    <p:sldLayoutId id="2147485044" r:id="rId218"/>
    <p:sldLayoutId id="2147485045" r:id="rId219"/>
    <p:sldLayoutId id="2147485046" r:id="rId220"/>
    <p:sldLayoutId id="2147485047" r:id="rId221"/>
    <p:sldLayoutId id="2147485048" r:id="rId222"/>
    <p:sldLayoutId id="2147485049" r:id="rId223"/>
    <p:sldLayoutId id="2147485050" r:id="rId224"/>
    <p:sldLayoutId id="2147485051" r:id="rId225"/>
    <p:sldLayoutId id="2147485052" r:id="rId226"/>
    <p:sldLayoutId id="2147485053" r:id="rId227"/>
    <p:sldLayoutId id="2147485058" r:id="rId228"/>
    <p:sldLayoutId id="2147485059" r:id="rId229"/>
    <p:sldLayoutId id="2147485179" r:id="rId230"/>
    <p:sldLayoutId id="2147485780" r:id="rId231"/>
    <p:sldLayoutId id="2147485061" r:id="rId232"/>
    <p:sldLayoutId id="2147485062" r:id="rId233"/>
    <p:sldLayoutId id="2147485066" r:id="rId234"/>
    <p:sldLayoutId id="2147485067" r:id="rId235"/>
    <p:sldLayoutId id="2147485581" r:id="rId236"/>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7"/>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961835048"/>
      </p:ext>
    </p:extLst>
  </p:cSld>
  <p:clrMap bg1="lt1" tx1="dk1" bg2="lt2" tx2="dk2" accent1="accent1" accent2="accent2" accent3="accent3" accent4="accent4" accent5="accent5" accent6="accent6" hlink="hlink" folHlink="folHlink"/>
  <p:sldLayoutIdLst>
    <p:sldLayoutId id="2147485583" r:id="rId1"/>
    <p:sldLayoutId id="2147485584" r:id="rId2"/>
    <p:sldLayoutId id="2147485585" r:id="rId3"/>
    <p:sldLayoutId id="2147485586" r:id="rId4"/>
    <p:sldLayoutId id="2147485587" r:id="rId5"/>
    <p:sldLayoutId id="2147485588" r:id="rId6"/>
    <p:sldLayoutId id="2147485589" r:id="rId7"/>
    <p:sldLayoutId id="2147485590" r:id="rId8"/>
    <p:sldLayoutId id="2147485084" r:id="rId9"/>
    <p:sldLayoutId id="2147485085" r:id="rId10"/>
    <p:sldLayoutId id="2147485086" r:id="rId11"/>
    <p:sldLayoutId id="2147485087" r:id="rId12"/>
    <p:sldLayoutId id="2147485088" r:id="rId13"/>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3/18/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6654" r:id="rId1"/>
    <p:sldLayoutId id="2147486655" r:id="rId2"/>
    <p:sldLayoutId id="2147486656" r:id="rId3"/>
    <p:sldLayoutId id="2147486657" r:id="rId4"/>
    <p:sldLayoutId id="2147486658" r:id="rId5"/>
    <p:sldLayoutId id="2147486659" r:id="rId6"/>
    <p:sldLayoutId id="2147486660" r:id="rId7"/>
    <p:sldLayoutId id="2147486661" r:id="rId8"/>
    <p:sldLayoutId id="2147486662" r:id="rId9"/>
    <p:sldLayoutId id="2147486663" r:id="rId10"/>
    <p:sldLayoutId id="2147486665"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DB2E7A-0A33-4022-B895-7D595E5D5863}" type="datetimeFigureOut">
              <a:rPr lang="en-US" smtClean="0"/>
              <a:pPr/>
              <a:t>3/18/2024</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38434-C2CC-4028-AD72-886E4ED36FC6}" type="slidenum">
              <a:rPr lang="en-US" smtClean="0"/>
              <a:pPr/>
              <a:t>‹#›</a:t>
            </a:fld>
            <a:endParaRPr lang="en-US"/>
          </a:p>
        </p:txBody>
      </p:sp>
      <p:pic>
        <p:nvPicPr>
          <p:cNvPr id="9" name="Picture 8"/>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9363565" y="6166098"/>
            <a:ext cx="2117235" cy="463303"/>
          </a:xfrm>
          <a:prstGeom prst="rect">
            <a:avLst/>
          </a:prstGeom>
        </p:spPr>
      </p:pic>
    </p:spTree>
    <p:extLst>
      <p:ext uri="{BB962C8B-B14F-4D97-AF65-F5344CB8AC3E}">
        <p14:creationId xmlns:p14="http://schemas.microsoft.com/office/powerpoint/2010/main" val="903033063"/>
      </p:ext>
    </p:extLst>
  </p:cSld>
  <p:clrMap bg1="lt1" tx1="dk1" bg2="lt2" tx2="dk2" accent1="accent1" accent2="accent2" accent3="accent3" accent4="accent4" accent5="accent5" accent6="accent6" hlink="hlink" folHlink="folHlink"/>
  <p:sldLayoutIdLst>
    <p:sldLayoutId id="2147486667" r:id="rId1"/>
    <p:sldLayoutId id="2147486668" r:id="rId2"/>
    <p:sldLayoutId id="2147486669" r:id="rId3"/>
    <p:sldLayoutId id="2147486670" r:id="rId4"/>
    <p:sldLayoutId id="2147486671" r:id="rId5"/>
    <p:sldLayoutId id="2147486672" r:id="rId6"/>
    <p:sldLayoutId id="2147486673" r:id="rId7"/>
    <p:sldLayoutId id="2147486674" r:id="rId8"/>
    <p:sldLayoutId id="2147486675" r:id="rId9"/>
    <p:sldLayoutId id="2147486676" r:id="rId10"/>
    <p:sldLayoutId id="2147486677" r:id="rId11"/>
    <p:sldLayoutId id="2147486678" r:id="rId12"/>
  </p:sldLayoutIdLst>
  <p:txStyles>
    <p:titleStyle>
      <a:lvl1pPr algn="ctr" defTabSz="914400" rtl="0" eaLnBrk="1" latinLnBrk="0" hangingPunct="1">
        <a:spcBef>
          <a:spcPct val="0"/>
        </a:spcBef>
        <a:buNone/>
        <a:defRPr sz="4400" b="0"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40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8.xml"/><Relationship Id="rId1" Type="http://schemas.openxmlformats.org/officeDocument/2006/relationships/slideLayout" Target="../slideLayouts/slideLayout420.xml"/><Relationship Id="rId4" Type="http://schemas.openxmlformats.org/officeDocument/2006/relationships/image" Target="../media/image114.png"/></Relationships>
</file>

<file path=ppt/slides/_rels/slide1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9.xml"/><Relationship Id="rId1" Type="http://schemas.openxmlformats.org/officeDocument/2006/relationships/slideLayout" Target="../slideLayouts/slideLayout421.xml"/><Relationship Id="rId4" Type="http://schemas.openxmlformats.org/officeDocument/2006/relationships/image" Target="../media/image116.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49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0.xml"/></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sv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jpeg"/><Relationship Id="rId10" Type="http://schemas.openxmlformats.org/officeDocument/2006/relationships/image" Target="../media/image127.png"/><Relationship Id="rId4" Type="http://schemas.openxmlformats.org/officeDocument/2006/relationships/image" Target="../media/image121.jpeg"/><Relationship Id="rId9" Type="http://schemas.openxmlformats.org/officeDocument/2006/relationships/image" Target="../media/image126.png"/></Relationships>
</file>

<file path=ppt/slides/_rels/slide25.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png"/><Relationship Id="rId3" Type="http://schemas.openxmlformats.org/officeDocument/2006/relationships/image" Target="../media/image130.png"/><Relationship Id="rId7" Type="http://schemas.openxmlformats.org/officeDocument/2006/relationships/image" Target="../media/image132.jpeg"/><Relationship Id="rId12" Type="http://schemas.openxmlformats.org/officeDocument/2006/relationships/image" Target="../media/image137.pn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29.svg"/><Relationship Id="rId10" Type="http://schemas.openxmlformats.org/officeDocument/2006/relationships/image" Target="../media/image135.png"/><Relationship Id="rId4" Type="http://schemas.openxmlformats.org/officeDocument/2006/relationships/image" Target="../media/image128.png"/><Relationship Id="rId9" Type="http://schemas.openxmlformats.org/officeDocument/2006/relationships/image" Target="../media/image134.jpeg"/></Relationships>
</file>

<file path=ppt/slides/_rels/slide26.xml.rels><?xml version="1.0" encoding="UTF-8" standalone="yes"?>
<Relationships xmlns="http://schemas.openxmlformats.org/package/2006/relationships"><Relationship Id="rId8" Type="http://schemas.openxmlformats.org/officeDocument/2006/relationships/image" Target="../media/image135.png"/><Relationship Id="rId13" Type="http://schemas.openxmlformats.org/officeDocument/2006/relationships/image" Target="../media/image147.png"/><Relationship Id="rId3" Type="http://schemas.openxmlformats.org/officeDocument/2006/relationships/image" Target="../media/image140.png"/><Relationship Id="rId7" Type="http://schemas.openxmlformats.org/officeDocument/2006/relationships/image" Target="../media/image142.png"/><Relationship Id="rId12" Type="http://schemas.openxmlformats.org/officeDocument/2006/relationships/image" Target="../media/image146.jpeg"/><Relationship Id="rId2" Type="http://schemas.openxmlformats.org/officeDocument/2006/relationships/image" Target="../media/image139.jpeg"/><Relationship Id="rId1" Type="http://schemas.openxmlformats.org/officeDocument/2006/relationships/slideLayout" Target="../slideLayouts/slideLayout1423.xml"/><Relationship Id="rId6" Type="http://schemas.openxmlformats.org/officeDocument/2006/relationships/image" Target="../media/image129.svg"/><Relationship Id="rId11" Type="http://schemas.openxmlformats.org/officeDocument/2006/relationships/image" Target="../media/image145.png"/><Relationship Id="rId5" Type="http://schemas.openxmlformats.org/officeDocument/2006/relationships/image" Target="../media/image128.pn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41.png"/><Relationship Id="rId9" Type="http://schemas.openxmlformats.org/officeDocument/2006/relationships/image" Target="../media/image143.png"/><Relationship Id="rId14" Type="http://schemas.openxmlformats.org/officeDocument/2006/relationships/image" Target="../media/image148.png"/></Relationships>
</file>

<file path=ppt/slides/_rels/slide27.xml.rels><?xml version="1.0" encoding="UTF-8" standalone="yes"?>
<Relationships xmlns="http://schemas.openxmlformats.org/package/2006/relationships"><Relationship Id="rId8" Type="http://schemas.openxmlformats.org/officeDocument/2006/relationships/image" Target="../media/image151.jpeg"/><Relationship Id="rId13" Type="http://schemas.openxmlformats.org/officeDocument/2006/relationships/image" Target="../media/image156.png"/><Relationship Id="rId3" Type="http://schemas.openxmlformats.org/officeDocument/2006/relationships/image" Target="../media/image142.png"/><Relationship Id="rId7" Type="http://schemas.openxmlformats.org/officeDocument/2006/relationships/image" Target="../media/image150.jpeg"/><Relationship Id="rId12" Type="http://schemas.openxmlformats.org/officeDocument/2006/relationships/image" Target="../media/image155.pn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29.svg"/><Relationship Id="rId11" Type="http://schemas.openxmlformats.org/officeDocument/2006/relationships/image" Target="../media/image154.png"/><Relationship Id="rId5" Type="http://schemas.openxmlformats.org/officeDocument/2006/relationships/image" Target="../media/image128.png"/><Relationship Id="rId10" Type="http://schemas.openxmlformats.org/officeDocument/2006/relationships/image" Target="../media/image153.jpeg"/><Relationship Id="rId4" Type="http://schemas.openxmlformats.org/officeDocument/2006/relationships/image" Target="../media/image130.png"/><Relationship Id="rId9" Type="http://schemas.openxmlformats.org/officeDocument/2006/relationships/image" Target="../media/image152.jpeg"/></Relationships>
</file>

<file path=ppt/slides/_rels/slide28.xml.rels><?xml version="1.0" encoding="UTF-8" standalone="yes"?>
<Relationships xmlns="http://schemas.openxmlformats.org/package/2006/relationships"><Relationship Id="rId8" Type="http://schemas.openxmlformats.org/officeDocument/2006/relationships/image" Target="../media/image158.jpeg"/><Relationship Id="rId13" Type="http://schemas.openxmlformats.org/officeDocument/2006/relationships/image" Target="../media/image156.png"/><Relationship Id="rId3" Type="http://schemas.openxmlformats.org/officeDocument/2006/relationships/image" Target="../media/image142.png"/><Relationship Id="rId7" Type="http://schemas.openxmlformats.org/officeDocument/2006/relationships/image" Target="../media/image157.jpeg"/><Relationship Id="rId12" Type="http://schemas.openxmlformats.org/officeDocument/2006/relationships/image" Target="../media/image155.pn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29.svg"/><Relationship Id="rId11" Type="http://schemas.openxmlformats.org/officeDocument/2006/relationships/image" Target="../media/image154.png"/><Relationship Id="rId5" Type="http://schemas.openxmlformats.org/officeDocument/2006/relationships/image" Target="../media/image128.png"/><Relationship Id="rId10" Type="http://schemas.openxmlformats.org/officeDocument/2006/relationships/image" Target="../media/image160.jpeg"/><Relationship Id="rId4" Type="http://schemas.openxmlformats.org/officeDocument/2006/relationships/image" Target="../media/image130.png"/><Relationship Id="rId9" Type="http://schemas.openxmlformats.org/officeDocument/2006/relationships/image" Target="../media/image159.jpeg"/></Relationships>
</file>

<file path=ppt/slides/_rels/slide29.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42.png"/><Relationship Id="rId7" Type="http://schemas.openxmlformats.org/officeDocument/2006/relationships/image" Target="../media/image164.png"/><Relationship Id="rId12" Type="http://schemas.openxmlformats.org/officeDocument/2006/relationships/image" Target="../media/image169.pn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63.png"/><Relationship Id="rId11" Type="http://schemas.openxmlformats.org/officeDocument/2006/relationships/image" Target="../media/image168.png"/><Relationship Id="rId5" Type="http://schemas.openxmlformats.org/officeDocument/2006/relationships/image" Target="../media/image162.jpeg"/><Relationship Id="rId10" Type="http://schemas.openxmlformats.org/officeDocument/2006/relationships/image" Target="../media/image167.svg"/><Relationship Id="rId4" Type="http://schemas.openxmlformats.org/officeDocument/2006/relationships/image" Target="../media/image161.png"/><Relationship Id="rId9" Type="http://schemas.openxmlformats.org/officeDocument/2006/relationships/image" Target="../media/image166.png"/></Relationships>
</file>

<file path=ppt/slides/_rels/slide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423.xml"/><Relationship Id="rId4" Type="http://schemas.openxmlformats.org/officeDocument/2006/relationships/image" Target="../media/image98.svg"/></Relationships>
</file>

<file path=ppt/slides/_rels/slide30.xml.rels><?xml version="1.0" encoding="UTF-8" standalone="yes"?>
<Relationships xmlns="http://schemas.openxmlformats.org/package/2006/relationships"><Relationship Id="rId8" Type="http://schemas.openxmlformats.org/officeDocument/2006/relationships/image" Target="../media/image168.png"/><Relationship Id="rId3" Type="http://schemas.openxmlformats.org/officeDocument/2006/relationships/image" Target="../media/image142.png"/><Relationship Id="rId7" Type="http://schemas.openxmlformats.org/officeDocument/2006/relationships/image" Target="../media/image167.svg"/><Relationship Id="rId2" Type="http://schemas.openxmlformats.org/officeDocument/2006/relationships/image" Target="../media/image119.jpeg"/><Relationship Id="rId1" Type="http://schemas.openxmlformats.org/officeDocument/2006/relationships/slideLayout" Target="../slideLayouts/slideLayout1423.xml"/><Relationship Id="rId6" Type="http://schemas.openxmlformats.org/officeDocument/2006/relationships/image" Target="../media/image166.png"/><Relationship Id="rId5" Type="http://schemas.openxmlformats.org/officeDocument/2006/relationships/image" Target="../media/image170.png"/><Relationship Id="rId4" Type="http://schemas.openxmlformats.org/officeDocument/2006/relationships/image" Target="../media/image161.png"/><Relationship Id="rId9" Type="http://schemas.openxmlformats.org/officeDocument/2006/relationships/image" Target="../media/image169.png"/></Relationships>
</file>

<file path=ppt/slides/_rels/slide31.xml.rels><?xml version="1.0" encoding="UTF-8" standalone="yes"?>
<Relationships xmlns="http://schemas.openxmlformats.org/package/2006/relationships"><Relationship Id="rId8" Type="http://schemas.openxmlformats.org/officeDocument/2006/relationships/image" Target="../media/image177.pn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image" Target="../media/image171.jpeg"/><Relationship Id="rId1" Type="http://schemas.openxmlformats.org/officeDocument/2006/relationships/slideLayout" Target="../slideLayouts/slideLayout1423.xml"/><Relationship Id="rId6" Type="http://schemas.openxmlformats.org/officeDocument/2006/relationships/image" Target="../media/image175.jpeg"/><Relationship Id="rId5" Type="http://schemas.openxmlformats.org/officeDocument/2006/relationships/image" Target="../media/image174.png"/><Relationship Id="rId10" Type="http://schemas.openxmlformats.org/officeDocument/2006/relationships/image" Target="../media/image179.svg"/><Relationship Id="rId4" Type="http://schemas.openxmlformats.org/officeDocument/2006/relationships/image" Target="../media/image173.jpeg"/><Relationship Id="rId9" Type="http://schemas.openxmlformats.org/officeDocument/2006/relationships/image" Target="../media/image178.png"/></Relationships>
</file>

<file path=ppt/slides/_rels/slide32.xml.rels><?xml version="1.0" encoding="UTF-8" standalone="yes"?>
<Relationships xmlns="http://schemas.openxmlformats.org/package/2006/relationships"><Relationship Id="rId8" Type="http://schemas.openxmlformats.org/officeDocument/2006/relationships/image" Target="../media/image181.png"/><Relationship Id="rId13" Type="http://schemas.openxmlformats.org/officeDocument/2006/relationships/image" Target="../media/image185.jpeg"/><Relationship Id="rId3" Type="http://schemas.openxmlformats.org/officeDocument/2006/relationships/slideLayout" Target="../slideLayouts/slideLayout1423.xml"/><Relationship Id="rId7" Type="http://schemas.openxmlformats.org/officeDocument/2006/relationships/image" Target="../media/image180.png"/><Relationship Id="rId12" Type="http://schemas.openxmlformats.org/officeDocument/2006/relationships/image" Target="../media/image184.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79.svg"/><Relationship Id="rId11" Type="http://schemas.openxmlformats.org/officeDocument/2006/relationships/image" Target="../media/image183.png"/><Relationship Id="rId5" Type="http://schemas.openxmlformats.org/officeDocument/2006/relationships/image" Target="../media/image178.png"/><Relationship Id="rId10" Type="http://schemas.openxmlformats.org/officeDocument/2006/relationships/image" Target="../media/image138.png"/><Relationship Id="rId4" Type="http://schemas.openxmlformats.org/officeDocument/2006/relationships/image" Target="../media/image119.jpeg"/><Relationship Id="rId9" Type="http://schemas.openxmlformats.org/officeDocument/2006/relationships/image" Target="../media/image18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23.xml"/></Relationships>
</file>

<file path=ppt/slides/_rels/slide34.xml.rels><?xml version="1.0" encoding="UTF-8" standalone="yes"?>
<Relationships xmlns="http://schemas.openxmlformats.org/package/2006/relationships"><Relationship Id="rId8" Type="http://schemas.openxmlformats.org/officeDocument/2006/relationships/image" Target="../media/image192.png"/><Relationship Id="rId13" Type="http://schemas.openxmlformats.org/officeDocument/2006/relationships/image" Target="../media/image197.png"/><Relationship Id="rId3" Type="http://schemas.openxmlformats.org/officeDocument/2006/relationships/image" Target="../media/image187.png"/><Relationship Id="rId7" Type="http://schemas.openxmlformats.org/officeDocument/2006/relationships/image" Target="../media/image191.png"/><Relationship Id="rId12" Type="http://schemas.openxmlformats.org/officeDocument/2006/relationships/image" Target="../media/image196.png"/><Relationship Id="rId2" Type="http://schemas.openxmlformats.org/officeDocument/2006/relationships/image" Target="../media/image186.png"/><Relationship Id="rId1" Type="http://schemas.openxmlformats.org/officeDocument/2006/relationships/slideLayout" Target="../slideLayouts/slideLayout1423.xml"/><Relationship Id="rId6" Type="http://schemas.openxmlformats.org/officeDocument/2006/relationships/image" Target="../media/image190.png"/><Relationship Id="rId11" Type="http://schemas.openxmlformats.org/officeDocument/2006/relationships/image" Target="../media/image195.jpeg"/><Relationship Id="rId5" Type="http://schemas.openxmlformats.org/officeDocument/2006/relationships/image" Target="../media/image189.png"/><Relationship Id="rId10" Type="http://schemas.openxmlformats.org/officeDocument/2006/relationships/image" Target="../media/image194.png"/><Relationship Id="rId4" Type="http://schemas.openxmlformats.org/officeDocument/2006/relationships/image" Target="../media/image188.png"/><Relationship Id="rId9" Type="http://schemas.openxmlformats.org/officeDocument/2006/relationships/image" Target="../media/image193.png"/><Relationship Id="rId14" Type="http://schemas.openxmlformats.org/officeDocument/2006/relationships/image" Target="../media/image198.jpeg"/></Relationships>
</file>

<file path=ppt/slides/_rels/slide35.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42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12.xml"/><Relationship Id="rId1" Type="http://schemas.openxmlformats.org/officeDocument/2006/relationships/slideLayout" Target="../slideLayouts/slideLayout1479.xml"/><Relationship Id="rId4" Type="http://schemas.openxmlformats.org/officeDocument/2006/relationships/image" Target="../media/image201.png"/></Relationships>
</file>

<file path=ppt/slides/_rels/slide3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3.xml"/><Relationship Id="rId1" Type="http://schemas.openxmlformats.org/officeDocument/2006/relationships/slideLayout" Target="../slideLayouts/slideLayout1479.xml"/></Relationships>
</file>

<file path=ppt/slides/_rels/slide39.xml.rels><?xml version="1.0" encoding="UTF-8" standalone="yes"?>
<Relationships xmlns="http://schemas.openxmlformats.org/package/2006/relationships"><Relationship Id="rId3" Type="http://schemas.openxmlformats.org/officeDocument/2006/relationships/image" Target="../media/image203.jpeg"/><Relationship Id="rId2" Type="http://schemas.openxmlformats.org/officeDocument/2006/relationships/notesSlide" Target="../notesSlides/notesSlide14.xml"/><Relationship Id="rId1" Type="http://schemas.openxmlformats.org/officeDocument/2006/relationships/slideLayout" Target="../slideLayouts/slideLayout1481.xml"/></Relationships>
</file>

<file path=ppt/slides/_rels/slide4.xml.rels><?xml version="1.0" encoding="UTF-8" standalone="yes"?>
<Relationships xmlns="http://schemas.openxmlformats.org/package/2006/relationships"><Relationship Id="rId3" Type="http://schemas.openxmlformats.org/officeDocument/2006/relationships/image" Target="../media/image98.svg"/><Relationship Id="rId2" Type="http://schemas.openxmlformats.org/officeDocument/2006/relationships/image" Target="../media/image97.png"/><Relationship Id="rId1" Type="http://schemas.openxmlformats.org/officeDocument/2006/relationships/slideLayout" Target="../slideLayouts/slideLayout1423.xml"/><Relationship Id="rId6" Type="http://schemas.openxmlformats.org/officeDocument/2006/relationships/hyperlink" Target="mailto:info@ilpqc.org" TargetMode="External"/><Relationship Id="rId5" Type="http://schemas.openxmlformats.org/officeDocument/2006/relationships/image" Target="../media/image100.png"/><Relationship Id="rId4" Type="http://schemas.openxmlformats.org/officeDocument/2006/relationships/image" Target="../media/image99.jpeg"/></Relationships>
</file>

<file path=ppt/slides/_rels/slide40.xml.rels><?xml version="1.0" encoding="UTF-8" standalone="yes"?>
<Relationships xmlns="http://schemas.openxmlformats.org/package/2006/relationships"><Relationship Id="rId3" Type="http://schemas.openxmlformats.org/officeDocument/2006/relationships/image" Target="../media/image204.png"/><Relationship Id="rId2" Type="http://schemas.openxmlformats.org/officeDocument/2006/relationships/notesSlide" Target="../notesSlides/notesSlide15.xml"/><Relationship Id="rId1" Type="http://schemas.openxmlformats.org/officeDocument/2006/relationships/slideLayout" Target="../slideLayouts/slideLayout1481.xml"/><Relationship Id="rId4" Type="http://schemas.openxmlformats.org/officeDocument/2006/relationships/image" Target="../media/image20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79.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47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147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147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7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79.xml"/></Relationships>
</file>

<file path=ppt/slides/_rels/slide47.xml.rels><?xml version="1.0" encoding="UTF-8" standalone="yes"?>
<Relationships xmlns="http://schemas.openxmlformats.org/package/2006/relationships"><Relationship Id="rId3" Type="http://schemas.openxmlformats.org/officeDocument/2006/relationships/image" Target="../media/image206.emf"/><Relationship Id="rId2" Type="http://schemas.openxmlformats.org/officeDocument/2006/relationships/oleObject" Target="../embeddings/oleObject16.bin"/><Relationship Id="rId1" Type="http://schemas.openxmlformats.org/officeDocument/2006/relationships/slideLayout" Target="../slideLayouts/slideLayout1479.xml"/><Relationship Id="rId5" Type="http://schemas.openxmlformats.org/officeDocument/2006/relationships/oleObject" Target="../embeddings/oleObject17.bin"/><Relationship Id="rId4" Type="http://schemas.openxmlformats.org/officeDocument/2006/relationships/image" Target="../media/image207.png"/></Relationships>
</file>

<file path=ppt/slides/_rels/slide48.xml.rels><?xml version="1.0" encoding="UTF-8" standalone="yes"?>
<Relationships xmlns="http://schemas.openxmlformats.org/package/2006/relationships"><Relationship Id="rId3" Type="http://schemas.openxmlformats.org/officeDocument/2006/relationships/hyperlink" Target="https://www.bryanhealth.com/npqic-birth-equity-initiative/" TargetMode="External"/><Relationship Id="rId2" Type="http://schemas.openxmlformats.org/officeDocument/2006/relationships/notesSlide" Target="../notesSlides/notesSlide22.xml"/><Relationship Id="rId1" Type="http://schemas.openxmlformats.org/officeDocument/2006/relationships/slideLayout" Target="../slideLayouts/slideLayout147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479.xml"/></Relationships>
</file>

<file path=ppt/slides/_rels/slide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468.xml"/><Relationship Id="rId6" Type="http://schemas.openxmlformats.org/officeDocument/2006/relationships/image" Target="../media/image105.svg"/><Relationship Id="rId5" Type="http://schemas.openxmlformats.org/officeDocument/2006/relationships/image" Target="../media/image104.png"/><Relationship Id="rId4" Type="http://schemas.openxmlformats.org/officeDocument/2006/relationships/image" Target="../media/image103.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479.xml"/></Relationships>
</file>

<file path=ppt/slides/_rels/slide51.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9.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hyperlink" Target="https://urldefense.com/v3/__https:/bit.ly/4bYlJl2__;!!Dq0X2DkFhyF93HkjWTBQKhk!SEwbE9REdncReGKOO5ueWYj5XJcTO1VKTQ8AJ9k4OX7Eq68VyW4mdPnRYeaNf7cPEJGB6m1iKThbgpgMXhbGkic$" TargetMode="Externa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hyperlink" Target="https://urldefense.com/v3/__https:/mail.nichq.org/e3t/Ctc/ZP*113/cbHWR04/VWRC3p5PL7LTW8FLYqD6NLwY-W1sXT7r5b5SP3N4Pt_MY3qgyTW7lCdLW6lZ3nDW66JRk322jG8RW3HZnF790TCkvW2X0vRZ7nH_vTW1cjm9d4f1FChW8Pqgqs1WYBstW3d5NzQ3qLBbWW36KhN_4n8k2dW3Tmqgt53swPHN6vkj-rxWJx-W1fFJl718RNwLW6QGTG13Kgn8KW79R4d52D6xYZW2K7Pqw57TF7FW8m5BDh5746lmW6ywg-Z28X-0HW55wSjF79rb1XV1pZDK7zSR1GW1J9z1j5Sk2J6W78R1JJ3pg9qBW4LKRM72rCDWBW898DSm8FSnY0W2MX6YT3RCk9VW3XTDWS80BffbW7T9r6G7mmCzJf86KMzx04__;Kw!!Dq0X2DkFhyF93HkjWTBQKhk!SEwbE9REdncReGKOO5ueWYj5XJcTO1VKTQ8AJ9k4OX7Eq68VyW4mdPnRYeaNf7cPEJGB6m1iKThbgpgMvPoanmk$" TargetMode="External"/><Relationship Id="rId1" Type="http://schemas.openxmlformats.org/officeDocument/2006/relationships/slideLayout" Target="../slideLayouts/slideLayout3.xml"/><Relationship Id="rId4" Type="http://schemas.openxmlformats.org/officeDocument/2006/relationships/image" Target="../media/image213.jpeg"/></Relationships>
</file>

<file path=ppt/slides/_rels/slide56.xml.rels><?xml version="1.0" encoding="UTF-8" standalone="yes"?>
<Relationships xmlns="http://schemas.openxmlformats.org/package/2006/relationships"><Relationship Id="rId2" Type="http://schemas.openxmlformats.org/officeDocument/2006/relationships/image" Target="../media/image214.jpe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hyperlink" Target="https://ilpqc.org/ILPQC%202020%2B/PVB/Toolkit/IR/30-60-90%20Day%20Plan%20Template.pdf" TargetMode="External"/><Relationship Id="rId2" Type="http://schemas.openxmlformats.org/officeDocument/2006/relationships/hyperlink" Target="mailto:info@ilpqc.org" TargetMode="Externa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215.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216.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xml"/><Relationship Id="rId1" Type="http://schemas.openxmlformats.org/officeDocument/2006/relationships/slideLayout" Target="../slideLayouts/slideLayout1476.xml"/></Relationships>
</file>

<file path=ppt/slides/_rels/slide60.xml.rels><?xml version="1.0" encoding="UTF-8" standalone="yes"?>
<Relationships xmlns="http://schemas.openxmlformats.org/package/2006/relationships"><Relationship Id="rId2" Type="http://schemas.openxmlformats.org/officeDocument/2006/relationships/hyperlink" Target="https://urldefense.com/v3/__https:/secure-web.cisco.com/1Lv7iXmtqVs8m5Xn8dWIgx9wkxXDebo85-qieaivw9nWgAQxP5Nz-EM2-uAlgLMZADhnCPT-gVMlzRp83nPPBDplOHQlHCjL7sy7LPm7jvZvQF7QyxJTHtkW7KWhahiDTVHQ5Tl76T6zhkN7dymcmCTFWQioW93fd5inmmfC_6A9fYgZxn1061sQ0pbnPe6t37h8kG3U_W3K-da0rrP6fujx0wkEF0B_w-eY5WytwEmxrKWTwm5YLGfcJthzCVvYsvo1N-QYHpKhj5KXD-rx1LAF9xmqr7WNMKfSl_Xp6Urs4cZU8rdRqlLD7Q6p-6IJ3-72mrJ8bqlDrCbP7JdeyADpgbOGWsyJMCvUbU6Wbl6VqxNgkE28Cmv4yKcxRV2XtvGNqjvA1cLGuP7cznjOLtyIdwNYxyEiVXoDkcvpMIpA/https*3A*2F*2Fsurvey.alchemer.com*2Fs3*2F7680328*2FIllinois-CLC-S-Mapping-Project-Survey-2024__;JSUlJSUl!!Dq0X2DkFhyF93HkjWTBQKhk!SHhKe0JQY9VqaMmMbvi0Ep40u4qhdufCqK6BQUh1X_bMIl9uSEpCCioynVEkE35ev_RF5uWlva2-2eZnC6poEd9LcWPZ4xKyxenRh-rB4w$" TargetMode="Externa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8" Type="http://schemas.openxmlformats.org/officeDocument/2006/relationships/hyperlink" Target="mailto:mPINC@cdc.gov" TargetMode="External"/><Relationship Id="rId3" Type="http://schemas.openxmlformats.org/officeDocument/2006/relationships/hyperlink" Target="https://urldefense.com/v3/__https:/secure-web.cisco.com/1lf2BjkU1QbUpkws_2nF9zTulh5bmbCsm6KR1BBKbBMl4JWZ9GVFh8CKa36R0pKxuHm-FYLgH4oMQVkzUPQfLzgBiAydfOX6dsF7M7gmdwRhAZENp_vaR9Vze3aqnKYh8j4j8rpe-YLxs0eqWeA2bZ0Aq4z_H56wChm9Z-8ZHvYrX0uaodChvFFhB9BNs-Pj1ngJ35Z-Em2X2Dkwd_Mszld-EcZM8y2GUb3hzdJMYecvgar7EeAUafsPrBFrKZPxfkjxN33w3CXxFv8-GooUzCl54ZeJ9wLCWmBmnI82C2rKOcrbQmsId8TupLtgjE0toFktB3Lbb7SjcfxlGY-AGhuLJjxROAWY2zJia6D2T5aq0v4_AwRvaouDRHxmOQHFjDZF_xjFW0IxZSpv6lzMYnMGYE_AgaZjpVPJtfVRt788/https*3A*2F*2Furldefense.com*2Fv3*2F__https*3A*2Fsecure-web.cisco.com*2F1WpD-KmMXUbWcLaR1fOQ8TWWd8OqA0rzxBk8q3-2IWH_9pqBPxzwbYfANWDXg4_8q6Qic_l8HJ9Su6USPDXhC2mHGJRG8EZpEr0V1TXETHZ6Qm0NRDEtSRmPJjAZRKCRz3Jh_E0Q4gijQiis28XfVx4nl2j36XfmVniqPgs2movuaRR6Zairn_nY33h1ZezpxMafjLe5NJzINp1xjZ4EOE6ZyZgOocn-c6a0b71_7zlnRkoQpoxJULrdrRy0lJ6VsOr9zA0Ow68e21kb4hgEbrJtc9VTO4GdLZxHa_77aFhFZ2iBMVYCUifyKeBRJ67Bt7E6qO8LeUMSX8Lnvtjzw0Z_97NtzGw8mTMndmTHRzX5ICxaW6-oFgacvJkv8KW1X7C_hKLwaD0FlyJKxzLnKv8i82tYe_dmHrTYvGhTik8s*2Fhttps*2A3A*2A2F*2A2Fwww.cdc.gov*2A2Fbreastfeeding*2A2Fdata*2A2Ften-steps-assessment-tool*2A2Findex.html__*3BJSUlJSUlJQ*21*21Dq0X2DkFhyF93HkjWTBQKhk*21SFRf0MQDsmG02p-jDEu96BrGQyLeiRRqvRF8TflHFa6flfq4TBcdG5JjGjPiccIXQFQF2KaCbMyxemCViZDHniHjpMz6KRQsOBd9I--DMw*24__;JSUlJSUlJSUlJSUlJSUlJSUlJSUl!!Dq0X2DkFhyF93HkjWTBQKhk!QxFjMOcahpYPaXEe0QYJDZMAhh8EqPC84jyL9dIdtKWkARzcM8M6fzkKkfYKA6dicZsaU-LQ2FRFpjKInRwvdpOZOjwT52OutyIOxN7e1w$" TargetMode="External"/><Relationship Id="rId7" Type="http://schemas.openxmlformats.org/officeDocument/2006/relationships/hyperlink" Target="https://urldefense.com/v3/__https:/secure-web.cisco.com/179MtPD87H4e6iZ9CmUKxcTDD13SJffnIXPcIZblD0lCuMkYCAYYoBgJFUMiccXh0ERsbHPy2Z2IpOzsPr_E7kws2UNjlEPpjTIGpNu5DpJjZu52D8-kSN00_y4D9RG3XmTR2tXFgDZHNu_7YNal79vVHNSy8xF67y99h29adeoZRTBdB2dKpX65vTn0yN2c1OxZLopAA0KwFrdGG0232IqU-1wRtDn0dtWBSbIujaU89WB8pVlEJO4XN-xHXFVIIIv-e-2EN9lvqPmhksLibIa4qxvSElFdS_qEhKs1FTw8NIwAziaVEZktxu3k79EKcC2beOlbHrm_C1B5raYXUaFM4Dx5To3n72vdSULSQL_UuPLx_XPKPkdGqDA9IK_x4V08sanPWK480CzHP8Hf6HQrklKabxD81P60QaAJUOMI/https*3A*2F*2Furldefense.com*2Fv3*2F__https*3A*2Fsecure-web.cisco.com*2F1P6F55uo91xQxR9rzNF3Y80tZbo7JmtvWFOgrNPRGXjNwdf1iaWRuvfc-EsG00ibxrwFiVuP3231FryBXj_iMVRKL-j6l4MNYjoD49w7NlmCQOzIGiXdppYoIghYRHvwgxaqnRbQCOf3FCuXmplQE3Pv7hsbnu7jMH5YGu7MQ8As5tKA7dSMxMeVincwNiy7bEK37ncJlZTwomr3hg1gf7RIDNg1eSFEVkL6XxpU_3rmn3P8qtXD8NkbZ7udZ5s231RE_4JE6pg5uSbLn7RC-pHyPpkMZh0Cq28o9SCXijakv0qPMeQfS_B1pFnFZAAesmJUPbT-VnFWDVgFMYu-lbjrN88WrbuH9EhAmMTg6323rg7wpDpgpsrKhWk3ZqHKdymYNenT-ZyGQuzI3xAuT0pIbgjkYOQTE3Ro2mn6qybA*2Fhttps*2A3A*2A2F*2A2Fwww.cdc.gov*2A2Fbreastfeeding*2A2Fdata*2A2Fmpinc*2A2Fnational-report.html__*3BJSUlJSUlJQ*21*21Dq0X2DkFhyF93HkjWTBQKhk*21SFRf0MQDsmG02p-jDEu96BrGQyLeiRRqvRF8TflHFa6flfq4TBcdG5JjGjPiccIXQFQF2KaCbMyxemCViZDHniHjpMz6KRQsOBe5CHKoCw*24__;JSUlJSUlJSUlJSUlJSUlJSUlJSUl!!Dq0X2DkFhyF93HkjWTBQKhk!QxFjMOcahpYPaXEe0QYJDZMAhh8EqPC84jyL9dIdtKWkARzcM8M6fzkKkfYKA6dicZsaU-LQ2FRFpjKInRwvdpOZOjwT52OutyKvPur5dQ$" TargetMode="External"/><Relationship Id="rId2" Type="http://schemas.openxmlformats.org/officeDocument/2006/relationships/hyperlink" Target="https://www.cdc.gov/breastfeeding/data/mpinc/index.htm" TargetMode="External"/><Relationship Id="rId1" Type="http://schemas.openxmlformats.org/officeDocument/2006/relationships/slideLayout" Target="../slideLayouts/slideLayout3.xml"/><Relationship Id="rId6" Type="http://schemas.openxmlformats.org/officeDocument/2006/relationships/hyperlink" Target="https://urldefense.com/v3/__https:/secure-web.cisco.com/19b54Q0gg-wK6K_tRVRJkzH6gM37AI-aHrElJkDg3vYOk6fmJ-ySfPurjVwlMKuzN1jSlEry8pRTDzKF4TpXJJx2Tos5Z7optrM7iuEISJtsUCu7TGs1gBoH1xwTZEtw8czJ5IJKBqUNKHmv0LT_yM0lISfLjSwBub9a0G5hCCtIDr2uBhTSLPeZtxFFP4H7sgO-mLu1r9WR95REoOag9iuKz8ipS-xuCNEhNT_YE-SiRwY7Bqa41cQHgNshif9fVA2AfaCW5_GXO1ENxZ99TZ_GP5zI23hcJU6IiYAUQV9lsZlE2SPKj6YpCgYHwgVHlPL8oWiTzgEzEAV_oAi6k8fYEnJGxPfKgtLQTys104IXGDBQgOeLs79lYanNhKwp4rVupINt0rvbP03sRe1D-TKSIDeSK2KrvUiw4gpZiC9E/https*3A*2F*2Furldefense.com*2Fv3*2F__https*3A*2Fsecure-web.cisco.com*2F1QfSFtoYHnDMlajUeJXYYEWfXbjXN3izMFagHUVCvM9IxbZLttOdrT6d91l7d-AUOD3pPtYQKpowN5qioCl4fIUb8FQJ7str__UhToG-TP1HnRL-No6akEY6055ihQlWWFjt6tmFggNY7McUuh2HWiEWqBQdBRDZFMY5K0-QoFbcGceULB0PMqAHgLcPjOgZ7Dy8jvooianVadkDBf_hDeuwVJCBVEZ8h3t4ZjXQrsLJrkkIWTUtL-xew-VjvPGe97j3Wq5ulaxRUcAKDWhqiV-z1h0UIXYcbweLjrFABzX5HmXnfHctkGZaQbr5zy6VzEPbspkSKjTKkZyYHLL3LMun8S0DC0ZseYZaUQeKjKYyMR-kbX9LO0h8lArfL9Ux5aaFAoPyBjQNKH1H09hVhnq4JqDNP2ZoEPPxQMS9xw5k*2Fhttps*2A3A*2A2F*2A2Fwww.cdc.gov*2A2Fbreastfeeding*2A2Fdata*2A2Fmpinc*2A2Fregional-report.html__*3BJSUlJSUlJQ*21*21Dq0X2DkFhyF93HkjWTBQKhk*21SFRf0MQDsmG02p-jDEu96BrGQyLeiRRqvRF8TflHFa6flfq4TBcdG5JjGjPiccIXQFQF2KaCbMyxemCViZDHniHjpMz6KRQsOBeh0JL5uA*24__;JSUlJSUlJSUlJSUlJSUlJSUlJSUl!!Dq0X2DkFhyF93HkjWTBQKhk!QxFjMOcahpYPaXEe0QYJDZMAhh8EqPC84jyL9dIdtKWkARzcM8M6fzkKkfYKA6dicZsaU-LQ2FRFpjKInRwvdpOZOjwT52OutyLSCjnBFA$" TargetMode="External"/><Relationship Id="rId5" Type="http://schemas.openxmlformats.org/officeDocument/2006/relationships/hyperlink" Target="https://urldefense.com/v3/__https:/secure-web.cisco.com/18kN6P_jXL54dV82u3haL0YqS4GZDQr7WRuG5ZeiLu9puC5b6brE9yFzcakKTa8TyXGclhBdKxbkm-dazFZrMw0WuJsYpgpjNGGibZPwwJOCBPUqqWhNS8Z9Ao_9CMO0FvT_z-reRjSsdmm0HyEiAB3XzJqsFKyAIOFUAyaPWS1tfkanbGF96BjxO9IfzKXm7rAZu9U9JS0aINjH_eaNCRlUyB2-7GTkjQxGCIkUJvda5PjkBEuQfrMn_Bxj3-Ka_DjEn5CywAwXrdpdua2-x7iylSnSgWXLeAiYup_61gzqf4XP9wPc3m4B19WXw0NH9ibDDHXUA0p0DpraeSzTA0JdymjuSlRpZdKKVBjyAyyxr8NIZ8BXxR6nmySRaVI_cvEG_5bHgtK50nbgE60rxxdgDnqknBQ1xixpfExD7MmQ/https*3A*2F*2Furldefense.com*2Fv3*2F__https*3A*2Fsecure-web.cisco.com*2F1TEK48y55P9-r15yMQ5vwQYXj8Tx-cE8HGFSFqMx5UQjoP1XhoguC06OBNXieWjzwDN3KW9Ky6K65e0oqWReJwpwsoI8BavlNqn3I9LcunZ8dtb2I3B9xL4bNacPReK2vuHONUR3AH6jzh3O_9bvGpeDE9E-r3iI0VhQE-FSP7qcnH-jAVG0AIP6HLgX-39jXdXUPLq3XbhKU0_CuIGUk2nI2lyKV8PYGpfsAPspuOmdID8hfnL-DZc_HisViaTMLGyyZhFSG3u37Pji5wk08B1AUs10R3dEVRr-1B5F26NPtVNcjaDySmjnO3_Vj9tOEyhCcVFX9AtnDrpgCJGUw6y_TA3qIuworKd1iE1N33dx6Rlt1r8N65Dcan5X5cGbjJ1AqPlsXKMjyxYKMbYYas7nw1Np5i8C5fAeEJebYN4c*2Fhttps*2A3A*2A2F*2A2Fwww.cdc.gov*2A2Fbreastfeeding*2A2Fdata*2A2Fmpinc*2A2Fstate_reports.html__*3BJSUlJSUlJQ*21*21Dq0X2DkFhyF93HkjWTBQKhk*21SFRf0MQDsmG02p-jDEu96BrGQyLeiRRqvRF8TflHFa6flfq4TBcdG5JjGjPiccIXQFQF2KaCbMyxemCViZDHniHjpMz6KRQsOBepqCxAFg*24__;JSUlJSUlJSUlJSUlJSUlJSUlJSUl!!Dq0X2DkFhyF93HkjWTBQKhk!QxFjMOcahpYPaXEe0QYJDZMAhh8EqPC84jyL9dIdtKWkARzcM8M6fzkKkfYKA6dicZsaU-LQ2FRFpjKInRwvdpOZOjwT52OutyIv8f0cZg$" TargetMode="External"/><Relationship Id="rId4" Type="http://schemas.openxmlformats.org/officeDocument/2006/relationships/hyperlink" Target="https://urldefense.com/v3/__https:/secure-web.cisco.com/1l1YL3V-eX-YNA5kb5CvQqmqsGZvwX7iZrJYTb8hKFAB8j2r-M2DEuZb1o5_7Vg2LyW7CKV319obd4oW1-StYxSZzaZ5pvQjEcUXnaBDRNo_wkGrIYL2rh_W4Td32wjRboUuu06G-tN2HYPzomvgDh4eUZLSi2LTYDDH281shZPcixDr1uEuurR1HSXt72CLNuBVDVC_AUhVYazcD_IGHIkeG0VaRk4oDcjJirFQU5H42rbfY7BGCXFYTcFRezecMI_Up8Hn8HbZBI0npRcphigsSeceRGC_Q_yfRNH4x4PEAdvzo2ikXZizq1Wt5LTqZfvqNX3XyMQpaWkdf3Zu81TTEUBywaYWcqhox7PvdgPcXty9E7Hf_IZbfqd8vwun-VZzm4Pht4yXO0P_Uf2UGGuXudDEHCOwtrFXJ4E4nwYY/https*3A*2F*2Furldefense.com*2Fv3*2F__https*3A*2Fsecure-web.cisco.com*2F1TNB-e5WaMAH87QL8zcs3Qrtiir81WHg2MsBH-hLbW3wkCo00tD6e8xv-wI8h4F2IB0PVToO528GHcx3ngi5R_tvQ5qeGUkVzOpo0EzfvxRyYhNb2T_Z39Skkq_FUWpbwDwrY8Toa4Lp1zZ20bDmNfSxnkz9AlUxcwzQKLyqCxOF33OPvRpkTm6EC1zB5rOvrT9dgNNB1cUvp4MAITLxHJD-vEk6f9dgWUzZwYs-gTaj8rcaCGJRnPNOyZa-OQNwyt0lZRbx33Re2WavNez2AtNGMXp5CbKKa-J3xr8v7KU5m_7KHBSeEbdQGtVohxwfJQaiahrHHNzA5Fkv3NFgnHWeEwMU9ul4nbrYKKdBYa4OuDMy0iZhwXQRm2kl6VJJec50-XM4F6ADEm0y_7CtX70yVna8Fc0JWpmsb4Ws0GKI*2Fhttps*2A3A*2A2F*2A2Fwww.cdc.gov*2A2Fbreastfeeding*2A2Fdata*2A2Fmpinc*2A2Fsupporting-evidence.html__*3BJSUlJSUlJQ*21*21Dq0X2DkFhyF93HkjWTBQKhk*21SFRf0MQDsmG02p-jDEu96BrGQyLeiRRqvRF8TflHFa6flfq4TBcdG5JjGjPiccIXQFQF2KaCbMyxemCViZDHniHjpMz6KRQsOBfH5zgONA*24__;JSUlJSUlJSUlJSUlJSUlJSUlJSUl!!Dq0X2DkFhyF93HkjWTBQKhk!QxFjMOcahpYPaXEe0QYJDZMAhh8EqPC84jyL9dIdtKWkARzcM8M6fzkKkfYKA6dicZsaU-LQ2FRFpjKInRwvdpOZOjwT52OutyKmOpgwTg$"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38.xml"/></Relationships>
</file>

<file path=ppt/slides/_rels/slide64.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notesSlide" Target="../notesSlides/notesSlide27.xml"/><Relationship Id="rId1" Type="http://schemas.openxmlformats.org/officeDocument/2006/relationships/slideLayout" Target="../slideLayouts/slideLayout1156.xml"/><Relationship Id="rId6" Type="http://schemas.openxmlformats.org/officeDocument/2006/relationships/image" Target="../media/image221.png"/><Relationship Id="rId5" Type="http://schemas.openxmlformats.org/officeDocument/2006/relationships/image" Target="../media/image220.png"/><Relationship Id="rId4" Type="http://schemas.openxmlformats.org/officeDocument/2006/relationships/image" Target="../media/image219.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77.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930"/>
        <p:cNvGrpSpPr/>
        <p:nvPr/>
      </p:nvGrpSpPr>
      <p:grpSpPr>
        <a:xfrm>
          <a:off x="0" y="0"/>
          <a:ext cx="0" cy="0"/>
          <a:chOff x="0" y="0"/>
          <a:chExt cx="0" cy="0"/>
        </a:xfrm>
      </p:grpSpPr>
      <p:sp>
        <p:nvSpPr>
          <p:cNvPr id="11931" name="Google Shape;11931;p1"/>
          <p:cNvSpPr txBox="1">
            <a:spLocks noGrp="1"/>
          </p:cNvSpPr>
          <p:nvPr>
            <p:ph type="ctrTitle"/>
          </p:nvPr>
        </p:nvSpPr>
        <p:spPr>
          <a:xfrm>
            <a:off x="1341423" y="1418093"/>
            <a:ext cx="5130670" cy="2700755"/>
          </a:xfrm>
          <a:prstGeom prst="rect">
            <a:avLst/>
          </a:prstGeom>
          <a:noFill/>
          <a:ln>
            <a:noFill/>
          </a:ln>
        </p:spPr>
        <p:txBody>
          <a:bodyPr spcFirstLastPara="1" wrap="square" lIns="91425" tIns="45700" rIns="91425" bIns="45700" anchor="b" anchorCtr="0">
            <a:normAutofit/>
          </a:bodyPr>
          <a:lstStyle/>
          <a:p>
            <a:r>
              <a:rPr lang="en-US" dirty="0"/>
              <a:t>BE Teams Call – Expanding Patient Access to Community-based Doulas</a:t>
            </a:r>
          </a:p>
        </p:txBody>
      </p:sp>
      <p:sp>
        <p:nvSpPr>
          <p:cNvPr id="11932" name="Google Shape;11932;p1"/>
          <p:cNvSpPr txBox="1">
            <a:spLocks noGrp="1"/>
          </p:cNvSpPr>
          <p:nvPr>
            <p:ph type="subTitle" idx="1"/>
          </p:nvPr>
        </p:nvSpPr>
        <p:spPr>
          <a:xfrm>
            <a:off x="1341423" y="4198183"/>
            <a:ext cx="5194433" cy="986569"/>
          </a:xfrm>
          <a:prstGeom prst="rect">
            <a:avLst/>
          </a:prstGeom>
          <a:noFill/>
          <a:ln>
            <a:noFill/>
          </a:ln>
        </p:spPr>
        <p:txBody>
          <a:bodyPr spcFirstLastPara="1" wrap="square" lIns="91425" tIns="45700" rIns="91425" bIns="45700" anchor="t" anchorCtr="0">
            <a:normAutofit/>
          </a:bodyPr>
          <a:lstStyle/>
          <a:p>
            <a:pPr marL="0" indent="0">
              <a:spcBef>
                <a:spcPts val="0"/>
              </a:spcBef>
            </a:pPr>
            <a:r>
              <a:rPr lang="en-US" dirty="0"/>
              <a:t>March 18th, 2024</a:t>
            </a:r>
          </a:p>
        </p:txBody>
      </p:sp>
      <p:pic>
        <p:nvPicPr>
          <p:cNvPr id="11933" name="Google Shape;11933;p1" descr="Woman kissing newborn baby"/>
          <p:cNvPicPr preferRelativeResize="0"/>
          <p:nvPr/>
        </p:nvPicPr>
        <p:blipFill rotWithShape="1">
          <a:blip r:embed="rId3">
            <a:alphaModFix/>
          </a:blip>
          <a:srcRect/>
          <a:stretch/>
        </p:blipFill>
        <p:spPr>
          <a:xfrm>
            <a:off x="6709082" y="1267275"/>
            <a:ext cx="5589946" cy="3837481"/>
          </a:xfrm>
          <a:prstGeom prst="ellipse">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7BA60-D3C9-99CE-AB3E-211B43C0312B}"/>
              </a:ext>
            </a:extLst>
          </p:cNvPr>
          <p:cNvSpPr>
            <a:spLocks noGrp="1"/>
          </p:cNvSpPr>
          <p:nvPr>
            <p:ph type="title"/>
          </p:nvPr>
        </p:nvSpPr>
        <p:spPr>
          <a:xfrm>
            <a:off x="150761" y="94738"/>
            <a:ext cx="10972800" cy="1325563"/>
          </a:xfrm>
        </p:spPr>
        <p:txBody>
          <a:bodyPr/>
          <a:lstStyle/>
          <a:p>
            <a:r>
              <a:rPr lang="en-US" dirty="0"/>
              <a:t>ILPQC </a:t>
            </a:r>
            <a:r>
              <a:rPr lang="en-US" dirty="0" err="1"/>
              <a:t>RedCap</a:t>
            </a:r>
            <a:r>
              <a:rPr lang="en-US" dirty="0"/>
              <a:t> Data </a:t>
            </a:r>
            <a:br>
              <a:rPr lang="en-US" dirty="0"/>
            </a:br>
            <a:r>
              <a:rPr lang="en-US" dirty="0"/>
              <a:t>Patient Partner Questions</a:t>
            </a:r>
          </a:p>
        </p:txBody>
      </p:sp>
      <p:sp>
        <p:nvSpPr>
          <p:cNvPr id="3" name="Text Placeholder 2">
            <a:extLst>
              <a:ext uri="{FF2B5EF4-FFF2-40B4-BE49-F238E27FC236}">
                <a16:creationId xmlns:a16="http://schemas.microsoft.com/office/drawing/2014/main" id="{802EC36E-2E77-B712-8946-A0B5A0626016}"/>
              </a:ext>
            </a:extLst>
          </p:cNvPr>
          <p:cNvSpPr>
            <a:spLocks noGrp="1"/>
          </p:cNvSpPr>
          <p:nvPr>
            <p:ph type="body" idx="1"/>
          </p:nvPr>
        </p:nvSpPr>
        <p:spPr>
          <a:xfrm>
            <a:off x="609600" y="1522464"/>
            <a:ext cx="10972800" cy="4351338"/>
          </a:xfrm>
        </p:spPr>
        <p:txBody>
          <a:bodyPr/>
          <a:lstStyle/>
          <a:p>
            <a:r>
              <a:rPr lang="en-US" sz="1800" b="1">
                <a:solidFill>
                  <a:srgbClr val="201F1E"/>
                </a:solidFill>
              </a:rPr>
              <a:t>Has your BE team identified a patient partner? </a:t>
            </a:r>
            <a:endParaRPr lang="en-US" sz="1800" b="1"/>
          </a:p>
          <a:p>
            <a:pPr lvl="1">
              <a:buClr>
                <a:srgbClr val="1C498B"/>
              </a:buClr>
            </a:pPr>
            <a:r>
              <a:rPr lang="en-US" sz="1800">
                <a:solidFill>
                  <a:srgbClr val="201F1E"/>
                </a:solidFill>
              </a:rPr>
              <a:t>Yes, No </a:t>
            </a:r>
            <a:endParaRPr lang="en-US" sz="1800"/>
          </a:p>
          <a:p>
            <a:r>
              <a:rPr lang="en-US" sz="1800" b="1">
                <a:solidFill>
                  <a:srgbClr val="201F1E"/>
                </a:solidFill>
              </a:rPr>
              <a:t>If yes, what is their name? </a:t>
            </a:r>
            <a:endParaRPr lang="en-US" sz="1800" b="1"/>
          </a:p>
          <a:p>
            <a:pPr lvl="1">
              <a:buClr>
                <a:srgbClr val="1C498B"/>
              </a:buClr>
            </a:pPr>
            <a:r>
              <a:rPr lang="en-US" sz="1800" b="1">
                <a:solidFill>
                  <a:srgbClr val="201F1E"/>
                </a:solidFill>
              </a:rPr>
              <a:t>Email? </a:t>
            </a:r>
            <a:endParaRPr lang="en-US" sz="1800" b="1"/>
          </a:p>
          <a:p>
            <a:pPr lvl="1">
              <a:buClr>
                <a:srgbClr val="1C498B"/>
              </a:buClr>
            </a:pPr>
            <a:r>
              <a:rPr lang="en-US" sz="1800" b="1">
                <a:solidFill>
                  <a:srgbClr val="201F1E"/>
                </a:solidFill>
              </a:rPr>
              <a:t>Phone Number? </a:t>
            </a:r>
            <a:endParaRPr lang="en-US" sz="1800" b="1"/>
          </a:p>
          <a:p>
            <a:r>
              <a:rPr lang="en-US" sz="1800" b="1">
                <a:solidFill>
                  <a:srgbClr val="201F1E"/>
                </a:solidFill>
              </a:rPr>
              <a:t>If yes, has your patient partner attended any QI team meetings?</a:t>
            </a:r>
            <a:endParaRPr lang="en-US" sz="1800" b="1"/>
          </a:p>
          <a:p>
            <a:pPr lvl="1">
              <a:buClr>
                <a:srgbClr val="1C498B"/>
              </a:buClr>
            </a:pPr>
            <a:r>
              <a:rPr lang="en-US" sz="1800">
                <a:solidFill>
                  <a:srgbClr val="201F1E"/>
                </a:solidFill>
              </a:rPr>
              <a:t>Yes, No </a:t>
            </a:r>
            <a:endParaRPr lang="en-US" sz="1800"/>
          </a:p>
          <a:p>
            <a:r>
              <a:rPr lang="en-US" sz="1800" b="1">
                <a:solidFill>
                  <a:srgbClr val="201F1E"/>
                </a:solidFill>
              </a:rPr>
              <a:t>If yes, how did you recruit/identify your patient partner? </a:t>
            </a:r>
            <a:r>
              <a:rPr lang="en-US" sz="1800">
                <a:solidFill>
                  <a:srgbClr val="201F1E"/>
                </a:solidFill>
              </a:rPr>
              <a:t>(free text) </a:t>
            </a:r>
            <a:endParaRPr lang="en-US" sz="1800"/>
          </a:p>
          <a:p>
            <a:r>
              <a:rPr lang="en-US" sz="1800" b="1">
                <a:solidFill>
                  <a:srgbClr val="201F1E"/>
                </a:solidFill>
              </a:rPr>
              <a:t>If yes, how did you onboard your patient partner? </a:t>
            </a:r>
            <a:r>
              <a:rPr lang="en-US" sz="1800">
                <a:solidFill>
                  <a:srgbClr val="201F1E"/>
                </a:solidFill>
              </a:rPr>
              <a:t>(free text) </a:t>
            </a:r>
            <a:endParaRPr lang="en-US" sz="1800"/>
          </a:p>
          <a:p>
            <a:endParaRPr lang="en-US"/>
          </a:p>
        </p:txBody>
      </p:sp>
      <p:sp>
        <p:nvSpPr>
          <p:cNvPr id="4" name="Slide Number Placeholder 3">
            <a:extLst>
              <a:ext uri="{FF2B5EF4-FFF2-40B4-BE49-F238E27FC236}">
                <a16:creationId xmlns:a16="http://schemas.microsoft.com/office/drawing/2014/main" id="{6A3561F1-8DC3-8134-BDE5-7530E1F6F7E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10</a:t>
            </a:fld>
            <a:endParaRPr lang="en-US"/>
          </a:p>
        </p:txBody>
      </p:sp>
    </p:spTree>
    <p:extLst>
      <p:ext uri="{BB962C8B-B14F-4D97-AF65-F5344CB8AC3E}">
        <p14:creationId xmlns:p14="http://schemas.microsoft.com/office/powerpoint/2010/main" val="3338354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A2F8-0F16-6E6E-EBE5-04CFD4400A12}"/>
              </a:ext>
            </a:extLst>
          </p:cNvPr>
          <p:cNvSpPr>
            <a:spLocks noGrp="1"/>
          </p:cNvSpPr>
          <p:nvPr>
            <p:ph type="title"/>
          </p:nvPr>
        </p:nvSpPr>
        <p:spPr>
          <a:xfrm>
            <a:off x="1413310" y="733010"/>
            <a:ext cx="9365380" cy="2014679"/>
          </a:xfrm>
          <a:noFill/>
        </p:spPr>
        <p:txBody>
          <a:bodyPr/>
          <a:lstStyle/>
          <a:p>
            <a:r>
              <a:rPr lang="en-US" dirty="0"/>
              <a:t>Poll</a:t>
            </a:r>
          </a:p>
        </p:txBody>
      </p:sp>
      <p:sp>
        <p:nvSpPr>
          <p:cNvPr id="3" name="Subtitle 2">
            <a:extLst>
              <a:ext uri="{FF2B5EF4-FFF2-40B4-BE49-F238E27FC236}">
                <a16:creationId xmlns:a16="http://schemas.microsoft.com/office/drawing/2014/main" id="{FE85DE7F-6C3A-BDA0-DCA0-6B21F2689D64}"/>
              </a:ext>
            </a:extLst>
          </p:cNvPr>
          <p:cNvSpPr>
            <a:spLocks noGrp="1"/>
          </p:cNvSpPr>
          <p:nvPr>
            <p:ph type="subTitle" idx="1"/>
          </p:nvPr>
        </p:nvSpPr>
        <p:spPr/>
        <p:txBody>
          <a:bodyPr/>
          <a:lstStyle/>
          <a:p>
            <a:r>
              <a:rPr lang="en-US"/>
              <a:t>5 minutes</a:t>
            </a:r>
          </a:p>
        </p:txBody>
      </p:sp>
    </p:spTree>
    <p:extLst>
      <p:ext uri="{BB962C8B-B14F-4D97-AF65-F5344CB8AC3E}">
        <p14:creationId xmlns:p14="http://schemas.microsoft.com/office/powerpoint/2010/main" val="154116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087"/>
        <p:cNvGrpSpPr/>
        <p:nvPr/>
      </p:nvGrpSpPr>
      <p:grpSpPr>
        <a:xfrm>
          <a:off x="0" y="0"/>
          <a:ext cx="0" cy="0"/>
          <a:chOff x="0" y="0"/>
          <a:chExt cx="0" cy="0"/>
        </a:xfrm>
      </p:grpSpPr>
      <p:sp>
        <p:nvSpPr>
          <p:cNvPr id="12088" name="Google Shape;12088;p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Birth Equity Data Review</a:t>
            </a:r>
            <a:endParaRPr/>
          </a:p>
        </p:txBody>
      </p:sp>
      <p:sp>
        <p:nvSpPr>
          <p:cNvPr id="12089" name="Google Shape;12089;p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82010" y="280067"/>
            <a:ext cx="7188790" cy="1325563"/>
          </a:xfrm>
          <a:noFill/>
        </p:spPr>
        <p:txBody>
          <a:bodyPr>
            <a:normAutofit fontScale="90000"/>
          </a:bodyPr>
          <a:lstStyle/>
          <a:p>
            <a:pPr marL="12700" marR="5080"/>
            <a:r>
              <a:rPr lang="en-US" sz="3100" b="1">
                <a:solidFill>
                  <a:srgbClr val="373737"/>
                </a:solidFill>
                <a:ea typeface="Arial"/>
                <a:cs typeface="Arial"/>
                <a:sym typeface="Arial"/>
              </a:rPr>
              <a:t>By </a:t>
            </a:r>
            <a:r>
              <a:rPr lang="en-US" sz="3100" b="1">
                <a:solidFill>
                  <a:srgbClr val="373737"/>
                </a:solidFill>
              </a:rPr>
              <a:t>May 2024</a:t>
            </a:r>
            <a:r>
              <a:rPr lang="en-US" sz="3100" b="1">
                <a:solidFill>
                  <a:srgbClr val="373737"/>
                </a:solidFill>
                <a:ea typeface="Arial"/>
                <a:cs typeface="Arial"/>
                <a:sym typeface="Arial"/>
              </a:rPr>
              <a:t>, </a:t>
            </a:r>
            <a:r>
              <a:rPr lang="en-US" sz="3100" b="1" u="sng">
                <a:solidFill>
                  <a:srgbClr val="373737"/>
                </a:solidFill>
                <a:ea typeface="Arial"/>
                <a:cs typeface="Arial"/>
                <a:sym typeface="Arial"/>
              </a:rPr>
              <a:t>&gt;</a:t>
            </a:r>
            <a:r>
              <a:rPr lang="en-US" sz="3100" b="1">
                <a:solidFill>
                  <a:srgbClr val="373737"/>
                </a:solidFill>
                <a:ea typeface="Arial"/>
                <a:cs typeface="Arial"/>
                <a:sym typeface="Arial"/>
              </a:rPr>
              <a:t> 70% of participating hospitals will have implemented each key strategy</a:t>
            </a:r>
            <a:br>
              <a:rPr lang="en-US" sz="4000"/>
            </a:br>
            <a:endParaRPr lang="en-US" sz="4000" b="1">
              <a:solidFill>
                <a:srgbClr val="F58466"/>
              </a:solidFill>
              <a:latin typeface="Goudy Old Style" pitchFamily="18" charset="0"/>
            </a:endParaRPr>
          </a:p>
        </p:txBody>
      </p:sp>
      <p:sp>
        <p:nvSpPr>
          <p:cNvPr id="4" name="Slide Number Placeholder 3"/>
          <p:cNvSpPr>
            <a:spLocks noGrp="1"/>
          </p:cNvSpPr>
          <p:nvPr>
            <p:ph type="sldNum" sz="quarter" idx="10"/>
          </p:nvPr>
        </p:nvSpPr>
        <p:spPr/>
        <p:txBody>
          <a:bodyPr/>
          <a:lstStyle/>
          <a:p>
            <a:pPr marL="0" marR="0" lvl="0" indent="0" algn="r" defTabSz="914377"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79818A">
                  <a:lumMod val="60000"/>
                  <a:lumOff val="40000"/>
                </a:srgbClr>
              </a:solidFill>
              <a:effectLst/>
              <a:uLnTx/>
              <a:uFillTx/>
              <a:latin typeface="Arial" pitchFamily="34" charset="0"/>
              <a:ea typeface="MS PGothic" pitchFamily="34" charset="-128"/>
              <a:cs typeface="Arial" pitchFamily="34" charset="0"/>
            </a:endParaRPr>
          </a:p>
        </p:txBody>
      </p:sp>
      <p:graphicFrame>
        <p:nvGraphicFramePr>
          <p:cNvPr id="2" name="Diagram 1"/>
          <p:cNvGraphicFramePr/>
          <p:nvPr/>
        </p:nvGraphicFramePr>
        <p:xfrm>
          <a:off x="59167" y="1323508"/>
          <a:ext cx="12073666" cy="5032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21713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2170"/>
        <p:cNvGrpSpPr/>
        <p:nvPr/>
      </p:nvGrpSpPr>
      <p:grpSpPr>
        <a:xfrm>
          <a:off x="0" y="0"/>
          <a:ext cx="0" cy="0"/>
          <a:chOff x="0" y="0"/>
          <a:chExt cx="0" cy="0"/>
        </a:xfrm>
      </p:grpSpPr>
      <p:sp>
        <p:nvSpPr>
          <p:cNvPr id="12171" name="Google Shape;12171;p1143"/>
          <p:cNvSpPr txBox="1">
            <a:spLocks noGrp="1"/>
          </p:cNvSpPr>
          <p:nvPr>
            <p:ph type="title"/>
          </p:nvPr>
        </p:nvSpPr>
        <p:spPr>
          <a:xfrm>
            <a:off x="101600" y="1"/>
            <a:ext cx="11897773" cy="1379294"/>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b="0" dirty="0"/>
              <a:t>ILPQC Hospital Team Data Submission </a:t>
            </a:r>
            <a:endParaRPr dirty="0"/>
          </a:p>
        </p:txBody>
      </p:sp>
      <p:sp>
        <p:nvSpPr>
          <p:cNvPr id="12173" name="Google Shape;12173;p1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graphicFrame>
        <p:nvGraphicFramePr>
          <p:cNvPr id="12174" name="Google Shape;12174;p1143"/>
          <p:cNvGraphicFramePr/>
          <p:nvPr>
            <p:extLst>
              <p:ext uri="{D42A27DB-BD31-4B8C-83A1-F6EECF244321}">
                <p14:modId xmlns:p14="http://schemas.microsoft.com/office/powerpoint/2010/main" val="2118480638"/>
              </p:ext>
            </p:extLst>
          </p:nvPr>
        </p:nvGraphicFramePr>
        <p:xfrm>
          <a:off x="221358" y="1204924"/>
          <a:ext cx="11754900" cy="5486480"/>
        </p:xfrm>
        <a:graphic>
          <a:graphicData uri="http://schemas.openxmlformats.org/drawingml/2006/table">
            <a:tbl>
              <a:tblPr firstRow="1" bandRow="1">
                <a:noFill/>
                <a:tableStyleId>{54556ADF-2B93-452C-9A2B-54F70BC1554F}</a:tableStyleId>
              </a:tblPr>
              <a:tblGrid>
                <a:gridCol w="5774850">
                  <a:extLst>
                    <a:ext uri="{9D8B030D-6E8A-4147-A177-3AD203B41FA5}">
                      <a16:colId xmlns:a16="http://schemas.microsoft.com/office/drawing/2014/main" val="20000"/>
                    </a:ext>
                  </a:extLst>
                </a:gridCol>
                <a:gridCol w="2872775">
                  <a:extLst>
                    <a:ext uri="{9D8B030D-6E8A-4147-A177-3AD203B41FA5}">
                      <a16:colId xmlns:a16="http://schemas.microsoft.com/office/drawing/2014/main" val="20001"/>
                    </a:ext>
                  </a:extLst>
                </a:gridCol>
                <a:gridCol w="3107275">
                  <a:extLst>
                    <a:ext uri="{9D8B030D-6E8A-4147-A177-3AD203B41FA5}">
                      <a16:colId xmlns:a16="http://schemas.microsoft.com/office/drawing/2014/main" val="20002"/>
                    </a:ext>
                  </a:extLst>
                </a:gridCol>
              </a:tblGrid>
              <a:tr h="361950">
                <a:tc>
                  <a:txBody>
                    <a:bodyPr/>
                    <a:lstStyle/>
                    <a:p>
                      <a:pPr marL="0" marR="0" lvl="0" indent="0" algn="l" rtl="0">
                        <a:lnSpc>
                          <a:spcPct val="100000"/>
                        </a:lnSpc>
                        <a:spcBef>
                          <a:spcPts val="0"/>
                        </a:spcBef>
                        <a:spcAft>
                          <a:spcPts val="0"/>
                        </a:spcAft>
                        <a:buNone/>
                      </a:pPr>
                      <a:r>
                        <a:rPr lang="en-US" sz="2400" u="none" strike="noStrike" cap="none" dirty="0"/>
                        <a:t>Structure Measures​</a:t>
                      </a:r>
                      <a:endParaRPr sz="1400" b="1" u="none" strike="noStrike" cap="none" dirty="0">
                        <a:solidFill>
                          <a:srgbClr val="FFFFFF"/>
                        </a:solidFill>
                      </a:endParaRPr>
                    </a:p>
                  </a:txBody>
                  <a:tcPr marL="91450" marR="91450" marT="45725" marB="45725"/>
                </a:tc>
                <a:tc>
                  <a:txBody>
                    <a:bodyPr/>
                    <a:lstStyle/>
                    <a:p>
                      <a:pPr marL="0" marR="0" lvl="0" indent="0" algn="l" rtl="0">
                        <a:lnSpc>
                          <a:spcPct val="100000"/>
                        </a:lnSpc>
                        <a:spcBef>
                          <a:spcPts val="0"/>
                        </a:spcBef>
                        <a:spcAft>
                          <a:spcPts val="0"/>
                        </a:spcAft>
                        <a:buNone/>
                      </a:pPr>
                      <a:r>
                        <a:rPr lang="en-US" sz="2400" u="none" strike="noStrike" cap="none" dirty="0"/>
                        <a:t>Baseline </a:t>
                      </a:r>
                      <a:endParaRPr sz="1400" b="1" u="none" strike="noStrike" cap="none" dirty="0">
                        <a:solidFill>
                          <a:srgbClr val="FFFFFF"/>
                        </a:solidFill>
                      </a:endParaRPr>
                    </a:p>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 In Place)​</a:t>
                      </a:r>
                      <a:endParaRPr sz="1400" b="1" u="none" strike="noStrike" cap="none" dirty="0">
                        <a:solidFill>
                          <a:srgbClr val="FFFFFF"/>
                        </a:solidFill>
                      </a:endParaRPr>
                    </a:p>
                  </a:txBody>
                  <a:tcPr marL="91450" marR="91450" marT="45725" marB="45725"/>
                </a:tc>
                <a:tc>
                  <a:txBody>
                    <a:bodyPr/>
                    <a:lstStyle/>
                    <a:p>
                      <a:pPr marL="0" marR="0" lvl="0" indent="0" algn="l" rtl="0">
                        <a:lnSpc>
                          <a:spcPct val="100000"/>
                        </a:lnSpc>
                        <a:spcBef>
                          <a:spcPts val="0"/>
                        </a:spcBef>
                        <a:spcAft>
                          <a:spcPts val="0"/>
                        </a:spcAft>
                        <a:buNone/>
                      </a:pPr>
                      <a:r>
                        <a:rPr lang="en-US" sz="2400" u="none" strike="noStrike" cap="none" dirty="0"/>
                        <a:t>January 2024</a:t>
                      </a:r>
                      <a:endParaRPr sz="1400" u="none" strike="noStrike" cap="none" dirty="0"/>
                    </a:p>
                    <a:p>
                      <a:pPr marL="0" marR="0" lvl="0" indent="0" algn="l" rtl="0">
                        <a:lnSpc>
                          <a:spcPct val="100000"/>
                        </a:lnSpc>
                        <a:spcBef>
                          <a:spcPts val="0"/>
                        </a:spcBef>
                        <a:spcAft>
                          <a:spcPts val="0"/>
                        </a:spcAft>
                        <a:buNone/>
                      </a:pPr>
                      <a:r>
                        <a:rPr lang="en-US" sz="2400" u="none" strike="noStrike" cap="none" dirty="0"/>
                        <a:t>(% In Place)​</a:t>
                      </a:r>
                      <a:endParaRPr dirty="0"/>
                    </a:p>
                  </a:txBody>
                  <a:tcPr marL="91450" marR="91450" marT="45725" marB="45725"/>
                </a:tc>
                <a:extLst>
                  <a:ext uri="{0D108BD9-81ED-4DB2-BD59-A6C34878D82A}">
                    <a16:rowId xmlns:a16="http://schemas.microsoft.com/office/drawing/2014/main" val="10000"/>
                  </a:ext>
                </a:extLst>
              </a:tr>
              <a:tr h="361950">
                <a:tc>
                  <a:txBody>
                    <a:bodyPr/>
                    <a:lstStyle/>
                    <a:p>
                      <a:pPr marL="0" marR="0" lvl="0" indent="0" algn="l" rtl="0">
                        <a:lnSpc>
                          <a:spcPct val="100000"/>
                        </a:lnSpc>
                        <a:spcBef>
                          <a:spcPts val="0"/>
                        </a:spcBef>
                        <a:spcAft>
                          <a:spcPts val="0"/>
                        </a:spcAft>
                        <a:buNone/>
                      </a:pPr>
                      <a:r>
                        <a:rPr lang="en-US" sz="2400" u="none" strike="noStrike" cap="none" dirty="0"/>
                        <a:t>SDOH Screening (L&amp;D)​</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17%​</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100%​</a:t>
                      </a:r>
                      <a:endParaRPr sz="1400" u="none" strike="noStrike" cap="none" dirty="0">
                        <a:solidFill>
                          <a:srgbClr val="444C55"/>
                        </a:solidFill>
                      </a:endParaRPr>
                    </a:p>
                  </a:txBody>
                  <a:tcPr marL="91450" marR="91450" marT="45725" marB="45725"/>
                </a:tc>
                <a:extLst>
                  <a:ext uri="{0D108BD9-81ED-4DB2-BD59-A6C34878D82A}">
                    <a16:rowId xmlns:a16="http://schemas.microsoft.com/office/drawing/2014/main" val="10001"/>
                  </a:ext>
                </a:extLst>
              </a:tr>
              <a:tr h="361950">
                <a:tc>
                  <a:txBody>
                    <a:bodyPr/>
                    <a:lstStyle/>
                    <a:p>
                      <a:pPr marL="0" marR="0" lvl="0" indent="0" algn="l" rtl="0">
                        <a:lnSpc>
                          <a:spcPct val="100000"/>
                        </a:lnSpc>
                        <a:spcBef>
                          <a:spcPts val="0"/>
                        </a:spcBef>
                        <a:spcAft>
                          <a:spcPts val="0"/>
                        </a:spcAft>
                        <a:buNone/>
                      </a:pPr>
                      <a:r>
                        <a:rPr lang="en-US" sz="2400" u="none" strike="noStrike" cap="none" dirty="0"/>
                        <a:t>Optimize Accurate Self-Reported ​</a:t>
                      </a:r>
                      <a:endParaRPr sz="1400" u="none" strike="noStrike" cap="none" dirty="0"/>
                    </a:p>
                    <a:p>
                      <a:pPr marL="0" marR="0" lvl="0" indent="0" algn="l" rtl="0">
                        <a:lnSpc>
                          <a:spcPct val="100000"/>
                        </a:lnSpc>
                        <a:spcBef>
                          <a:spcPts val="0"/>
                        </a:spcBef>
                        <a:spcAft>
                          <a:spcPts val="0"/>
                        </a:spcAft>
                        <a:buNone/>
                      </a:pPr>
                      <a:r>
                        <a:rPr lang="en-US" sz="2400" u="none" strike="noStrike" cap="none" dirty="0"/>
                        <a:t>Race and Ethnicity Data Collection​</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7%​</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88%​</a:t>
                      </a:r>
                      <a:endParaRPr sz="1400" u="none" strike="noStrike" cap="none" dirty="0"/>
                    </a:p>
                  </a:txBody>
                  <a:tcPr marL="91450" marR="91450" marT="45725" marB="45725"/>
                </a:tc>
                <a:extLst>
                  <a:ext uri="{0D108BD9-81ED-4DB2-BD59-A6C34878D82A}">
                    <a16:rowId xmlns:a16="http://schemas.microsoft.com/office/drawing/2014/main" val="10002"/>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Review Maternal QI Data Stratified by Race, Ethnicity &amp; Insurance</a:t>
                      </a:r>
                      <a:endParaRPr dirty="0"/>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dirty="0"/>
                        <a:t>6%</a:t>
                      </a:r>
                      <a:endParaRPr dirty="0"/>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dirty="0"/>
                        <a:t>84%</a:t>
                      </a:r>
                      <a:endParaRPr dirty="0"/>
                    </a:p>
                  </a:txBody>
                  <a:tcPr marL="91450" marR="91450" marT="45725" marB="45725"/>
                </a:tc>
                <a:extLst>
                  <a:ext uri="{0D108BD9-81ED-4DB2-BD59-A6C34878D82A}">
                    <a16:rowId xmlns:a16="http://schemas.microsoft.com/office/drawing/2014/main" val="10003"/>
                  </a:ext>
                </a:extLst>
              </a:tr>
              <a:tr h="361950">
                <a:tc>
                  <a:txBody>
                    <a:bodyPr/>
                    <a:lstStyle/>
                    <a:p>
                      <a:pPr marL="0" marR="0" lvl="0" indent="0" algn="l" rtl="0">
                        <a:lnSpc>
                          <a:spcPct val="100000"/>
                        </a:lnSpc>
                        <a:spcBef>
                          <a:spcPts val="0"/>
                        </a:spcBef>
                        <a:spcAft>
                          <a:spcPts val="0"/>
                        </a:spcAft>
                        <a:buNone/>
                      </a:pPr>
                      <a:r>
                        <a:rPr lang="en-US" sz="2400" u="none" strike="noStrike" cap="none" dirty="0">
                          <a:highlight>
                            <a:srgbClr val="FFFF00"/>
                          </a:highlight>
                        </a:rPr>
                        <a:t>Engage Patients and Community ​</a:t>
                      </a:r>
                      <a:endParaRPr sz="1400" u="none" strike="noStrike" cap="none" dirty="0">
                        <a:highlight>
                          <a:srgbClr val="FFFF00"/>
                        </a:highlight>
                      </a:endParaRPr>
                    </a:p>
                    <a:p>
                      <a:pPr marL="0" marR="0" lvl="0" indent="0" algn="l" rtl="0">
                        <a:lnSpc>
                          <a:spcPct val="100000"/>
                        </a:lnSpc>
                        <a:spcBef>
                          <a:spcPts val="0"/>
                        </a:spcBef>
                        <a:spcAft>
                          <a:spcPts val="0"/>
                        </a:spcAft>
                        <a:buNone/>
                      </a:pPr>
                      <a:r>
                        <a:rPr lang="en-US" sz="2400" u="none" strike="noStrike" cap="none" dirty="0">
                          <a:highlight>
                            <a:srgbClr val="FFFF00"/>
                          </a:highlight>
                        </a:rPr>
                        <a:t>in QI Work​</a:t>
                      </a:r>
                      <a:endParaRPr sz="1400" u="none" strike="noStrike" cap="none" dirty="0">
                        <a:solidFill>
                          <a:srgbClr val="444C55"/>
                        </a:solidFill>
                        <a:highlight>
                          <a:srgbClr val="FFFF00"/>
                        </a:highlight>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highlight>
                            <a:srgbClr val="FFFF00"/>
                          </a:highlight>
                        </a:rPr>
                        <a:t>4%​</a:t>
                      </a:r>
                      <a:endParaRPr sz="1400" u="none" strike="noStrike" cap="none" dirty="0">
                        <a:solidFill>
                          <a:srgbClr val="444C55"/>
                        </a:solidFill>
                        <a:highlight>
                          <a:srgbClr val="FFFF00"/>
                        </a:highlight>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highlight>
                            <a:srgbClr val="FFFF00"/>
                          </a:highlight>
                        </a:rPr>
                        <a:t>55%​</a:t>
                      </a:r>
                      <a:endParaRPr sz="1400" u="none" strike="noStrike" cap="none" dirty="0">
                        <a:solidFill>
                          <a:srgbClr val="444C55"/>
                        </a:solidFill>
                        <a:highlight>
                          <a:srgbClr val="FFFF00"/>
                        </a:highlight>
                      </a:endParaRPr>
                    </a:p>
                  </a:txBody>
                  <a:tcPr marL="91450" marR="91450" marT="45725" marB="45725"/>
                </a:tc>
                <a:extLst>
                  <a:ext uri="{0D108BD9-81ED-4DB2-BD59-A6C34878D82A}">
                    <a16:rowId xmlns:a16="http://schemas.microsoft.com/office/drawing/2014/main" val="10004"/>
                  </a:ext>
                </a:extLst>
              </a:tr>
              <a:tr h="638175">
                <a:tc>
                  <a:txBody>
                    <a:bodyPr/>
                    <a:lstStyle/>
                    <a:p>
                      <a:pPr marL="0" marR="0" lvl="0" indent="0" algn="l" rtl="0">
                        <a:lnSpc>
                          <a:spcPct val="100000"/>
                        </a:lnSpc>
                        <a:spcBef>
                          <a:spcPts val="0"/>
                        </a:spcBef>
                        <a:spcAft>
                          <a:spcPts val="0"/>
                        </a:spcAft>
                        <a:buNone/>
                      </a:pPr>
                      <a:r>
                        <a:rPr lang="en-US" sz="2400" u="none" strike="noStrike" cap="none" dirty="0"/>
                        <a:t>Sharing Respectful Care Strategies with Healthcare Team and Patients​</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9%​</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84%​</a:t>
                      </a:r>
                      <a:endParaRPr sz="1400" u="none" strike="noStrike" cap="none" dirty="0">
                        <a:solidFill>
                          <a:srgbClr val="444C55"/>
                        </a:solidFill>
                      </a:endParaRPr>
                    </a:p>
                  </a:txBody>
                  <a:tcPr marL="91450" marR="91450" marT="45725" marB="45725"/>
                </a:tc>
                <a:extLst>
                  <a:ext uri="{0D108BD9-81ED-4DB2-BD59-A6C34878D82A}">
                    <a16:rowId xmlns:a16="http://schemas.microsoft.com/office/drawing/2014/main" val="10005"/>
                  </a:ext>
                </a:extLst>
              </a:tr>
              <a:tr h="361950">
                <a:tc>
                  <a:txBody>
                    <a:bodyPr/>
                    <a:lstStyle/>
                    <a:p>
                      <a:pPr marL="0" marR="0" lvl="0" indent="0" algn="l" rtl="0">
                        <a:lnSpc>
                          <a:spcPct val="100000"/>
                        </a:lnSpc>
                        <a:spcBef>
                          <a:spcPts val="0"/>
                        </a:spcBef>
                        <a:spcAft>
                          <a:spcPts val="0"/>
                        </a:spcAft>
                        <a:buNone/>
                      </a:pPr>
                      <a:r>
                        <a:rPr lang="en-US" sz="2400" u="none" strike="noStrike" cap="none" dirty="0"/>
                        <a:t>PREM Implementation​</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9%​</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86%​</a:t>
                      </a:r>
                      <a:endParaRPr sz="1400" u="none" strike="noStrike" cap="none" dirty="0">
                        <a:solidFill>
                          <a:srgbClr val="444C55"/>
                        </a:solidFill>
                      </a:endParaRPr>
                    </a:p>
                  </a:txBody>
                  <a:tcPr marL="91450" marR="91450" marT="45725" marB="45725"/>
                </a:tc>
                <a:extLst>
                  <a:ext uri="{0D108BD9-81ED-4DB2-BD59-A6C34878D82A}">
                    <a16:rowId xmlns:a16="http://schemas.microsoft.com/office/drawing/2014/main" val="10006"/>
                  </a:ext>
                </a:extLst>
              </a:tr>
              <a:tr h="361950">
                <a:tc>
                  <a:txBody>
                    <a:bodyPr/>
                    <a:lstStyle/>
                    <a:p>
                      <a:pPr marL="0" marR="0" lvl="0" indent="0" algn="l" rtl="0">
                        <a:lnSpc>
                          <a:spcPct val="100000"/>
                        </a:lnSpc>
                        <a:spcBef>
                          <a:spcPts val="0"/>
                        </a:spcBef>
                        <a:spcAft>
                          <a:spcPts val="0"/>
                        </a:spcAft>
                        <a:buNone/>
                      </a:pPr>
                      <a:r>
                        <a:rPr lang="en-US" sz="2400" u="none" strike="noStrike" cap="none" dirty="0"/>
                        <a:t>Postpartum Safety Patient Education​</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u="none" strike="noStrike" cap="none" dirty="0"/>
                        <a:t>54%​</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None/>
                      </a:pPr>
                      <a:r>
                        <a:rPr lang="en-US" sz="2400" b="0" u="none" strike="noStrike" cap="none" dirty="0"/>
                        <a:t>100%​</a:t>
                      </a:r>
                      <a:endParaRPr sz="1400" b="0" u="none" strike="noStrike" cap="none" dirty="0">
                        <a:solidFill>
                          <a:srgbClr val="444C55"/>
                        </a:solidFill>
                      </a:endParaRPr>
                    </a:p>
                  </a:txBody>
                  <a:tcPr marL="91450" marR="91450" marT="45725" marB="45725"/>
                </a:tc>
                <a:extLst>
                  <a:ext uri="{0D108BD9-81ED-4DB2-BD59-A6C34878D82A}">
                    <a16:rowId xmlns:a16="http://schemas.microsoft.com/office/drawing/2014/main" val="10007"/>
                  </a:ext>
                </a:extLst>
              </a:tr>
            </a:tbl>
          </a:graphicData>
        </a:graphic>
      </p:graphicFrame>
      <p:sp>
        <p:nvSpPr>
          <p:cNvPr id="2" name="Cloud 1">
            <a:extLst>
              <a:ext uri="{FF2B5EF4-FFF2-40B4-BE49-F238E27FC236}">
                <a16:creationId xmlns:a16="http://schemas.microsoft.com/office/drawing/2014/main" id="{6981EFDC-C560-1CAD-4AA3-90F81C9A689A}"/>
              </a:ext>
            </a:extLst>
          </p:cNvPr>
          <p:cNvSpPr/>
          <p:nvPr/>
        </p:nvSpPr>
        <p:spPr>
          <a:xfrm>
            <a:off x="7501632" y="-30070"/>
            <a:ext cx="4153764" cy="1379294"/>
          </a:xfrm>
          <a:prstGeom prst="cloud">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rPr>
              <a:t>January 2024 Data Submission in </a:t>
            </a:r>
            <a:r>
              <a:rPr lang="en-US" sz="1600" b="1" dirty="0" err="1">
                <a:solidFill>
                  <a:schemeClr val="accent1"/>
                </a:solidFill>
              </a:rPr>
              <a:t>REDCap</a:t>
            </a:r>
            <a:r>
              <a:rPr lang="en-US" sz="1600" b="1" dirty="0">
                <a:solidFill>
                  <a:schemeClr val="accent1"/>
                </a:solidFill>
              </a:rPr>
              <a:t>:</a:t>
            </a:r>
          </a:p>
          <a:p>
            <a:pPr algn="ctr"/>
            <a:r>
              <a:rPr lang="en-US" sz="1600" b="1" dirty="0">
                <a:solidFill>
                  <a:schemeClr val="accent1"/>
                </a:solidFill>
              </a:rPr>
              <a:t>43 Hospital Team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2179"/>
        <p:cNvGrpSpPr/>
        <p:nvPr/>
      </p:nvGrpSpPr>
      <p:grpSpPr>
        <a:xfrm>
          <a:off x="0" y="0"/>
          <a:ext cx="0" cy="0"/>
          <a:chOff x="0" y="0"/>
          <a:chExt cx="0" cy="0"/>
        </a:xfrm>
      </p:grpSpPr>
      <p:pic>
        <p:nvPicPr>
          <p:cNvPr id="7" name="Picture 6">
            <a:extLst>
              <a:ext uri="{FF2B5EF4-FFF2-40B4-BE49-F238E27FC236}">
                <a16:creationId xmlns:a16="http://schemas.microsoft.com/office/drawing/2014/main" id="{5E64FB11-790D-416A-E913-82D25A9550F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49715" y="2733518"/>
            <a:ext cx="5880134" cy="2588737"/>
          </a:xfrm>
          <a:prstGeom prst="rect">
            <a:avLst/>
          </a:prstGeom>
        </p:spPr>
      </p:pic>
      <p:pic>
        <p:nvPicPr>
          <p:cNvPr id="5" name="Picture 4">
            <a:extLst>
              <a:ext uri="{FF2B5EF4-FFF2-40B4-BE49-F238E27FC236}">
                <a16:creationId xmlns:a16="http://schemas.microsoft.com/office/drawing/2014/main" id="{7C41F3E0-0165-6513-0FFB-7E9A02ECC4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0386" y="2571233"/>
            <a:ext cx="5880134" cy="2610463"/>
          </a:xfrm>
          <a:prstGeom prst="rect">
            <a:avLst/>
          </a:prstGeom>
        </p:spPr>
      </p:pic>
      <p:sp>
        <p:nvSpPr>
          <p:cNvPr id="12182" name="Google Shape;12182;p1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15</a:t>
            </a:fld>
            <a:endParaRPr/>
          </a:p>
        </p:txBody>
      </p:sp>
      <p:sp>
        <p:nvSpPr>
          <p:cNvPr id="12183" name="Google Shape;12183;p1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12184" name="Google Shape;12184;p1144"/>
          <p:cNvSpPr txBox="1"/>
          <p:nvPr/>
        </p:nvSpPr>
        <p:spPr>
          <a:xfrm>
            <a:off x="183151" y="215022"/>
            <a:ext cx="7178437" cy="107717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3200" b="1" i="0" u="none" strike="noStrike" cap="none">
                <a:solidFill>
                  <a:schemeClr val="accent1"/>
                </a:solidFill>
                <a:latin typeface="Calibri"/>
                <a:ea typeface="Calibri"/>
                <a:cs typeface="Calibri"/>
                <a:sym typeface="Calibri"/>
              </a:rPr>
              <a:t>Social Determinants of Health Screening and Linkage to Community Resources</a:t>
            </a:r>
            <a:endParaRPr sz="3200" b="1" i="0" u="none" strike="noStrike" cap="none">
              <a:solidFill>
                <a:schemeClr val="accent1"/>
              </a:solidFill>
              <a:latin typeface="Calibri"/>
              <a:ea typeface="Calibri"/>
              <a:cs typeface="Calibri"/>
              <a:sym typeface="Calibri"/>
            </a:endParaRPr>
          </a:p>
        </p:txBody>
      </p:sp>
      <p:sp>
        <p:nvSpPr>
          <p:cNvPr id="12185" name="Google Shape;12185;p1144"/>
          <p:cNvSpPr txBox="1"/>
          <p:nvPr/>
        </p:nvSpPr>
        <p:spPr>
          <a:xfrm>
            <a:off x="1106129" y="1670186"/>
            <a:ext cx="4343400" cy="461665"/>
          </a:xfrm>
          <a:prstGeom prst="rect">
            <a:avLst/>
          </a:prstGeom>
          <a:noFill/>
          <a:ln w="57150"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1" i="0" u="none" strike="noStrike" cap="none">
                <a:solidFill>
                  <a:schemeClr val="accent1"/>
                </a:solidFill>
                <a:latin typeface="Calibri"/>
                <a:ea typeface="Calibri"/>
                <a:cs typeface="Calibri"/>
                <a:sym typeface="Calibri"/>
              </a:rPr>
              <a:t>SDoH Screening (L&amp;D)</a:t>
            </a:r>
            <a:endParaRPr sz="2400" b="0" i="0" u="none" strike="noStrike" cap="none">
              <a:solidFill>
                <a:schemeClr val="accent1"/>
              </a:solidFill>
              <a:latin typeface="Calibri"/>
              <a:ea typeface="Calibri"/>
              <a:cs typeface="Calibri"/>
              <a:sym typeface="Calibri"/>
            </a:endParaRPr>
          </a:p>
        </p:txBody>
      </p:sp>
      <p:sp>
        <p:nvSpPr>
          <p:cNvPr id="12186" name="Google Shape;12186;p1144"/>
          <p:cNvSpPr txBox="1"/>
          <p:nvPr/>
        </p:nvSpPr>
        <p:spPr>
          <a:xfrm>
            <a:off x="6934200" y="1492074"/>
            <a:ext cx="4343400" cy="1200288"/>
          </a:xfrm>
          <a:prstGeom prst="rect">
            <a:avLst/>
          </a:prstGeom>
          <a:noFill/>
          <a:ln w="57150" cap="flat" cmpd="sng">
            <a:solidFill>
              <a:schemeClr val="accent5"/>
            </a:solidFill>
            <a:prstDash val="solid"/>
            <a:round/>
            <a:headEnd type="none" w="sm" len="sm"/>
            <a:tailEnd type="none" w="sm" len="sm"/>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None/>
            </a:pPr>
            <a:r>
              <a:rPr lang="en-US" sz="2400" b="1" i="0" u="none" strike="noStrike" cap="none">
                <a:solidFill>
                  <a:schemeClr val="accent1"/>
                </a:solidFill>
                <a:latin typeface="Calibri"/>
                <a:ea typeface="Calibri"/>
                <a:cs typeface="Calibri"/>
                <a:sym typeface="Calibri"/>
              </a:rPr>
              <a:t>Screen Positive Patients</a:t>
            </a:r>
          </a:p>
          <a:p>
            <a:pPr marL="0" marR="0" lvl="0" indent="0" algn="ctr" rtl="0">
              <a:lnSpc>
                <a:spcPct val="100000"/>
              </a:lnSpc>
              <a:spcBef>
                <a:spcPts val="0"/>
              </a:spcBef>
              <a:spcAft>
                <a:spcPts val="0"/>
              </a:spcAft>
              <a:buNone/>
            </a:pPr>
            <a:r>
              <a:rPr lang="en-US" sz="2400" b="1" i="0" u="none" strike="noStrike" cap="none">
                <a:solidFill>
                  <a:schemeClr val="accent1"/>
                </a:solidFill>
                <a:latin typeface="Calibri"/>
                <a:ea typeface="Calibri"/>
                <a:cs typeface="Calibri"/>
                <a:sym typeface="Calibri"/>
              </a:rPr>
              <a:t>Documentation of Linkage to Community Resources (L&amp;D)</a:t>
            </a:r>
            <a:endParaRPr sz="1400" b="0" i="0" u="none" strike="noStrike" cap="none">
              <a:solidFill>
                <a:schemeClr val="accent1"/>
              </a:solidFill>
              <a:latin typeface="Arial"/>
              <a:ea typeface="Arial"/>
              <a:cs typeface="Arial"/>
              <a:sym typeface="Arial"/>
            </a:endParaRPr>
          </a:p>
        </p:txBody>
      </p:sp>
      <p:sp>
        <p:nvSpPr>
          <p:cNvPr id="12189" name="Google Shape;12189;p1144"/>
          <p:cNvSpPr txBox="1"/>
          <p:nvPr/>
        </p:nvSpPr>
        <p:spPr>
          <a:xfrm>
            <a:off x="731577" y="3712785"/>
            <a:ext cx="590550"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dk1"/>
                </a:solidFill>
                <a:latin typeface="Calibri"/>
                <a:ea typeface="Calibri"/>
                <a:cs typeface="Calibri"/>
                <a:sym typeface="Calibri"/>
              </a:rPr>
              <a:t>16%</a:t>
            </a:r>
            <a:endParaRPr sz="1400" b="0" i="0" u="none" strike="noStrike" cap="none">
              <a:solidFill>
                <a:srgbClr val="000000"/>
              </a:solidFill>
              <a:latin typeface="Arial"/>
              <a:ea typeface="Arial"/>
              <a:cs typeface="Arial"/>
              <a:sym typeface="Arial"/>
            </a:endParaRPr>
          </a:p>
        </p:txBody>
      </p:sp>
      <p:sp>
        <p:nvSpPr>
          <p:cNvPr id="12190" name="Google Shape;12190;p1144"/>
          <p:cNvSpPr txBox="1"/>
          <p:nvPr/>
        </p:nvSpPr>
        <p:spPr>
          <a:xfrm>
            <a:off x="5518202" y="2370796"/>
            <a:ext cx="682772" cy="381145"/>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800" b="1" i="0" u="none" strike="noStrike" cap="none">
                <a:solidFill>
                  <a:schemeClr val="dk1"/>
                </a:solidFill>
                <a:latin typeface="Calibri"/>
                <a:ea typeface="Calibri"/>
                <a:cs typeface="Calibri"/>
                <a:sym typeface="Calibri"/>
              </a:rPr>
              <a:t>90%</a:t>
            </a:r>
            <a:endParaRPr sz="1400" b="0" i="0" u="none" strike="noStrike" cap="none">
              <a:solidFill>
                <a:schemeClr val="dk1"/>
              </a:solidFill>
              <a:latin typeface="Arial"/>
              <a:ea typeface="Arial"/>
              <a:cs typeface="Arial"/>
              <a:sym typeface="Arial"/>
            </a:endParaRPr>
          </a:p>
        </p:txBody>
      </p:sp>
      <p:sp>
        <p:nvSpPr>
          <p:cNvPr id="12188" name="Google Shape;12188;p1144"/>
          <p:cNvSpPr txBox="1"/>
          <p:nvPr/>
        </p:nvSpPr>
        <p:spPr>
          <a:xfrm>
            <a:off x="11326735" y="3709919"/>
            <a:ext cx="771363"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800" b="1">
                <a:solidFill>
                  <a:schemeClr val="dk1"/>
                </a:solidFill>
                <a:latin typeface="Calibri"/>
                <a:ea typeface="Calibri"/>
                <a:cs typeface="Calibri"/>
                <a:sym typeface="Calibri"/>
              </a:rPr>
              <a:t>76</a:t>
            </a:r>
            <a:r>
              <a:rPr lang="en-US" sz="1800" b="1" i="0" u="none" strike="noStrike" cap="none">
                <a:solidFill>
                  <a:schemeClr val="dk1"/>
                </a:solidFill>
                <a:latin typeface="Calibri"/>
                <a:ea typeface="Calibri"/>
                <a:cs typeface="Calibri"/>
                <a:sym typeface="Calibri"/>
              </a:rPr>
              <a:t>%</a:t>
            </a:r>
            <a:endParaRPr sz="1400" b="0" i="0" u="none" strike="noStrike" cap="none">
              <a:solidFill>
                <a:schemeClr val="dk1"/>
              </a:solidFill>
              <a:latin typeface="Arial"/>
              <a:ea typeface="Arial"/>
              <a:cs typeface="Arial"/>
              <a:sym typeface="Arial"/>
            </a:endParaRPr>
          </a:p>
        </p:txBody>
      </p:sp>
      <p:sp>
        <p:nvSpPr>
          <p:cNvPr id="12187" name="Google Shape;12187;p1144"/>
          <p:cNvSpPr txBox="1"/>
          <p:nvPr/>
        </p:nvSpPr>
        <p:spPr>
          <a:xfrm>
            <a:off x="6686377" y="3893317"/>
            <a:ext cx="590550" cy="369332"/>
          </a:xfrm>
          <a:prstGeom prst="rect">
            <a:avLst/>
          </a:prstGeom>
          <a:noFill/>
          <a:ln w="9525" cap="flat" cmpd="sng">
            <a:solidFill>
              <a:srgbClr val="000000"/>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en-US" sz="1800" b="1" i="0" u="none" strike="noStrike" cap="none">
                <a:solidFill>
                  <a:schemeClr val="dk1"/>
                </a:solidFill>
                <a:latin typeface="Calibri"/>
                <a:ea typeface="Calibri"/>
                <a:cs typeface="Calibri"/>
                <a:sym typeface="Calibri"/>
              </a:rPr>
              <a:t>54%</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2207"/>
        <p:cNvGrpSpPr/>
        <p:nvPr/>
      </p:nvGrpSpPr>
      <p:grpSpPr>
        <a:xfrm>
          <a:off x="0" y="0"/>
          <a:ext cx="0" cy="0"/>
          <a:chOff x="0" y="0"/>
          <a:chExt cx="0" cy="0"/>
        </a:xfrm>
      </p:grpSpPr>
      <p:sp>
        <p:nvSpPr>
          <p:cNvPr id="12208" name="Google Shape;12208;p13"/>
          <p:cNvSpPr txBox="1">
            <a:spLocks noGrp="1"/>
          </p:cNvSpPr>
          <p:nvPr>
            <p:ph type="title"/>
          </p:nvPr>
        </p:nvSpPr>
        <p:spPr>
          <a:xfrm>
            <a:off x="176139" y="35485"/>
            <a:ext cx="6219825" cy="134461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4000"/>
              <a:buNone/>
            </a:pPr>
            <a:r>
              <a:rPr lang="en-US" sz="4000"/>
              <a:t>PREM Survey Completion goal &gt; 10%</a:t>
            </a:r>
            <a:endParaRPr/>
          </a:p>
        </p:txBody>
      </p:sp>
      <p:sp>
        <p:nvSpPr>
          <p:cNvPr id="12209" name="Google Shape;12209;p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Clr>
                <a:srgbClr val="919497"/>
              </a:buClr>
              <a:buSzPts val="1200"/>
              <a:buFont typeface="Calibri"/>
              <a:buNone/>
            </a:pPr>
            <a:fld id="{00000000-1234-1234-1234-123412341234}" type="slidenum">
              <a:rPr lang="en-US" dirty="0"/>
              <a:t>16</a:t>
            </a:fld>
            <a:endParaRPr/>
          </a:p>
        </p:txBody>
      </p:sp>
      <p:sp>
        <p:nvSpPr>
          <p:cNvPr id="12210" name="Google Shape;12210;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rgbClr val="919497"/>
              </a:buClr>
              <a:buSzPts val="1400"/>
              <a:buFont typeface="Calibri"/>
              <a:buNone/>
            </a:pPr>
            <a:r>
              <a:rPr lang="en-US"/>
              <a:t>Illinois Perinatal Quality Collaborative</a:t>
            </a:r>
            <a:endParaRPr/>
          </a:p>
        </p:txBody>
      </p:sp>
      <p:sp>
        <p:nvSpPr>
          <p:cNvPr id="12211" name="Google Shape;12211;p13"/>
          <p:cNvSpPr/>
          <p:nvPr/>
        </p:nvSpPr>
        <p:spPr>
          <a:xfrm>
            <a:off x="105391" y="1436904"/>
            <a:ext cx="4774955" cy="1988599"/>
          </a:xfrm>
          <a:prstGeom prst="rect">
            <a:avLst/>
          </a:prstGeom>
          <a:solidFill>
            <a:schemeClr val="accent1"/>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p>
            <a:pPr algn="ctr"/>
            <a:r>
              <a:rPr lang="en-US" sz="2800" b="0" i="0" u="none" strike="noStrike" cap="none">
                <a:solidFill>
                  <a:schemeClr val="lt1"/>
                </a:solidFill>
                <a:latin typeface="Arial"/>
                <a:ea typeface="Arial"/>
                <a:cs typeface="Arial"/>
                <a:sym typeface="Arial"/>
              </a:rPr>
              <a:t> </a:t>
            </a:r>
            <a:r>
              <a:rPr lang="en-US" sz="2800">
                <a:solidFill>
                  <a:schemeClr val="lt1"/>
                </a:solidFill>
                <a:latin typeface="Arial"/>
                <a:ea typeface="Arial"/>
                <a:cs typeface="Arial"/>
                <a:sym typeface="Arial"/>
              </a:rPr>
              <a:t>8,840 </a:t>
            </a:r>
            <a:r>
              <a:rPr lang="en-US" sz="2800">
                <a:solidFill>
                  <a:schemeClr val="lt1"/>
                </a:solidFill>
              </a:rPr>
              <a:t>PREM</a:t>
            </a:r>
            <a:r>
              <a:rPr lang="en-US" sz="2800" b="0" i="0" u="none" strike="noStrike" cap="none" dirty="0">
                <a:solidFill>
                  <a:schemeClr val="lt1"/>
                </a:solidFill>
                <a:latin typeface="Arial"/>
                <a:ea typeface="Arial"/>
                <a:cs typeface="Arial"/>
                <a:sym typeface="Arial"/>
              </a:rPr>
              <a:t> surveys submitted among </a:t>
            </a:r>
            <a:r>
              <a:rPr lang="en-US" sz="2800" dirty="0">
                <a:solidFill>
                  <a:schemeClr val="lt1"/>
                </a:solidFill>
              </a:rPr>
              <a:t>75 </a:t>
            </a:r>
            <a:r>
              <a:rPr lang="en-US" sz="2800" b="0" i="0" u="none" strike="noStrike" cap="none" dirty="0">
                <a:solidFill>
                  <a:schemeClr val="lt1"/>
                </a:solidFill>
                <a:latin typeface="Arial"/>
                <a:ea typeface="Arial"/>
                <a:cs typeface="Arial"/>
                <a:sym typeface="Arial"/>
              </a:rPr>
              <a:t>hospitals</a:t>
            </a:r>
            <a:endParaRPr dirty="0">
              <a:solidFill>
                <a:schemeClr val="lt1"/>
              </a:solidFill>
            </a:endParaRPr>
          </a:p>
          <a:p>
            <a:pPr marL="0" marR="0" lvl="0" indent="0" algn="ctr" rtl="0">
              <a:lnSpc>
                <a:spcPct val="100000"/>
              </a:lnSpc>
              <a:spcBef>
                <a:spcPts val="0"/>
              </a:spcBef>
              <a:spcAft>
                <a:spcPts val="0"/>
              </a:spcAft>
              <a:buNone/>
            </a:pPr>
            <a:endParaRPr sz="1600" b="0" i="0" u="none" strike="noStrike" cap="none">
              <a:solidFill>
                <a:schemeClr val="lt1"/>
              </a:solidFill>
              <a:latin typeface="Arial"/>
              <a:ea typeface="Arial"/>
              <a:cs typeface="Arial"/>
              <a:sym typeface="Arial"/>
            </a:endParaRPr>
          </a:p>
          <a:p>
            <a:pPr marL="0" marR="0" lvl="0" indent="0" algn="ctr" rtl="0">
              <a:lnSpc>
                <a:spcPct val="100000"/>
              </a:lnSpc>
              <a:spcBef>
                <a:spcPts val="0"/>
              </a:spcBef>
              <a:spcAft>
                <a:spcPts val="0"/>
              </a:spcAft>
              <a:buNone/>
            </a:pPr>
            <a:r>
              <a:rPr lang="en-US" sz="1600" b="0" i="0" u="none" strike="noStrike" cap="none" dirty="0">
                <a:solidFill>
                  <a:schemeClr val="lt1"/>
                </a:solidFill>
                <a:latin typeface="Arial"/>
                <a:ea typeface="Arial"/>
                <a:cs typeface="Arial"/>
                <a:sym typeface="Arial"/>
              </a:rPr>
              <a:t>22% Black, 19% Hispanic, 5% Asian, 48% White</a:t>
            </a:r>
            <a:endParaRPr sz="1400" b="0" i="0" u="none" strike="noStrike" cap="none" dirty="0">
              <a:solidFill>
                <a:schemeClr val="lt1"/>
              </a:solidFill>
              <a:latin typeface="Arial"/>
              <a:ea typeface="Arial"/>
              <a:cs typeface="Arial"/>
              <a:sym typeface="Arial"/>
            </a:endParaRPr>
          </a:p>
        </p:txBody>
      </p:sp>
      <p:pic>
        <p:nvPicPr>
          <p:cNvPr id="3" name="Picture 2" descr="A graph of a number of blue bars&#10;&#10;Description automatically generated">
            <a:extLst>
              <a:ext uri="{FF2B5EF4-FFF2-40B4-BE49-F238E27FC236}">
                <a16:creationId xmlns:a16="http://schemas.microsoft.com/office/drawing/2014/main" id="{A0918CB8-BB14-A9C6-DD63-BC61D694C1E1}"/>
              </a:ext>
            </a:extLst>
          </p:cNvPr>
          <p:cNvPicPr>
            <a:picLocks noChangeAspect="1"/>
          </p:cNvPicPr>
          <p:nvPr/>
        </p:nvPicPr>
        <p:blipFill>
          <a:blip r:embed="rId3"/>
          <a:stretch>
            <a:fillRect/>
          </a:stretch>
        </p:blipFill>
        <p:spPr>
          <a:xfrm>
            <a:off x="335447" y="3490968"/>
            <a:ext cx="4524375" cy="2695575"/>
          </a:xfrm>
          <a:prstGeom prst="rect">
            <a:avLst/>
          </a:prstGeom>
        </p:spPr>
      </p:pic>
      <p:pic>
        <p:nvPicPr>
          <p:cNvPr id="2" name="Picture 1" descr="A graph of a number of survey surveys&#10;&#10;Description automatically generated">
            <a:extLst>
              <a:ext uri="{FF2B5EF4-FFF2-40B4-BE49-F238E27FC236}">
                <a16:creationId xmlns:a16="http://schemas.microsoft.com/office/drawing/2014/main" id="{9584C011-5E68-7D0F-9EF3-73194EA3DA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20133" y="1818841"/>
            <a:ext cx="6696075" cy="3964998"/>
          </a:xfrm>
          <a:prstGeom prst="rect">
            <a:avLst/>
          </a:prstGeom>
        </p:spPr>
      </p:pic>
    </p:spTree>
    <p:extLst>
      <p:ext uri="{BB962C8B-B14F-4D97-AF65-F5344CB8AC3E}">
        <p14:creationId xmlns:p14="http://schemas.microsoft.com/office/powerpoint/2010/main" val="1162406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2F7D33B-E374-8E9C-6077-10E0D6BBD5E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93F47DC-6DD1-E24F-846D-93C27764E3E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29" name="Diagram 28">
            <a:extLst>
              <a:ext uri="{FF2B5EF4-FFF2-40B4-BE49-F238E27FC236}">
                <a16:creationId xmlns:a16="http://schemas.microsoft.com/office/drawing/2014/main" id="{76CA125B-7597-FE2A-89DD-C8F66406E2C7}"/>
              </a:ext>
            </a:extLst>
          </p:cNvPr>
          <p:cNvGraphicFramePr/>
          <p:nvPr/>
        </p:nvGraphicFramePr>
        <p:xfrm>
          <a:off x="0" y="0"/>
          <a:ext cx="12192000" cy="685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a:extLst>
              <a:ext uri="{FF2B5EF4-FFF2-40B4-BE49-F238E27FC236}">
                <a16:creationId xmlns:a16="http://schemas.microsoft.com/office/drawing/2014/main" id="{5FF1663E-589E-49A3-87A5-70867BD5901A}"/>
              </a:ext>
            </a:extLst>
          </p:cNvPr>
          <p:cNvSpPr/>
          <p:nvPr/>
        </p:nvSpPr>
        <p:spPr>
          <a:xfrm>
            <a:off x="4082902" y="2094614"/>
            <a:ext cx="4029740" cy="426173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9900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60A4C-654A-4200-9B48-51BC368CA8E3}"/>
              </a:ext>
            </a:extLst>
          </p:cNvPr>
          <p:cNvSpPr>
            <a:spLocks noGrp="1"/>
          </p:cNvSpPr>
          <p:nvPr>
            <p:ph type="title"/>
          </p:nvPr>
        </p:nvSpPr>
        <p:spPr>
          <a:xfrm>
            <a:off x="726559" y="425634"/>
            <a:ext cx="7981507" cy="1325563"/>
          </a:xfrm>
        </p:spPr>
        <p:txBody>
          <a:bodyPr/>
          <a:lstStyle/>
          <a:p>
            <a:r>
              <a:rPr lang="en-US" dirty="0"/>
              <a:t>Sustaining Birth Equity Strategies:     How can doulas help?  </a:t>
            </a:r>
          </a:p>
        </p:txBody>
      </p:sp>
      <p:sp>
        <p:nvSpPr>
          <p:cNvPr id="3" name="Text Placeholder 2">
            <a:extLst>
              <a:ext uri="{FF2B5EF4-FFF2-40B4-BE49-F238E27FC236}">
                <a16:creationId xmlns:a16="http://schemas.microsoft.com/office/drawing/2014/main" id="{0B09442D-B6D2-4C73-9191-326132F6862D}"/>
              </a:ext>
            </a:extLst>
          </p:cNvPr>
          <p:cNvSpPr>
            <a:spLocks noGrp="1"/>
          </p:cNvSpPr>
          <p:nvPr>
            <p:ph type="body" idx="1"/>
          </p:nvPr>
        </p:nvSpPr>
        <p:spPr>
          <a:xfrm>
            <a:off x="630865" y="1570443"/>
            <a:ext cx="10554586" cy="4351338"/>
          </a:xfrm>
        </p:spPr>
        <p:txBody>
          <a:bodyPr/>
          <a:lstStyle/>
          <a:p>
            <a:pPr marL="114300" indent="0" algn="ctr">
              <a:buNone/>
            </a:pPr>
            <a:r>
              <a:rPr lang="en-US" sz="3200" i="1" dirty="0"/>
              <a:t>A doula is a trained childbirth professional who provides in non-medical physical, emotional and informational support to clients and their families before, during and afterbirth.  </a:t>
            </a:r>
          </a:p>
          <a:p>
            <a:r>
              <a:rPr lang="en-US" sz="3200" dirty="0"/>
              <a:t>Improve linkage of at risk patients to community resources</a:t>
            </a:r>
          </a:p>
          <a:p>
            <a:r>
              <a:rPr lang="en-US" sz="3200" dirty="0"/>
              <a:t>Promote patient-centered respectful care</a:t>
            </a:r>
          </a:p>
          <a:p>
            <a:r>
              <a:rPr lang="en-US" sz="3200" dirty="0"/>
              <a:t>Improve postpartum safety</a:t>
            </a:r>
          </a:p>
          <a:p>
            <a:r>
              <a:rPr lang="en-US" sz="3200" dirty="0"/>
              <a:t>Reduce disparities in NTSV cesareans/promote vaginal birth</a:t>
            </a:r>
          </a:p>
          <a:p>
            <a:endParaRPr lang="en-US" sz="3200" dirty="0"/>
          </a:p>
        </p:txBody>
      </p:sp>
      <p:sp>
        <p:nvSpPr>
          <p:cNvPr id="4" name="Slide Number Placeholder 3">
            <a:extLst>
              <a:ext uri="{FF2B5EF4-FFF2-40B4-BE49-F238E27FC236}">
                <a16:creationId xmlns:a16="http://schemas.microsoft.com/office/drawing/2014/main" id="{F7411D74-5CBA-43F7-B7E8-865668817BD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a:p>
        </p:txBody>
      </p:sp>
    </p:spTree>
    <p:extLst>
      <p:ext uri="{BB962C8B-B14F-4D97-AF65-F5344CB8AC3E}">
        <p14:creationId xmlns:p14="http://schemas.microsoft.com/office/powerpoint/2010/main" val="29083773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60A4C-654A-4200-9B48-51BC368CA8E3}"/>
              </a:ext>
            </a:extLst>
          </p:cNvPr>
          <p:cNvSpPr>
            <a:spLocks noGrp="1"/>
          </p:cNvSpPr>
          <p:nvPr>
            <p:ph type="title"/>
          </p:nvPr>
        </p:nvSpPr>
        <p:spPr>
          <a:xfrm>
            <a:off x="609600" y="228470"/>
            <a:ext cx="8218966" cy="1325563"/>
          </a:xfrm>
        </p:spPr>
        <p:txBody>
          <a:bodyPr/>
          <a:lstStyle/>
          <a:p>
            <a:r>
              <a:rPr lang="en-US" dirty="0"/>
              <a:t>High quality research consistently supports the benefits of doula care</a:t>
            </a:r>
          </a:p>
        </p:txBody>
      </p:sp>
      <p:sp>
        <p:nvSpPr>
          <p:cNvPr id="3" name="Text Placeholder 2">
            <a:extLst>
              <a:ext uri="{FF2B5EF4-FFF2-40B4-BE49-F238E27FC236}">
                <a16:creationId xmlns:a16="http://schemas.microsoft.com/office/drawing/2014/main" id="{0B09442D-B6D2-4C73-9191-326132F6862D}"/>
              </a:ext>
            </a:extLst>
          </p:cNvPr>
          <p:cNvSpPr>
            <a:spLocks noGrp="1"/>
          </p:cNvSpPr>
          <p:nvPr>
            <p:ph type="body" idx="1"/>
          </p:nvPr>
        </p:nvSpPr>
        <p:spPr>
          <a:xfrm>
            <a:off x="609600" y="2005011"/>
            <a:ext cx="10554586" cy="4171951"/>
          </a:xfrm>
        </p:spPr>
        <p:txBody>
          <a:bodyPr/>
          <a:lstStyle/>
          <a:p>
            <a:pPr marL="114300" indent="0">
              <a:buNone/>
            </a:pPr>
            <a:r>
              <a:rPr lang="en-US" sz="3200" dirty="0"/>
              <a:t> </a:t>
            </a:r>
          </a:p>
        </p:txBody>
      </p:sp>
      <p:sp>
        <p:nvSpPr>
          <p:cNvPr id="4" name="Slide Number Placeholder 3">
            <a:extLst>
              <a:ext uri="{FF2B5EF4-FFF2-40B4-BE49-F238E27FC236}">
                <a16:creationId xmlns:a16="http://schemas.microsoft.com/office/drawing/2014/main" id="{F7411D74-5CBA-43F7-B7E8-865668817BD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9</a:t>
            </a:fld>
            <a:endParaRPr lang="en-US"/>
          </a:p>
        </p:txBody>
      </p:sp>
      <p:sp>
        <p:nvSpPr>
          <p:cNvPr id="6" name="TextBox 5">
            <a:extLst>
              <a:ext uri="{FF2B5EF4-FFF2-40B4-BE49-F238E27FC236}">
                <a16:creationId xmlns:a16="http://schemas.microsoft.com/office/drawing/2014/main" id="{D56F0AB7-CD84-4F52-AB38-A7405E12FB54}"/>
              </a:ext>
            </a:extLst>
          </p:cNvPr>
          <p:cNvSpPr txBox="1"/>
          <p:nvPr/>
        </p:nvSpPr>
        <p:spPr>
          <a:xfrm>
            <a:off x="609600" y="1704359"/>
            <a:ext cx="11352028" cy="4770537"/>
          </a:xfrm>
          <a:prstGeom prst="rect">
            <a:avLst/>
          </a:prstGeom>
          <a:noFill/>
        </p:spPr>
        <p:txBody>
          <a:bodyPr wrap="square" rtlCol="0">
            <a:spAutoFit/>
          </a:bodyPr>
          <a:lstStyle/>
          <a:p>
            <a:pPr marL="285750" indent="-285750">
              <a:buFont typeface="Arial" panose="020B0604020202020204" pitchFamily="34" charset="0"/>
              <a:buChar char="•"/>
            </a:pPr>
            <a:r>
              <a:rPr lang="en-US" sz="2400" dirty="0"/>
              <a:t>A 2017 Cochrane systemic review analyzed data from 26 studies involving more than 15,000 women and concluded that </a:t>
            </a:r>
            <a:r>
              <a:rPr lang="en-US" sz="2400" b="1" dirty="0"/>
              <a:t>based on the documented benefits, all women should have access to doula support</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2400" dirty="0"/>
              <a:t>A review of 41 birth practices in the American Journal of Obstetrics and Gynecology in 2008, using US Preventative Taskforce guidelines concluded that </a:t>
            </a:r>
            <a:r>
              <a:rPr lang="en-US" sz="2400" b="1" dirty="0"/>
              <a:t>doula support was among the most effective of all those reviewed</a:t>
            </a:r>
            <a:r>
              <a:rPr lang="en-US" sz="2400" dirty="0"/>
              <a:t>, one of the only three US practices to receive an “A” grade.</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2400" dirty="0"/>
              <a:t>In Safe Prevention of the Primary Cesarean Deliver, ACOG and SMFM reported that continuous labor support is an </a:t>
            </a:r>
            <a:r>
              <a:rPr lang="en-US" sz="2400" b="1" dirty="0"/>
              <a:t>underutilized strategy for reducing unnecessary Cesareans, suggesting the need for policy change to increase access to Doula care, particularly for those patients at greatest risk </a:t>
            </a:r>
            <a:r>
              <a:rPr lang="en-US" sz="2400" dirty="0"/>
              <a:t>of adverse outcomes.  </a:t>
            </a:r>
          </a:p>
        </p:txBody>
      </p:sp>
    </p:spTree>
    <p:extLst>
      <p:ext uri="{BB962C8B-B14F-4D97-AF65-F5344CB8AC3E}">
        <p14:creationId xmlns:p14="http://schemas.microsoft.com/office/powerpoint/2010/main" val="2131811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938"/>
        <p:cNvGrpSpPr/>
        <p:nvPr/>
      </p:nvGrpSpPr>
      <p:grpSpPr>
        <a:xfrm>
          <a:off x="0" y="0"/>
          <a:ext cx="0" cy="0"/>
          <a:chOff x="0" y="0"/>
          <a:chExt cx="0" cy="0"/>
        </a:xfrm>
      </p:grpSpPr>
      <p:sp>
        <p:nvSpPr>
          <p:cNvPr id="11939" name="Google Shape;11939;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0" name="Google Shape;11940;p2"/>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1" name="Google Shape;11941;p2"/>
          <p:cNvSpPr/>
          <p:nvPr/>
        </p:nvSpPr>
        <p:spPr>
          <a:xfrm rot="5400000" flipH="1">
            <a:off x="-1410085" y="1420219"/>
            <a:ext cx="6857999" cy="4037839"/>
          </a:xfrm>
          <a:prstGeom prst="rect">
            <a:avLst/>
          </a:prstGeom>
          <a:gradFill>
            <a:gsLst>
              <a:gs pos="0">
                <a:srgbClr val="000000">
                  <a:alpha val="0"/>
                </a:srgbClr>
              </a:gs>
              <a:gs pos="99000">
                <a:srgbClr val="1C498B">
                  <a:alpha val="45490"/>
                </a:srgbClr>
              </a:gs>
              <a:gs pos="100000">
                <a:srgbClr val="1C498B">
                  <a:alpha val="45490"/>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2" name="Google Shape;11942;p2"/>
          <p:cNvSpPr/>
          <p:nvPr/>
        </p:nvSpPr>
        <p:spPr>
          <a:xfrm rot="5400000" flipH="1">
            <a:off x="767923" y="3588085"/>
            <a:ext cx="2501979" cy="4037841"/>
          </a:xfrm>
          <a:prstGeom prst="rect">
            <a:avLst/>
          </a:prstGeom>
          <a:gradFill>
            <a:gsLst>
              <a:gs pos="0">
                <a:srgbClr val="1C498B">
                  <a:alpha val="28235"/>
                </a:srgbClr>
              </a:gs>
              <a:gs pos="2000">
                <a:srgbClr val="1C498B">
                  <a:alpha val="28235"/>
                </a:srgbClr>
              </a:gs>
              <a:gs pos="100000">
                <a:srgbClr val="000000">
                  <a:alpha val="29411"/>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3" name="Google Shape;11943;p2"/>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2352"/>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4" name="Google Shape;11944;p2"/>
          <p:cNvSpPr/>
          <p:nvPr/>
        </p:nvSpPr>
        <p:spPr>
          <a:xfrm rot="5400000" flipH="1">
            <a:off x="-1410095" y="1410079"/>
            <a:ext cx="6858003" cy="4037835"/>
          </a:xfrm>
          <a:prstGeom prst="rect">
            <a:avLst/>
          </a:prstGeom>
          <a:gradFill>
            <a:gsLst>
              <a:gs pos="0">
                <a:srgbClr val="000000">
                  <a:alpha val="0"/>
                </a:srgbClr>
              </a:gs>
              <a:gs pos="99000">
                <a:srgbClr val="5189DD">
                  <a:alpha val="10588"/>
                </a:srgbClr>
              </a:gs>
              <a:gs pos="100000">
                <a:srgbClr val="5189DD">
                  <a:alpha val="10588"/>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945" name="Google Shape;11945;p2"/>
          <p:cNvSpPr txBox="1">
            <a:spLocks noGrp="1"/>
          </p:cNvSpPr>
          <p:nvPr>
            <p:ph type="title"/>
          </p:nvPr>
        </p:nvSpPr>
        <p:spPr>
          <a:xfrm>
            <a:off x="586478" y="1683756"/>
            <a:ext cx="3115265" cy="2396359"/>
          </a:xfrm>
          <a:prstGeom prst="rect">
            <a:avLst/>
          </a:prstGeom>
          <a:noFill/>
          <a:ln>
            <a:noFill/>
          </a:ln>
        </p:spPr>
        <p:txBody>
          <a:bodyPr spcFirstLastPara="1" wrap="square" lIns="91425" tIns="45700" rIns="91425" bIns="45700" anchor="b" anchorCtr="0">
            <a:normAutofit/>
          </a:bodyPr>
          <a:lstStyle/>
          <a:p>
            <a:pPr marL="0" lvl="0" indent="0" algn="r" rtl="0">
              <a:lnSpc>
                <a:spcPct val="100000"/>
              </a:lnSpc>
              <a:spcBef>
                <a:spcPts val="0"/>
              </a:spcBef>
              <a:spcAft>
                <a:spcPts val="0"/>
              </a:spcAft>
              <a:buClr>
                <a:srgbClr val="FFFFFF"/>
              </a:buClr>
              <a:buSzPts val="4000"/>
              <a:buFont typeface="Calibri"/>
              <a:buNone/>
            </a:pPr>
            <a:r>
              <a:rPr lang="en-US" sz="4000">
                <a:solidFill>
                  <a:srgbClr val="FFFFFF"/>
                </a:solidFill>
              </a:rPr>
              <a:t>Call Overview</a:t>
            </a:r>
            <a:endParaRPr/>
          </a:p>
        </p:txBody>
      </p:sp>
      <p:sp>
        <p:nvSpPr>
          <p:cNvPr id="11946" name="Google Shape;11946;p2"/>
          <p:cNvSpPr txBox="1">
            <a:spLocks noGrp="1"/>
          </p:cNvSpPr>
          <p:nvPr>
            <p:ph type="ftr" idx="11"/>
          </p:nvPr>
        </p:nvSpPr>
        <p:spPr>
          <a:xfrm rot="5400000">
            <a:off x="-1828800" y="1984248"/>
            <a:ext cx="4114800" cy="365125"/>
          </a:xfrm>
          <a:prstGeom prst="rect">
            <a:avLst/>
          </a:prstGeom>
          <a:noFill/>
          <a:ln>
            <a:noFill/>
          </a:ln>
        </p:spPr>
        <p:txBody>
          <a:bodyPr spcFirstLastPara="1" wrap="square" lIns="91425" tIns="45700" rIns="91425" bIns="45700" anchor="ctr" anchorCtr="0">
            <a:normAutofit/>
          </a:bodyPr>
          <a:lstStyle/>
          <a:p>
            <a:pPr marL="0" marR="0" lvl="0" indent="0" algn="l" rtl="0">
              <a:lnSpc>
                <a:spcPct val="100000"/>
              </a:lnSpc>
              <a:spcBef>
                <a:spcPts val="0"/>
              </a:spcBef>
              <a:spcAft>
                <a:spcPts val="0"/>
              </a:spcAft>
              <a:buClr>
                <a:srgbClr val="FFFFFF"/>
              </a:buClr>
              <a:buSzPts val="1100"/>
              <a:buFont typeface="Calibri"/>
              <a:buNone/>
            </a:pPr>
            <a:r>
              <a:rPr lang="en-US" sz="1100" b="0" i="0" u="none" strike="noStrike" cap="none">
                <a:solidFill>
                  <a:srgbClr val="FFFFFF"/>
                </a:solidFill>
                <a:latin typeface="Calibri"/>
                <a:ea typeface="Calibri"/>
                <a:cs typeface="Calibri"/>
                <a:sym typeface="Calibri"/>
              </a:rPr>
              <a:t>Illinois Perinatal Quality Collaborative</a:t>
            </a:r>
            <a:endParaRPr/>
          </a:p>
        </p:txBody>
      </p:sp>
      <p:sp>
        <p:nvSpPr>
          <p:cNvPr id="11947" name="Google Shape;11947;p2"/>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marR="0" lvl="0" indent="0" algn="r" rtl="0">
              <a:lnSpc>
                <a:spcPct val="100000"/>
              </a:lnSpc>
              <a:spcBef>
                <a:spcPts val="0"/>
              </a:spcBef>
              <a:spcAft>
                <a:spcPts val="0"/>
              </a:spcAft>
              <a:buClr>
                <a:srgbClr val="9CA5AE"/>
              </a:buClr>
              <a:buSzPts val="1100"/>
              <a:buFont typeface="Calibri"/>
              <a:buNone/>
            </a:pPr>
            <a:fld id="{00000000-1234-1234-1234-123412341234}" type="slidenum">
              <a:rPr lang="en-US" sz="1100" b="0" i="0" u="none" strike="noStrike" cap="none">
                <a:solidFill>
                  <a:srgbClr val="9CA5AE"/>
                </a:solidFill>
                <a:latin typeface="Calibri"/>
                <a:ea typeface="Calibri"/>
                <a:cs typeface="Calibri"/>
                <a:sym typeface="Calibri"/>
              </a:rPr>
              <a:t>2</a:t>
            </a:fld>
            <a:endParaRPr sz="1100" b="0" i="0" u="none" strike="noStrike" cap="none">
              <a:solidFill>
                <a:srgbClr val="9CA5AE"/>
              </a:solidFill>
              <a:latin typeface="Calibri"/>
              <a:ea typeface="Calibri"/>
              <a:cs typeface="Calibri"/>
              <a:sym typeface="Calibri"/>
            </a:endParaRPr>
          </a:p>
        </p:txBody>
      </p:sp>
      <p:grpSp>
        <p:nvGrpSpPr>
          <p:cNvPr id="11948" name="Google Shape;11948;p2"/>
          <p:cNvGrpSpPr/>
          <p:nvPr/>
        </p:nvGrpSpPr>
        <p:grpSpPr>
          <a:xfrm>
            <a:off x="4435782" y="898199"/>
            <a:ext cx="7281349" cy="5065920"/>
            <a:chOff x="0" y="372209"/>
            <a:chExt cx="7281349" cy="5065920"/>
          </a:xfrm>
        </p:grpSpPr>
        <p:sp>
          <p:nvSpPr>
            <p:cNvPr id="11949" name="Google Shape;11949;p2"/>
            <p:cNvSpPr/>
            <p:nvPr/>
          </p:nvSpPr>
          <p:spPr>
            <a:xfrm>
              <a:off x="0" y="372209"/>
              <a:ext cx="7281349" cy="767520"/>
            </a:xfrm>
            <a:prstGeom prst="roundRect">
              <a:avLst>
                <a:gd name="adj" fmla="val 16667"/>
              </a:avLst>
            </a:prstGeom>
            <a:gradFill>
              <a:gsLst>
                <a:gs pos="0">
                  <a:srgbClr val="7DA1FD"/>
                </a:gs>
                <a:gs pos="50000">
                  <a:srgbClr val="6292FE"/>
                </a:gs>
                <a:gs pos="100000">
                  <a:srgbClr val="4D7DE3"/>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50" name="Google Shape;11950;p2"/>
            <p:cNvSpPr txBox="1"/>
            <p:nvPr/>
          </p:nvSpPr>
          <p:spPr>
            <a:xfrm>
              <a:off x="37467" y="409676"/>
              <a:ext cx="7206415" cy="692586"/>
            </a:xfrm>
            <a:prstGeom prst="rect">
              <a:avLst/>
            </a:prstGeom>
            <a:noFill/>
            <a:ln>
              <a:noFill/>
            </a:ln>
          </p:spPr>
          <p:txBody>
            <a:bodyPr spcFirstLastPara="1" wrap="square" lIns="121900" tIns="121900" rIns="121900" bIns="121900" anchor="ctr" anchorCtr="0">
              <a:noAutofit/>
            </a:bodyPr>
            <a:lstStyle/>
            <a:p>
              <a:pPr>
                <a:lnSpc>
                  <a:spcPct val="90000"/>
                </a:lnSpc>
              </a:pPr>
              <a:r>
                <a:rPr lang="en-US" sz="3200" dirty="0">
                  <a:solidFill>
                    <a:schemeClr val="accent1"/>
                  </a:solidFill>
                  <a:latin typeface="Calibri"/>
                  <a:cs typeface="Calibri"/>
                </a:rPr>
                <a:t>Face-to-Face 2024 Announcements</a:t>
              </a:r>
            </a:p>
          </p:txBody>
        </p:sp>
        <p:sp>
          <p:nvSpPr>
            <p:cNvPr id="11951" name="Google Shape;11951;p2"/>
            <p:cNvSpPr/>
            <p:nvPr/>
          </p:nvSpPr>
          <p:spPr>
            <a:xfrm>
              <a:off x="0" y="1231889"/>
              <a:ext cx="7281349" cy="767520"/>
            </a:xfrm>
            <a:prstGeom prst="roundRect">
              <a:avLst>
                <a:gd name="adj" fmla="val 16667"/>
              </a:avLst>
            </a:prstGeom>
            <a:gradFill>
              <a:gsLst>
                <a:gs pos="0">
                  <a:srgbClr val="72D9F5"/>
                </a:gs>
                <a:gs pos="50000">
                  <a:srgbClr val="54D8F9"/>
                </a:gs>
                <a:gs pos="100000">
                  <a:srgbClr val="41C4E3"/>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52" name="Google Shape;11952;p2"/>
            <p:cNvSpPr txBox="1"/>
            <p:nvPr/>
          </p:nvSpPr>
          <p:spPr>
            <a:xfrm>
              <a:off x="37467" y="1269356"/>
              <a:ext cx="7206415" cy="692586"/>
            </a:xfrm>
            <a:prstGeom prst="rect">
              <a:avLst/>
            </a:prstGeom>
            <a:noFill/>
            <a:ln>
              <a:noFill/>
            </a:ln>
          </p:spPr>
          <p:txBody>
            <a:bodyPr spcFirstLastPara="1" wrap="square" lIns="121900" tIns="121900" rIns="121900" bIns="121900" anchor="ctr" anchorCtr="0">
              <a:noAutofit/>
            </a:bodyPr>
            <a:lstStyle/>
            <a:p>
              <a:r>
                <a:rPr lang="en-US" sz="3200" dirty="0">
                  <a:solidFill>
                    <a:schemeClr val="accent1"/>
                  </a:solidFill>
                  <a:latin typeface="Calibri"/>
                  <a:ea typeface="Calibri"/>
                  <a:cs typeface="Calibri"/>
                </a:rPr>
                <a:t>BE Data Form Updates / BE Data Review</a:t>
              </a:r>
            </a:p>
          </p:txBody>
        </p:sp>
        <p:sp>
          <p:nvSpPr>
            <p:cNvPr id="11953" name="Google Shape;11953;p2"/>
            <p:cNvSpPr/>
            <p:nvPr/>
          </p:nvSpPr>
          <p:spPr>
            <a:xfrm>
              <a:off x="0" y="2091569"/>
              <a:ext cx="7281349" cy="767520"/>
            </a:xfrm>
            <a:prstGeom prst="roundRect">
              <a:avLst>
                <a:gd name="adj" fmla="val 16667"/>
              </a:avLst>
            </a:prstGeom>
            <a:gradFill>
              <a:gsLst>
                <a:gs pos="0">
                  <a:srgbClr val="6AE9C0"/>
                </a:gs>
                <a:gs pos="50000">
                  <a:srgbClr val="4BEDBA"/>
                </a:gs>
                <a:gs pos="100000">
                  <a:srgbClr val="3AD9A7"/>
                </a:gs>
              </a:gsLst>
              <a:lin ang="5400000" scaled="0"/>
            </a:gradFill>
            <a:ln>
              <a:noFill/>
            </a:ln>
          </p:spPr>
          <p:txBody>
            <a:bodyPr spcFirstLastPara="1" wrap="square" lIns="91425" tIns="91425" rIns="91425" bIns="91425" anchor="ctr" anchorCtr="0">
              <a:noAutofit/>
            </a:bodyPr>
            <a:lstStyle/>
            <a:p>
              <a:r>
                <a:rPr lang="en-US" sz="3200">
                  <a:solidFill>
                    <a:schemeClr val="accent1"/>
                  </a:solidFill>
                  <a:latin typeface="Calibri"/>
                  <a:ea typeface="Calibri"/>
                  <a:cs typeface="Calibri"/>
                </a:rPr>
                <a:t>Engaging doulas to improve care</a:t>
              </a:r>
              <a:endParaRPr lang="en-US" sz="3200" b="0" i="0" u="none" strike="noStrike" cap="none">
                <a:latin typeface="Calibri"/>
                <a:ea typeface="Calibri"/>
                <a:cs typeface="Calibri"/>
              </a:endParaRPr>
            </a:p>
          </p:txBody>
        </p:sp>
        <p:sp>
          <p:nvSpPr>
            <p:cNvPr id="11954" name="Google Shape;11954;p2"/>
            <p:cNvSpPr/>
            <p:nvPr/>
          </p:nvSpPr>
          <p:spPr>
            <a:xfrm>
              <a:off x="0" y="2951249"/>
              <a:ext cx="7281349" cy="767520"/>
            </a:xfrm>
            <a:prstGeom prst="roundRect">
              <a:avLst>
                <a:gd name="adj" fmla="val 16667"/>
              </a:avLst>
            </a:prstGeom>
            <a:gradFill>
              <a:gsLst>
                <a:gs pos="0">
                  <a:srgbClr val="64DC78"/>
                </a:gs>
                <a:gs pos="50000">
                  <a:srgbClr val="44DE60"/>
                </a:gs>
                <a:gs pos="100000">
                  <a:srgbClr val="33CC4F"/>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55" name="Google Shape;11955;p2"/>
            <p:cNvSpPr/>
            <p:nvPr/>
          </p:nvSpPr>
          <p:spPr>
            <a:xfrm>
              <a:off x="0" y="3810929"/>
              <a:ext cx="7281349" cy="767520"/>
            </a:xfrm>
            <a:prstGeom prst="roundRect">
              <a:avLst>
                <a:gd name="adj" fmla="val 16667"/>
              </a:avLst>
            </a:prstGeom>
            <a:gradFill>
              <a:gsLst>
                <a:gs pos="0">
                  <a:srgbClr val="80CE61"/>
                </a:gs>
                <a:gs pos="50000">
                  <a:srgbClr val="6DCE3F"/>
                </a:gs>
                <a:gs pos="100000">
                  <a:srgbClr val="5DBD30"/>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56" name="Google Shape;11956;p2"/>
            <p:cNvSpPr txBox="1"/>
            <p:nvPr/>
          </p:nvSpPr>
          <p:spPr>
            <a:xfrm>
              <a:off x="37467" y="3819642"/>
              <a:ext cx="7206415" cy="692586"/>
            </a:xfrm>
            <a:prstGeom prst="rect">
              <a:avLst/>
            </a:prstGeom>
            <a:noFill/>
            <a:ln>
              <a:noFill/>
            </a:ln>
          </p:spPr>
          <p:txBody>
            <a:bodyPr spcFirstLastPara="1" wrap="square" lIns="121900" tIns="121900" rIns="121900" bIns="121900" anchor="ctr" anchorCtr="0">
              <a:noAutofit/>
            </a:bodyPr>
            <a:lstStyle/>
            <a:p>
              <a:pPr>
                <a:lnSpc>
                  <a:spcPct val="90000"/>
                </a:lnSpc>
              </a:pPr>
              <a:r>
                <a:rPr lang="en-US" sz="3200" dirty="0">
                  <a:solidFill>
                    <a:schemeClr val="accent1"/>
                  </a:solidFill>
                  <a:latin typeface="Calibri"/>
                  <a:cs typeface="Calibri"/>
                </a:rPr>
                <a:t>Team Sharing: NPQIC Hospital</a:t>
              </a:r>
              <a:endParaRPr lang="en-US" dirty="0">
                <a:solidFill>
                  <a:schemeClr val="accent1"/>
                </a:solidFill>
              </a:endParaRPr>
            </a:p>
          </p:txBody>
        </p:sp>
        <p:sp>
          <p:nvSpPr>
            <p:cNvPr id="11957" name="Google Shape;11957;p2"/>
            <p:cNvSpPr/>
            <p:nvPr/>
          </p:nvSpPr>
          <p:spPr>
            <a:xfrm>
              <a:off x="0" y="4670609"/>
              <a:ext cx="7281349" cy="767520"/>
            </a:xfrm>
            <a:prstGeom prst="roundRect">
              <a:avLst>
                <a:gd name="adj" fmla="val 16667"/>
              </a:avLst>
            </a:prstGeom>
            <a:gradFill>
              <a:gsLst>
                <a:gs pos="0">
                  <a:srgbClr val="ACBC5F"/>
                </a:gs>
                <a:gs pos="50000">
                  <a:srgbClr val="A4B83F"/>
                </a:gs>
                <a:gs pos="100000">
                  <a:srgbClr val="94A733"/>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58" name="Google Shape;11958;p2"/>
            <p:cNvSpPr txBox="1"/>
            <p:nvPr/>
          </p:nvSpPr>
          <p:spPr>
            <a:xfrm>
              <a:off x="37467" y="4736831"/>
              <a:ext cx="7206415" cy="692586"/>
            </a:xfrm>
            <a:prstGeom prst="rect">
              <a:avLst/>
            </a:prstGeom>
            <a:noFill/>
            <a:ln>
              <a:noFill/>
            </a:ln>
          </p:spPr>
          <p:txBody>
            <a:bodyPr spcFirstLastPara="1" wrap="square" lIns="121900" tIns="121900" rIns="121900" bIns="121900" anchor="ctr" anchorCtr="0">
              <a:noAutofit/>
            </a:bodyPr>
            <a:lstStyle/>
            <a:p>
              <a:pPr>
                <a:lnSpc>
                  <a:spcPct val="90000"/>
                </a:lnSpc>
              </a:pPr>
              <a:r>
                <a:rPr lang="en-US" sz="3200" dirty="0">
                  <a:solidFill>
                    <a:schemeClr val="accent1"/>
                  </a:solidFill>
                  <a:latin typeface="Calibri"/>
                  <a:ea typeface="Calibri"/>
                  <a:cs typeface="Calibri"/>
                </a:rPr>
                <a:t>Additional Resources / Announcements / Wrap Up</a:t>
              </a:r>
              <a:endParaRPr lang="en-US" dirty="0">
                <a:solidFill>
                  <a:schemeClr val="accent1"/>
                </a:solidFill>
              </a:endParaRPr>
            </a:p>
          </p:txBody>
        </p:sp>
        <p:sp>
          <p:nvSpPr>
            <p:cNvPr id="11959" name="Google Shape;11959;p2"/>
            <p:cNvSpPr txBox="1"/>
            <p:nvPr/>
          </p:nvSpPr>
          <p:spPr>
            <a:xfrm>
              <a:off x="37467" y="3006055"/>
              <a:ext cx="7206415" cy="692586"/>
            </a:xfrm>
            <a:prstGeom prst="rect">
              <a:avLst/>
            </a:prstGeom>
            <a:noFill/>
            <a:ln>
              <a:noFill/>
            </a:ln>
          </p:spPr>
          <p:txBody>
            <a:bodyPr spcFirstLastPara="1" wrap="square" lIns="121900" tIns="121900" rIns="121900" bIns="121900" anchor="ctr" anchorCtr="0">
              <a:noAutofit/>
            </a:bodyPr>
            <a:lstStyle/>
            <a:p>
              <a:pPr>
                <a:lnSpc>
                  <a:spcPct val="90000"/>
                </a:lnSpc>
              </a:pPr>
              <a:r>
                <a:rPr lang="en-US" sz="3200" dirty="0">
                  <a:solidFill>
                    <a:schemeClr val="accent1"/>
                  </a:solidFill>
                  <a:latin typeface="Calibri"/>
                  <a:ea typeface="Calibri"/>
                  <a:cs typeface="Calibri"/>
                </a:rPr>
                <a:t>Expanding Patient Access to Community-based Doulas: Charity Bean</a:t>
              </a:r>
              <a:endParaRPr lang="en-US" dirty="0">
                <a:solidFill>
                  <a:schemeClr val="accent1"/>
                </a:solidFill>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0B27C-DD3C-4735-9054-1D71AD79AB5D}"/>
              </a:ext>
            </a:extLst>
          </p:cNvPr>
          <p:cNvSpPr>
            <a:spLocks noGrp="1"/>
          </p:cNvSpPr>
          <p:nvPr>
            <p:ph type="title"/>
          </p:nvPr>
        </p:nvSpPr>
        <p:spPr>
          <a:xfrm>
            <a:off x="494415" y="122209"/>
            <a:ext cx="10972800" cy="1325563"/>
          </a:xfrm>
        </p:spPr>
        <p:txBody>
          <a:bodyPr/>
          <a:lstStyle/>
          <a:p>
            <a:r>
              <a:rPr lang="en-US" dirty="0"/>
              <a:t>Evidence-based Benefits of Doula Care</a:t>
            </a:r>
          </a:p>
        </p:txBody>
      </p:sp>
      <p:sp>
        <p:nvSpPr>
          <p:cNvPr id="3" name="Text Placeholder 2">
            <a:extLst>
              <a:ext uri="{FF2B5EF4-FFF2-40B4-BE49-F238E27FC236}">
                <a16:creationId xmlns:a16="http://schemas.microsoft.com/office/drawing/2014/main" id="{2E14A81D-D08C-4E43-89B0-13F0C2FA8F42}"/>
              </a:ext>
            </a:extLst>
          </p:cNvPr>
          <p:cNvSpPr>
            <a:spLocks noGrp="1"/>
          </p:cNvSpPr>
          <p:nvPr>
            <p:ph type="body" idx="1"/>
          </p:nvPr>
        </p:nvSpPr>
        <p:spPr>
          <a:xfrm>
            <a:off x="609600" y="1093842"/>
            <a:ext cx="10972800" cy="4351338"/>
          </a:xfrm>
        </p:spPr>
        <p:txBody>
          <a:bodyPr/>
          <a:lstStyle/>
          <a:p>
            <a:r>
              <a:rPr lang="en-US" sz="2800" dirty="0"/>
              <a:t>Reduced cesarean section rates / Increased spontaneous vaginal birth</a:t>
            </a:r>
          </a:p>
          <a:p>
            <a:r>
              <a:rPr lang="en-US" sz="2800" dirty="0"/>
              <a:t>Shorter duration of labor</a:t>
            </a:r>
          </a:p>
          <a:p>
            <a:r>
              <a:rPr lang="en-US" sz="2800" dirty="0"/>
              <a:t>Increased breastfeeding initiation</a:t>
            </a:r>
          </a:p>
          <a:p>
            <a:r>
              <a:rPr lang="en-US" sz="2800" dirty="0"/>
              <a:t>Increased patient satisfaction / fewer negative childbirth experiences</a:t>
            </a:r>
          </a:p>
          <a:p>
            <a:r>
              <a:rPr lang="en-US" sz="2800" dirty="0"/>
              <a:t>Reduced incidence of post-partum depression</a:t>
            </a:r>
          </a:p>
          <a:p>
            <a:r>
              <a:rPr lang="en-US" sz="2800" dirty="0"/>
              <a:t> 4x less likely to experience a birthing complication for themselves or their neonate </a:t>
            </a:r>
          </a:p>
          <a:p>
            <a:r>
              <a:rPr lang="en-US" sz="2800" dirty="0"/>
              <a:t>In states that already provide Medicaid reimbursement for doula care the average savings per pregnancy is $1,675</a:t>
            </a:r>
          </a:p>
          <a:p>
            <a:endParaRPr lang="en-US" sz="2800" dirty="0"/>
          </a:p>
        </p:txBody>
      </p:sp>
      <p:sp>
        <p:nvSpPr>
          <p:cNvPr id="4" name="Slide Number Placeholder 3">
            <a:extLst>
              <a:ext uri="{FF2B5EF4-FFF2-40B4-BE49-F238E27FC236}">
                <a16:creationId xmlns:a16="http://schemas.microsoft.com/office/drawing/2014/main" id="{288C6363-52B4-4749-84E3-2D91D442920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0</a:t>
            </a:fld>
            <a:endParaRPr lang="en-US"/>
          </a:p>
        </p:txBody>
      </p:sp>
      <p:sp>
        <p:nvSpPr>
          <p:cNvPr id="5" name="TextBox 4">
            <a:extLst>
              <a:ext uri="{FF2B5EF4-FFF2-40B4-BE49-F238E27FC236}">
                <a16:creationId xmlns:a16="http://schemas.microsoft.com/office/drawing/2014/main" id="{5DCC48E0-D717-467A-AFA4-DE3185E49B73}"/>
              </a:ext>
            </a:extLst>
          </p:cNvPr>
          <p:cNvSpPr txBox="1"/>
          <p:nvPr/>
        </p:nvSpPr>
        <p:spPr>
          <a:xfrm>
            <a:off x="1041991" y="6366459"/>
            <a:ext cx="9877648" cy="369332"/>
          </a:xfrm>
          <a:prstGeom prst="rect">
            <a:avLst/>
          </a:prstGeom>
          <a:noFill/>
        </p:spPr>
        <p:txBody>
          <a:bodyPr wrap="square" rtlCol="0">
            <a:spAutoFit/>
          </a:bodyPr>
          <a:lstStyle/>
          <a:p>
            <a:r>
              <a:rPr lang="en-US" sz="1800" dirty="0"/>
              <a:t>(</a:t>
            </a:r>
            <a:r>
              <a:rPr lang="en-US" sz="1800" dirty="0" err="1"/>
              <a:t>Hobel</a:t>
            </a:r>
            <a:r>
              <a:rPr lang="en-US" sz="1800" dirty="0"/>
              <a:t> et al., 2008; McGrath &amp; Kennel, 2008),  (</a:t>
            </a:r>
            <a:r>
              <a:rPr lang="en-US" sz="1800" dirty="0" err="1"/>
              <a:t>Elevance</a:t>
            </a:r>
            <a:r>
              <a:rPr lang="en-US" sz="1800" dirty="0"/>
              <a:t> Health Public Policy Institute, 2022)</a:t>
            </a:r>
          </a:p>
        </p:txBody>
      </p:sp>
    </p:spTree>
    <p:extLst>
      <p:ext uri="{BB962C8B-B14F-4D97-AF65-F5344CB8AC3E}">
        <p14:creationId xmlns:p14="http://schemas.microsoft.com/office/powerpoint/2010/main" val="3951108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4E18-079D-470A-84F3-CB30C84D238A}"/>
              </a:ext>
            </a:extLst>
          </p:cNvPr>
          <p:cNvSpPr>
            <a:spLocks noGrp="1"/>
          </p:cNvSpPr>
          <p:nvPr>
            <p:ph type="title"/>
          </p:nvPr>
        </p:nvSpPr>
        <p:spPr>
          <a:xfrm>
            <a:off x="301255" y="-161133"/>
            <a:ext cx="10972800" cy="1325563"/>
          </a:xfrm>
        </p:spPr>
        <p:txBody>
          <a:bodyPr/>
          <a:lstStyle/>
          <a:p>
            <a:r>
              <a:rPr lang="en-US" dirty="0"/>
              <a:t>Engaging doulas to improve care</a:t>
            </a:r>
          </a:p>
        </p:txBody>
      </p:sp>
      <p:sp>
        <p:nvSpPr>
          <p:cNvPr id="3" name="Text Placeholder 2">
            <a:extLst>
              <a:ext uri="{FF2B5EF4-FFF2-40B4-BE49-F238E27FC236}">
                <a16:creationId xmlns:a16="http://schemas.microsoft.com/office/drawing/2014/main" id="{A6B34028-F6FE-4605-8BD8-09384D3227BB}"/>
              </a:ext>
            </a:extLst>
          </p:cNvPr>
          <p:cNvSpPr>
            <a:spLocks noGrp="1"/>
          </p:cNvSpPr>
          <p:nvPr>
            <p:ph type="body" idx="1"/>
          </p:nvPr>
        </p:nvSpPr>
        <p:spPr>
          <a:xfrm>
            <a:off x="609600" y="680760"/>
            <a:ext cx="10972800" cy="5262563"/>
          </a:xfrm>
        </p:spPr>
        <p:txBody>
          <a:bodyPr/>
          <a:lstStyle/>
          <a:p>
            <a:pPr marL="114300" indent="0">
              <a:buNone/>
            </a:pPr>
            <a:r>
              <a:rPr lang="en-US" sz="2800" dirty="0"/>
              <a:t>1) Create a Doula Friendly labor and delivery unit</a:t>
            </a:r>
          </a:p>
          <a:p>
            <a:pPr lvl="1"/>
            <a:r>
              <a:rPr lang="en-US" sz="2400" dirty="0"/>
              <a:t>Educate providers and nurses on benefits / role of doulas</a:t>
            </a:r>
          </a:p>
          <a:p>
            <a:pPr lvl="1"/>
            <a:r>
              <a:rPr lang="en-US" sz="2400" dirty="0"/>
              <a:t>Hold a meet &amp; greet doulas event, invite doulas to Respectful Care Breakfasts:  build connections between providers / nurses and doulas in your community</a:t>
            </a:r>
          </a:p>
          <a:p>
            <a:pPr lvl="1"/>
            <a:r>
              <a:rPr lang="en-US" sz="2400" dirty="0"/>
              <a:t>Make sure your policies include doulas as part of the care team, confirm doulas are allowed into the delivery room regardless if # support persons has been met</a:t>
            </a:r>
          </a:p>
          <a:p>
            <a:pPr marL="114300" indent="0">
              <a:buNone/>
            </a:pPr>
            <a:r>
              <a:rPr lang="en-US" sz="2800" dirty="0"/>
              <a:t>2) Identify opportunities to link patients to community doulas</a:t>
            </a:r>
          </a:p>
          <a:p>
            <a:pPr lvl="1">
              <a:buFont typeface="Arial" panose="020B0604020202020204" pitchFamily="34" charset="0"/>
              <a:buChar char="•"/>
            </a:pPr>
            <a:r>
              <a:rPr lang="en-US" sz="2400" dirty="0"/>
              <a:t>Identify community based doulas in your area, share with prenatal providers  process to link patients to doulas / doula resources</a:t>
            </a:r>
          </a:p>
          <a:p>
            <a:pPr marL="114300" indent="0">
              <a:buNone/>
            </a:pPr>
            <a:r>
              <a:rPr lang="en-US" sz="2800" dirty="0"/>
              <a:t>3) Medicaid reimbursement for doula care is coming soon in IL,</a:t>
            </a:r>
          </a:p>
          <a:p>
            <a:pPr marL="571500" lvl="1" indent="0">
              <a:buNone/>
            </a:pPr>
            <a:r>
              <a:rPr lang="en-US" sz="2800" b="1" u="sng" dirty="0">
                <a:solidFill>
                  <a:schemeClr val="tx1"/>
                </a:solidFill>
              </a:rPr>
              <a:t>make sure your L&amp;D is ready!</a:t>
            </a:r>
          </a:p>
          <a:p>
            <a:endParaRPr lang="en-US" dirty="0"/>
          </a:p>
        </p:txBody>
      </p:sp>
      <p:sp>
        <p:nvSpPr>
          <p:cNvPr id="4" name="Slide Number Placeholder 3">
            <a:extLst>
              <a:ext uri="{FF2B5EF4-FFF2-40B4-BE49-F238E27FC236}">
                <a16:creationId xmlns:a16="http://schemas.microsoft.com/office/drawing/2014/main" id="{7F5C5CE5-A2AE-480E-80CB-E5879C1D4B0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1</a:t>
            </a:fld>
            <a:endParaRPr lang="en-US"/>
          </a:p>
        </p:txBody>
      </p:sp>
    </p:spTree>
    <p:extLst>
      <p:ext uri="{BB962C8B-B14F-4D97-AF65-F5344CB8AC3E}">
        <p14:creationId xmlns:p14="http://schemas.microsoft.com/office/powerpoint/2010/main" val="6280422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C4E18-079D-470A-84F3-CB30C84D238A}"/>
              </a:ext>
            </a:extLst>
          </p:cNvPr>
          <p:cNvSpPr>
            <a:spLocks noGrp="1"/>
          </p:cNvSpPr>
          <p:nvPr>
            <p:ph type="title"/>
          </p:nvPr>
        </p:nvSpPr>
        <p:spPr>
          <a:xfrm>
            <a:off x="279990" y="136525"/>
            <a:ext cx="10972800" cy="1325563"/>
          </a:xfrm>
        </p:spPr>
        <p:txBody>
          <a:bodyPr/>
          <a:lstStyle/>
          <a:p>
            <a:r>
              <a:rPr lang="en-US" dirty="0"/>
              <a:t> A Doula Friendly Hospital is one that:</a:t>
            </a:r>
          </a:p>
        </p:txBody>
      </p:sp>
      <p:sp>
        <p:nvSpPr>
          <p:cNvPr id="3" name="Text Placeholder 2">
            <a:extLst>
              <a:ext uri="{FF2B5EF4-FFF2-40B4-BE49-F238E27FC236}">
                <a16:creationId xmlns:a16="http://schemas.microsoft.com/office/drawing/2014/main" id="{A6B34028-F6FE-4605-8BD8-09384D3227BB}"/>
              </a:ext>
            </a:extLst>
          </p:cNvPr>
          <p:cNvSpPr>
            <a:spLocks noGrp="1"/>
          </p:cNvSpPr>
          <p:nvPr>
            <p:ph type="body" idx="1"/>
          </p:nvPr>
        </p:nvSpPr>
        <p:spPr>
          <a:xfrm>
            <a:off x="609600" y="1095292"/>
            <a:ext cx="10972800" cy="4667416"/>
          </a:xfrm>
        </p:spPr>
        <p:txBody>
          <a:bodyPr/>
          <a:lstStyle/>
          <a:p>
            <a:r>
              <a:rPr lang="en-US" sz="2200" dirty="0"/>
              <a:t>Recognizes that the doula has been chosen to be a part of the labor support team, and includes the doulas as part of the integrated care team for the birth</a:t>
            </a:r>
          </a:p>
          <a:p>
            <a:r>
              <a:rPr lang="en-US" sz="2200" dirty="0"/>
              <a:t>Allows the doula in the L&amp;D room, whether or not the allotted number of support people has been reached</a:t>
            </a:r>
          </a:p>
          <a:p>
            <a:r>
              <a:rPr lang="en-US" sz="2200" dirty="0"/>
              <a:t>Ensures that the doula is treated with respect</a:t>
            </a:r>
          </a:p>
          <a:p>
            <a:r>
              <a:rPr lang="en-US" sz="2200" dirty="0"/>
              <a:t>Understands that the doulas supports the client and her desires</a:t>
            </a:r>
          </a:p>
          <a:p>
            <a:r>
              <a:rPr lang="en-US" sz="2200" dirty="0"/>
              <a:t>Allows and supports non-medical comfort techniques for labor, including but not limited to varied labor positions, movement, breathing techniques, aromatherapy, comforting touch, visualization, hydrotherapy, and the use of a birth ball and/or peanut ball. </a:t>
            </a:r>
          </a:p>
          <a:p>
            <a:r>
              <a:rPr lang="en-US" sz="2200" dirty="0"/>
              <a:t>Facilitates the provision of continuous calming support by allowing the doula to be present </a:t>
            </a:r>
            <a:r>
              <a:rPr lang="en-US" sz="2200"/>
              <a:t>in triage </a:t>
            </a:r>
            <a:r>
              <a:rPr lang="en-US" sz="2200" dirty="0"/>
              <a:t>and absent a compelling reason, for procedures such as epidural insertion and cesarean section.</a:t>
            </a:r>
          </a:p>
          <a:p>
            <a:r>
              <a:rPr lang="en-US" sz="2200" dirty="0"/>
              <a:t>Ensures that the doula is able to support the client post-partum, while at the hospital for breastfeeding and additional comfort measures. </a:t>
            </a:r>
          </a:p>
          <a:p>
            <a:endParaRPr lang="en-US" dirty="0"/>
          </a:p>
        </p:txBody>
      </p:sp>
      <p:sp>
        <p:nvSpPr>
          <p:cNvPr id="4" name="Slide Number Placeholder 3">
            <a:extLst>
              <a:ext uri="{FF2B5EF4-FFF2-40B4-BE49-F238E27FC236}">
                <a16:creationId xmlns:a16="http://schemas.microsoft.com/office/drawing/2014/main" id="{7F5C5CE5-A2AE-480E-80CB-E5879C1D4B0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00000000-1234-1234-1234-123412341234}" type="slidenum">
              <a:rPr kumimoji="0" lang="en-US" sz="1200" b="0" i="0" u="none" strike="noStrike" kern="0" cap="none" spc="0" normalizeH="0" baseline="0" noProof="0" smtClean="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22</a:t>
            </a:fld>
            <a:endParaRPr kumimoji="0" lang="en-US" sz="1200" b="0" i="0" u="none" strike="noStrike" kern="0" cap="none" spc="0" normalizeH="0" baseline="0" noProof="0">
              <a:ln>
                <a:noFill/>
              </a:ln>
              <a:solidFill>
                <a:srgbClr val="AEB3B7"/>
              </a:solidFill>
              <a:effectLst/>
              <a:uLnTx/>
              <a:uFillTx/>
              <a:latin typeface="Calibri"/>
              <a:cs typeface="Calibri"/>
              <a:sym typeface="Calibri"/>
            </a:endParaRPr>
          </a:p>
        </p:txBody>
      </p:sp>
    </p:spTree>
    <p:extLst>
      <p:ext uri="{BB962C8B-B14F-4D97-AF65-F5344CB8AC3E}">
        <p14:creationId xmlns:p14="http://schemas.microsoft.com/office/powerpoint/2010/main" val="706484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51E51-AAF5-1C30-C9E0-2193EE4A5491}"/>
              </a:ext>
            </a:extLst>
          </p:cNvPr>
          <p:cNvSpPr>
            <a:spLocks noGrp="1"/>
          </p:cNvSpPr>
          <p:nvPr>
            <p:ph type="title"/>
          </p:nvPr>
        </p:nvSpPr>
        <p:spPr>
          <a:xfrm>
            <a:off x="0" y="500062"/>
            <a:ext cx="1920949" cy="1325563"/>
          </a:xfrm>
        </p:spPr>
        <p:txBody>
          <a:bodyPr/>
          <a:lstStyle/>
          <a:p>
            <a:r>
              <a:rPr lang="en-US" sz="2800" dirty="0"/>
              <a:t>ILPQC Doula Resource</a:t>
            </a:r>
          </a:p>
        </p:txBody>
      </p:sp>
      <p:sp>
        <p:nvSpPr>
          <p:cNvPr id="4" name="Slide Number Placeholder 3">
            <a:extLst>
              <a:ext uri="{FF2B5EF4-FFF2-40B4-BE49-F238E27FC236}">
                <a16:creationId xmlns:a16="http://schemas.microsoft.com/office/drawing/2014/main" id="{C0B858E6-CDCB-0280-3277-9DF4985D57B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3</a:t>
            </a:fld>
            <a:endParaRPr kumimoji="0" lang="en-US" sz="1200" b="0" i="0" u="none" strike="noStrike" kern="0" cap="none" spc="0" normalizeH="0" baseline="0" noProof="0">
              <a:ln>
                <a:noFill/>
              </a:ln>
              <a:solidFill>
                <a:srgbClr val="AEB3B7"/>
              </a:solidFill>
              <a:effectLst/>
              <a:uLnTx/>
              <a:uFillTx/>
              <a:latin typeface="Calibri"/>
              <a:cs typeface="Calibri"/>
              <a:sym typeface="Calibri"/>
            </a:endParaRPr>
          </a:p>
        </p:txBody>
      </p:sp>
      <p:pic>
        <p:nvPicPr>
          <p:cNvPr id="6" name="Picture 5">
            <a:extLst>
              <a:ext uri="{FF2B5EF4-FFF2-40B4-BE49-F238E27FC236}">
                <a16:creationId xmlns:a16="http://schemas.microsoft.com/office/drawing/2014/main" id="{1393E5AC-5778-6F2D-4CE2-C3CC8390175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966" y="111176"/>
            <a:ext cx="5109751" cy="66356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6F1C85DF-6D18-09A7-22CB-4B88142B7C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20439" y="136525"/>
            <a:ext cx="5130759" cy="66356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0087227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6792455">
            <a:off x="-2858455" y="1579257"/>
            <a:ext cx="10820400" cy="5437251"/>
          </a:xfrm>
          <a:custGeom>
            <a:avLst/>
            <a:gdLst/>
            <a:ahLst/>
            <a:cxnLst/>
            <a:rect l="l" t="t" r="r" b="b"/>
            <a:pathLst>
              <a:path w="16230600" h="8155877">
                <a:moveTo>
                  <a:pt x="0" y="0"/>
                </a:moveTo>
                <a:lnTo>
                  <a:pt x="16230600" y="0"/>
                </a:lnTo>
                <a:lnTo>
                  <a:pt x="16230600" y="8155877"/>
                </a:lnTo>
                <a:lnTo>
                  <a:pt x="0" y="8155877"/>
                </a:lnTo>
                <a:lnTo>
                  <a:pt x="0" y="0"/>
                </a:lnTo>
                <a:close/>
              </a:path>
            </a:pathLst>
          </a:custGeom>
          <a:blipFill>
            <a:blip r:embed="rId3"/>
            <a:stretch>
              <a:fillRect/>
            </a:stretch>
          </a:blipFill>
        </p:spPr>
      </p:sp>
      <p:grpSp>
        <p:nvGrpSpPr>
          <p:cNvPr id="4" name="Group 4"/>
          <p:cNvGrpSpPr>
            <a:grpSpLocks noChangeAspect="1"/>
          </p:cNvGrpSpPr>
          <p:nvPr/>
        </p:nvGrpSpPr>
        <p:grpSpPr>
          <a:xfrm rot="-1225606">
            <a:off x="-429853" y="3198479"/>
            <a:ext cx="4592161" cy="5334760"/>
            <a:chOff x="0" y="0"/>
            <a:chExt cx="5466080" cy="6350000"/>
          </a:xfrm>
        </p:grpSpPr>
        <p:sp>
          <p:nvSpPr>
            <p:cNvPr id="5" name="Freeform 5"/>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6" name="Freeform 6"/>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4" cstate="email">
                <a:extLst>
                  <a:ext uri="{28A0092B-C50C-407E-A947-70E740481C1C}">
                    <a14:useLocalDpi xmlns:a14="http://schemas.microsoft.com/office/drawing/2010/main"/>
                  </a:ext>
                </a:extLst>
              </a:blip>
              <a:stretch>
                <a:fillRect/>
              </a:stretch>
            </a:blipFill>
          </p:spPr>
        </p:sp>
        <p:sp>
          <p:nvSpPr>
            <p:cNvPr id="7" name="Freeform 7"/>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8" name="Freeform 8"/>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9" name="Group 9"/>
          <p:cNvGrpSpPr>
            <a:grpSpLocks noChangeAspect="1"/>
          </p:cNvGrpSpPr>
          <p:nvPr/>
        </p:nvGrpSpPr>
        <p:grpSpPr>
          <a:xfrm rot="1904558">
            <a:off x="-1155677" y="-1961227"/>
            <a:ext cx="4592161" cy="5334760"/>
            <a:chOff x="0" y="0"/>
            <a:chExt cx="5466080" cy="6350000"/>
          </a:xfrm>
        </p:grpSpPr>
        <p:sp>
          <p:nvSpPr>
            <p:cNvPr id="10" name="Freeform 10"/>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1" name="Freeform 11"/>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5" cstate="email">
                <a:extLst>
                  <a:ext uri="{28A0092B-C50C-407E-A947-70E740481C1C}">
                    <a14:useLocalDpi xmlns:a14="http://schemas.microsoft.com/office/drawing/2010/main"/>
                  </a:ext>
                </a:extLst>
              </a:blip>
              <a:stretch>
                <a:fillRect/>
              </a:stretch>
            </a:blipFill>
          </p:spPr>
        </p:sp>
        <p:sp>
          <p:nvSpPr>
            <p:cNvPr id="12" name="Freeform 12"/>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3" name="Freeform 13"/>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sp>
        <p:nvSpPr>
          <p:cNvPr id="14" name="Freeform 14"/>
          <p:cNvSpPr/>
          <p:nvPr/>
        </p:nvSpPr>
        <p:spPr>
          <a:xfrm>
            <a:off x="8417356" y="-949053"/>
            <a:ext cx="3456741" cy="2294412"/>
          </a:xfrm>
          <a:custGeom>
            <a:avLst/>
            <a:gdLst/>
            <a:ahLst/>
            <a:cxnLst/>
            <a:rect l="l" t="t" r="r" b="b"/>
            <a:pathLst>
              <a:path w="5185112" h="3441618">
                <a:moveTo>
                  <a:pt x="0" y="0"/>
                </a:moveTo>
                <a:lnTo>
                  <a:pt x="5185112" y="0"/>
                </a:lnTo>
                <a:lnTo>
                  <a:pt x="5185112" y="3441617"/>
                </a:lnTo>
                <a:lnTo>
                  <a:pt x="0" y="3441617"/>
                </a:lnTo>
                <a:lnTo>
                  <a:pt x="0" y="0"/>
                </a:lnTo>
                <a:close/>
              </a:path>
            </a:pathLst>
          </a:custGeom>
          <a:blipFill>
            <a:blip r:embed="rId6" cstate="email">
              <a:alphaModFix amt="28000"/>
              <a:extLst>
                <a:ext uri="{28A0092B-C50C-407E-A947-70E740481C1C}">
                  <a14:useLocalDpi xmlns:a14="http://schemas.microsoft.com/office/drawing/2010/main"/>
                </a:ext>
              </a:extLst>
            </a:blip>
            <a:stretch>
              <a:fillRect/>
            </a:stretch>
          </a:blipFill>
        </p:spPr>
      </p:sp>
      <p:sp>
        <p:nvSpPr>
          <p:cNvPr id="15" name="Freeform 15"/>
          <p:cNvSpPr/>
          <p:nvPr/>
        </p:nvSpPr>
        <p:spPr>
          <a:xfrm rot="-2037488">
            <a:off x="5549428" y="5677364"/>
            <a:ext cx="469093" cy="607144"/>
          </a:xfrm>
          <a:custGeom>
            <a:avLst/>
            <a:gdLst/>
            <a:ahLst/>
            <a:cxnLst/>
            <a:rect l="l" t="t" r="r" b="b"/>
            <a:pathLst>
              <a:path w="703639" h="910716">
                <a:moveTo>
                  <a:pt x="0" y="0"/>
                </a:moveTo>
                <a:lnTo>
                  <a:pt x="703639" y="0"/>
                </a:lnTo>
                <a:lnTo>
                  <a:pt x="703639" y="910716"/>
                </a:lnTo>
                <a:lnTo>
                  <a:pt x="0" y="910716"/>
                </a:lnTo>
                <a:lnTo>
                  <a:pt x="0" y="0"/>
                </a:lnTo>
                <a:close/>
              </a:path>
            </a:pathLst>
          </a:custGeom>
          <a:blipFill>
            <a:blip r:embed="rId7" cstate="email">
              <a:alphaModFix amt="28000"/>
              <a:extLst>
                <a:ext uri="{28A0092B-C50C-407E-A947-70E740481C1C}">
                  <a14:useLocalDpi xmlns:a14="http://schemas.microsoft.com/office/drawing/2010/main"/>
                </a:ext>
              </a:extLst>
            </a:blip>
            <a:stretch>
              <a:fillRect/>
            </a:stretch>
          </a:blipFill>
        </p:spPr>
      </p:sp>
      <p:sp>
        <p:nvSpPr>
          <p:cNvPr id="16" name="Freeform 16"/>
          <p:cNvSpPr/>
          <p:nvPr/>
        </p:nvSpPr>
        <p:spPr>
          <a:xfrm rot="-91847">
            <a:off x="3682846" y="1270208"/>
            <a:ext cx="1410192" cy="3107861"/>
          </a:xfrm>
          <a:custGeom>
            <a:avLst/>
            <a:gdLst/>
            <a:ahLst/>
            <a:cxnLst/>
            <a:rect l="l" t="t" r="r" b="b"/>
            <a:pathLst>
              <a:path w="2115288" h="4661792">
                <a:moveTo>
                  <a:pt x="0" y="0"/>
                </a:moveTo>
                <a:lnTo>
                  <a:pt x="2115288" y="0"/>
                </a:lnTo>
                <a:lnTo>
                  <a:pt x="2115288" y="4661791"/>
                </a:lnTo>
                <a:lnTo>
                  <a:pt x="0" y="4661791"/>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17" name="Freeform 17"/>
          <p:cNvSpPr/>
          <p:nvPr/>
        </p:nvSpPr>
        <p:spPr>
          <a:xfrm rot="-3262724" flipH="1">
            <a:off x="2955872" y="2421448"/>
            <a:ext cx="1704664" cy="2359397"/>
          </a:xfrm>
          <a:custGeom>
            <a:avLst/>
            <a:gdLst/>
            <a:ahLst/>
            <a:cxnLst/>
            <a:rect l="l" t="t" r="r" b="b"/>
            <a:pathLst>
              <a:path w="2556996" h="3539095">
                <a:moveTo>
                  <a:pt x="2556995" y="0"/>
                </a:moveTo>
                <a:lnTo>
                  <a:pt x="0" y="0"/>
                </a:lnTo>
                <a:lnTo>
                  <a:pt x="0" y="3539095"/>
                </a:lnTo>
                <a:lnTo>
                  <a:pt x="2556995" y="3539095"/>
                </a:lnTo>
                <a:lnTo>
                  <a:pt x="2556995" y="0"/>
                </a:lnTo>
                <a:close/>
              </a:path>
            </a:pathLst>
          </a:custGeom>
          <a:blipFill>
            <a:blip r:embed="rId9" cstate="email">
              <a:extLst>
                <a:ext uri="{28A0092B-C50C-407E-A947-70E740481C1C}">
                  <a14:useLocalDpi xmlns:a14="http://schemas.microsoft.com/office/drawing/2010/main"/>
                </a:ext>
              </a:extLst>
            </a:blip>
            <a:stretch>
              <a:fillRect/>
            </a:stretch>
          </a:blipFill>
        </p:spPr>
      </p:sp>
      <p:sp>
        <p:nvSpPr>
          <p:cNvPr id="18" name="Freeform 18"/>
          <p:cNvSpPr/>
          <p:nvPr/>
        </p:nvSpPr>
        <p:spPr>
          <a:xfrm rot="-3262724" flipH="1">
            <a:off x="11084209" y="5515778"/>
            <a:ext cx="1225315" cy="1695938"/>
          </a:xfrm>
          <a:custGeom>
            <a:avLst/>
            <a:gdLst/>
            <a:ahLst/>
            <a:cxnLst/>
            <a:rect l="l" t="t" r="r" b="b"/>
            <a:pathLst>
              <a:path w="1837972" h="2543907">
                <a:moveTo>
                  <a:pt x="1837973" y="0"/>
                </a:moveTo>
                <a:lnTo>
                  <a:pt x="0" y="0"/>
                </a:lnTo>
                <a:lnTo>
                  <a:pt x="0" y="2543907"/>
                </a:lnTo>
                <a:lnTo>
                  <a:pt x="1837973" y="2543907"/>
                </a:lnTo>
                <a:lnTo>
                  <a:pt x="1837973" y="0"/>
                </a:ln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19" name="Freeform 19"/>
          <p:cNvSpPr/>
          <p:nvPr/>
        </p:nvSpPr>
        <p:spPr>
          <a:xfrm>
            <a:off x="4129330" y="-406400"/>
            <a:ext cx="2863962" cy="2743200"/>
          </a:xfrm>
          <a:custGeom>
            <a:avLst/>
            <a:gdLst/>
            <a:ahLst/>
            <a:cxnLst/>
            <a:rect l="l" t="t" r="r" b="b"/>
            <a:pathLst>
              <a:path w="4295943" h="4114800">
                <a:moveTo>
                  <a:pt x="0" y="0"/>
                </a:moveTo>
                <a:lnTo>
                  <a:pt x="4295942" y="0"/>
                </a:lnTo>
                <a:lnTo>
                  <a:pt x="4295942" y="4114800"/>
                </a:lnTo>
                <a:lnTo>
                  <a:pt x="0" y="4114800"/>
                </a:lnTo>
                <a:lnTo>
                  <a:pt x="0" y="0"/>
                </a:lnTo>
                <a:close/>
              </a:path>
            </a:pathLst>
          </a:custGeom>
          <a:blipFill>
            <a:blip r:embed="rId11" cstate="email">
              <a:alphaModFix amt="7999"/>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sp>
      <p:sp>
        <p:nvSpPr>
          <p:cNvPr id="20" name="TextBox 20"/>
          <p:cNvSpPr txBox="1"/>
          <p:nvPr/>
        </p:nvSpPr>
        <p:spPr>
          <a:xfrm rot="-854421">
            <a:off x="4588928" y="2636496"/>
            <a:ext cx="8196945" cy="1744773"/>
          </a:xfrm>
          <a:prstGeom prst="rect">
            <a:avLst/>
          </a:prstGeom>
        </p:spPr>
        <p:txBody>
          <a:bodyPr lIns="0" tIns="0" rIns="0" bIns="0" rtlCol="0" anchor="t">
            <a:spAutoFit/>
          </a:bodyPr>
          <a:lstStyle/>
          <a:p>
            <a:pPr algn="ctr" defTabSz="609630">
              <a:lnSpc>
                <a:spcPts val="6589"/>
              </a:lnSpc>
              <a:buClrTx/>
            </a:pPr>
            <a:r>
              <a:rPr lang="en-US" sz="9026" kern="1200">
                <a:latin typeface="Moontime"/>
                <a:ea typeface="+mn-ea"/>
                <a:cs typeface="+mn-cs"/>
              </a:rPr>
              <a:t>Community Doula’s</a:t>
            </a:r>
          </a:p>
        </p:txBody>
      </p:sp>
      <p:sp>
        <p:nvSpPr>
          <p:cNvPr id="21" name="TextBox 21"/>
          <p:cNvSpPr txBox="1"/>
          <p:nvPr/>
        </p:nvSpPr>
        <p:spPr>
          <a:xfrm>
            <a:off x="4829886" y="1469885"/>
            <a:ext cx="5820853" cy="725391"/>
          </a:xfrm>
          <a:prstGeom prst="rect">
            <a:avLst/>
          </a:prstGeom>
        </p:spPr>
        <p:txBody>
          <a:bodyPr lIns="0" tIns="0" rIns="0" bIns="0" rtlCol="0" anchor="t">
            <a:spAutoFit/>
          </a:bodyPr>
          <a:lstStyle/>
          <a:p>
            <a:pPr algn="ctr" defTabSz="609630">
              <a:lnSpc>
                <a:spcPts val="6188"/>
              </a:lnSpc>
              <a:spcBef>
                <a:spcPct val="0"/>
              </a:spcBef>
              <a:buClrTx/>
            </a:pPr>
            <a:r>
              <a:rPr lang="en-US" sz="4420" kern="1200">
                <a:solidFill>
                  <a:srgbClr val="413EA2"/>
                </a:solidFill>
                <a:latin typeface="EB Garamond Italics"/>
                <a:ea typeface="+mn-ea"/>
                <a:cs typeface="+mn-cs"/>
              </a:rPr>
              <a:t>Why we need</a:t>
            </a:r>
          </a:p>
        </p:txBody>
      </p:sp>
      <p:sp>
        <p:nvSpPr>
          <p:cNvPr id="22" name="TextBox 22"/>
          <p:cNvSpPr txBox="1"/>
          <p:nvPr/>
        </p:nvSpPr>
        <p:spPr>
          <a:xfrm>
            <a:off x="5419859" y="4648061"/>
            <a:ext cx="5929615" cy="666849"/>
          </a:xfrm>
          <a:prstGeom prst="rect">
            <a:avLst/>
          </a:prstGeom>
        </p:spPr>
        <p:txBody>
          <a:bodyPr lIns="0" tIns="0" rIns="0" bIns="0" rtlCol="0" anchor="t">
            <a:spAutoFit/>
          </a:bodyPr>
          <a:lstStyle/>
          <a:p>
            <a:pPr algn="ctr" defTabSz="609630">
              <a:lnSpc>
                <a:spcPts val="2641"/>
              </a:lnSpc>
              <a:buClrTx/>
            </a:pPr>
            <a:r>
              <a:rPr lang="en-US" sz="2220" kern="1200">
                <a:solidFill>
                  <a:srgbClr val="413EA2"/>
                </a:solidFill>
                <a:latin typeface="EB Garamond Italics"/>
                <a:ea typeface="+mn-ea"/>
                <a:cs typeface="+mn-cs"/>
              </a:rPr>
              <a:t>By: Charity S. Bean, CMA, CFSD, CLC, CHW, SMW</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5400000" flipV="1">
            <a:off x="5756455" y="-574225"/>
            <a:ext cx="8635529" cy="8891150"/>
          </a:xfrm>
          <a:custGeom>
            <a:avLst/>
            <a:gdLst/>
            <a:ahLst/>
            <a:cxnLst/>
            <a:rect l="l" t="t" r="r" b="b"/>
            <a:pathLst>
              <a:path w="12953294" h="13336725">
                <a:moveTo>
                  <a:pt x="0" y="13336725"/>
                </a:moveTo>
                <a:lnTo>
                  <a:pt x="12953294" y="13336725"/>
                </a:lnTo>
                <a:lnTo>
                  <a:pt x="12953294" y="0"/>
                </a:lnTo>
                <a:lnTo>
                  <a:pt x="0" y="0"/>
                </a:lnTo>
                <a:lnTo>
                  <a:pt x="0" y="13336725"/>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 name="Freeform 4"/>
          <p:cNvSpPr/>
          <p:nvPr/>
        </p:nvSpPr>
        <p:spPr>
          <a:xfrm>
            <a:off x="10074220" y="5597525"/>
            <a:ext cx="2863962" cy="2743200"/>
          </a:xfrm>
          <a:custGeom>
            <a:avLst/>
            <a:gdLst/>
            <a:ahLst/>
            <a:cxnLst/>
            <a:rect l="l" t="t" r="r" b="b"/>
            <a:pathLst>
              <a:path w="4295943" h="4114800">
                <a:moveTo>
                  <a:pt x="0" y="0"/>
                </a:moveTo>
                <a:lnTo>
                  <a:pt x="4295942" y="0"/>
                </a:lnTo>
                <a:lnTo>
                  <a:pt x="4295942" y="4114800"/>
                </a:lnTo>
                <a:lnTo>
                  <a:pt x="0" y="4114800"/>
                </a:lnTo>
                <a:lnTo>
                  <a:pt x="0" y="0"/>
                </a:lnTo>
                <a:close/>
              </a:path>
            </a:pathLst>
          </a:custGeom>
          <a:blipFill>
            <a:blip r:embed="rId4" cstate="email">
              <a:alphaModFix amt="7999"/>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sp>
        <p:nvSpPr>
          <p:cNvPr id="5" name="Freeform 5"/>
          <p:cNvSpPr/>
          <p:nvPr/>
        </p:nvSpPr>
        <p:spPr>
          <a:xfrm>
            <a:off x="3357330" y="-1371600"/>
            <a:ext cx="2863962" cy="2743200"/>
          </a:xfrm>
          <a:custGeom>
            <a:avLst/>
            <a:gdLst/>
            <a:ahLst/>
            <a:cxnLst/>
            <a:rect l="l" t="t" r="r" b="b"/>
            <a:pathLst>
              <a:path w="4295943" h="4114800">
                <a:moveTo>
                  <a:pt x="0" y="0"/>
                </a:moveTo>
                <a:lnTo>
                  <a:pt x="4295943" y="0"/>
                </a:lnTo>
                <a:lnTo>
                  <a:pt x="4295943" y="4114800"/>
                </a:lnTo>
                <a:lnTo>
                  <a:pt x="0" y="4114800"/>
                </a:lnTo>
                <a:lnTo>
                  <a:pt x="0" y="0"/>
                </a:lnTo>
                <a:close/>
              </a:path>
            </a:pathLst>
          </a:custGeom>
          <a:blipFill>
            <a:blip r:embed="rId4" cstate="email">
              <a:alphaModFix amt="7999"/>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sp>
      <p:grpSp>
        <p:nvGrpSpPr>
          <p:cNvPr id="6" name="Group 6"/>
          <p:cNvGrpSpPr/>
          <p:nvPr/>
        </p:nvGrpSpPr>
        <p:grpSpPr>
          <a:xfrm>
            <a:off x="7119753" y="421748"/>
            <a:ext cx="5220904" cy="5954345"/>
            <a:chOff x="0" y="0"/>
            <a:chExt cx="10441808" cy="11908689"/>
          </a:xfrm>
        </p:grpSpPr>
        <p:sp>
          <p:nvSpPr>
            <p:cNvPr id="7" name="Freeform 7"/>
            <p:cNvSpPr/>
            <p:nvPr/>
          </p:nvSpPr>
          <p:spPr>
            <a:xfrm rot="-5493197">
              <a:off x="2181070" y="3038490"/>
              <a:ext cx="8793017" cy="7492863"/>
            </a:xfrm>
            <a:custGeom>
              <a:avLst/>
              <a:gdLst/>
              <a:ahLst/>
              <a:cxnLst/>
              <a:rect l="l" t="t" r="r" b="b"/>
              <a:pathLst>
                <a:path w="8793017" h="7492863">
                  <a:moveTo>
                    <a:pt x="0" y="0"/>
                  </a:moveTo>
                  <a:lnTo>
                    <a:pt x="8793017" y="0"/>
                  </a:lnTo>
                  <a:lnTo>
                    <a:pt x="8793017" y="7492863"/>
                  </a:lnTo>
                  <a:lnTo>
                    <a:pt x="0" y="7492863"/>
                  </a:lnTo>
                  <a:lnTo>
                    <a:pt x="0" y="0"/>
                  </a:lnTo>
                  <a:close/>
                </a:path>
              </a:pathLst>
            </a:custGeom>
            <a:blipFill>
              <a:blip r:embed="rId6" cstate="email">
                <a:extLst>
                  <a:ext uri="{28A0092B-C50C-407E-A947-70E740481C1C}">
                    <a14:useLocalDpi xmlns:a14="http://schemas.microsoft.com/office/drawing/2010/main"/>
                  </a:ext>
                </a:extLst>
              </a:blip>
              <a:stretch>
                <a:fillRect/>
              </a:stretch>
            </a:blipFill>
          </p:spPr>
        </p:sp>
        <p:grpSp>
          <p:nvGrpSpPr>
            <p:cNvPr id="8" name="Group 8"/>
            <p:cNvGrpSpPr>
              <a:grpSpLocks noChangeAspect="1"/>
            </p:cNvGrpSpPr>
            <p:nvPr/>
          </p:nvGrpSpPr>
          <p:grpSpPr>
            <a:xfrm rot="-260944">
              <a:off x="344444" y="2224423"/>
              <a:ext cx="8084006" cy="9391271"/>
              <a:chOff x="0" y="0"/>
              <a:chExt cx="5466080" cy="6350000"/>
            </a:xfrm>
          </p:grpSpPr>
          <p:sp>
            <p:nvSpPr>
              <p:cNvPr id="9" name="Freeform 9"/>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0" name="Freeform 10"/>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7" cstate="email">
                  <a:extLst>
                    <a:ext uri="{28A0092B-C50C-407E-A947-70E740481C1C}">
                      <a14:useLocalDpi xmlns:a14="http://schemas.microsoft.com/office/drawing/2010/main"/>
                    </a:ext>
                  </a:extLst>
                </a:blip>
                <a:stretch>
                  <a:fillRect/>
                </a:stretch>
              </a:blipFill>
            </p:spPr>
          </p:sp>
          <p:sp>
            <p:nvSpPr>
              <p:cNvPr id="11" name="Freeform 11"/>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2" name="Freeform 12"/>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sp>
          <p:nvSpPr>
            <p:cNvPr id="13" name="Freeform 13"/>
            <p:cNvSpPr/>
            <p:nvPr/>
          </p:nvSpPr>
          <p:spPr>
            <a:xfrm rot="6033081">
              <a:off x="421258" y="1895900"/>
              <a:ext cx="9202209" cy="6432755"/>
            </a:xfrm>
            <a:custGeom>
              <a:avLst/>
              <a:gdLst/>
              <a:ahLst/>
              <a:cxnLst/>
              <a:rect l="l" t="t" r="r" b="b"/>
              <a:pathLst>
                <a:path w="9202209" h="6432755">
                  <a:moveTo>
                    <a:pt x="0" y="0"/>
                  </a:moveTo>
                  <a:lnTo>
                    <a:pt x="9202209" y="0"/>
                  </a:lnTo>
                  <a:lnTo>
                    <a:pt x="9202209" y="6432755"/>
                  </a:lnTo>
                  <a:lnTo>
                    <a:pt x="0" y="6432755"/>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grpSp>
      <p:grpSp>
        <p:nvGrpSpPr>
          <p:cNvPr id="14" name="Group 14"/>
          <p:cNvGrpSpPr>
            <a:grpSpLocks noChangeAspect="1"/>
          </p:cNvGrpSpPr>
          <p:nvPr/>
        </p:nvGrpSpPr>
        <p:grpSpPr>
          <a:xfrm rot="235279">
            <a:off x="6746226" y="1338767"/>
            <a:ext cx="3954367" cy="4593828"/>
            <a:chOff x="0" y="0"/>
            <a:chExt cx="5466080" cy="6350000"/>
          </a:xfrm>
        </p:grpSpPr>
        <p:sp>
          <p:nvSpPr>
            <p:cNvPr id="15" name="Freeform 15"/>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6" name="Freeform 16"/>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9" cstate="email">
                <a:extLst>
                  <a:ext uri="{28A0092B-C50C-407E-A947-70E740481C1C}">
                    <a14:useLocalDpi xmlns:a14="http://schemas.microsoft.com/office/drawing/2010/main"/>
                  </a:ext>
                </a:extLst>
              </a:blip>
              <a:stretch>
                <a:fillRect/>
              </a:stretch>
            </a:blipFill>
          </p:spPr>
        </p:sp>
        <p:sp>
          <p:nvSpPr>
            <p:cNvPr id="17" name="Freeform 17"/>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8" name="Freeform 18"/>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sp>
        <p:nvSpPr>
          <p:cNvPr id="19" name="Freeform 19"/>
          <p:cNvSpPr/>
          <p:nvPr/>
        </p:nvSpPr>
        <p:spPr>
          <a:xfrm rot="-9127270">
            <a:off x="-415891" y="4733625"/>
            <a:ext cx="1833753" cy="2657613"/>
          </a:xfrm>
          <a:custGeom>
            <a:avLst/>
            <a:gdLst/>
            <a:ahLst/>
            <a:cxnLst/>
            <a:rect l="l" t="t" r="r" b="b"/>
            <a:pathLst>
              <a:path w="2750630" h="3986420">
                <a:moveTo>
                  <a:pt x="0" y="0"/>
                </a:moveTo>
                <a:lnTo>
                  <a:pt x="2750630" y="0"/>
                </a:lnTo>
                <a:lnTo>
                  <a:pt x="2750630" y="3986420"/>
                </a:lnTo>
                <a:lnTo>
                  <a:pt x="0" y="3986420"/>
                </a:lnTo>
                <a:lnTo>
                  <a:pt x="0" y="0"/>
                </a:ln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20" name="Freeform 20"/>
          <p:cNvSpPr/>
          <p:nvPr/>
        </p:nvSpPr>
        <p:spPr>
          <a:xfrm flipH="1" flipV="1">
            <a:off x="-368884" y="-781135"/>
            <a:ext cx="2301686" cy="1562269"/>
          </a:xfrm>
          <a:custGeom>
            <a:avLst/>
            <a:gdLst/>
            <a:ahLst/>
            <a:cxnLst/>
            <a:rect l="l" t="t" r="r" b="b"/>
            <a:pathLst>
              <a:path w="3452529" h="2343404">
                <a:moveTo>
                  <a:pt x="3452529" y="2343404"/>
                </a:moveTo>
                <a:lnTo>
                  <a:pt x="0" y="2343404"/>
                </a:lnTo>
                <a:lnTo>
                  <a:pt x="0" y="0"/>
                </a:lnTo>
                <a:lnTo>
                  <a:pt x="3452529" y="0"/>
                </a:lnTo>
                <a:lnTo>
                  <a:pt x="3452529" y="2343404"/>
                </a:lnTo>
                <a:close/>
              </a:path>
            </a:pathLst>
          </a:custGeom>
          <a:blipFill>
            <a:blip r:embed="rId11" cstate="email">
              <a:alphaModFix amt="38000"/>
              <a:extLst>
                <a:ext uri="{28A0092B-C50C-407E-A947-70E740481C1C}">
                  <a14:useLocalDpi xmlns:a14="http://schemas.microsoft.com/office/drawing/2010/main"/>
                </a:ext>
              </a:extLst>
            </a:blip>
            <a:stretch>
              <a:fillRect/>
            </a:stretch>
          </a:blipFill>
        </p:spPr>
      </p:sp>
      <p:sp>
        <p:nvSpPr>
          <p:cNvPr id="21" name="Freeform 21"/>
          <p:cNvSpPr/>
          <p:nvPr/>
        </p:nvSpPr>
        <p:spPr>
          <a:xfrm>
            <a:off x="5822142" y="5152322"/>
            <a:ext cx="1524622" cy="1473078"/>
          </a:xfrm>
          <a:custGeom>
            <a:avLst/>
            <a:gdLst/>
            <a:ahLst/>
            <a:cxnLst/>
            <a:rect l="l" t="t" r="r" b="b"/>
            <a:pathLst>
              <a:path w="2286933" h="2209617">
                <a:moveTo>
                  <a:pt x="0" y="0"/>
                </a:moveTo>
                <a:lnTo>
                  <a:pt x="2286933" y="0"/>
                </a:lnTo>
                <a:lnTo>
                  <a:pt x="2286933" y="2209617"/>
                </a:lnTo>
                <a:lnTo>
                  <a:pt x="0" y="2209617"/>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22" name="Freeform 22"/>
          <p:cNvSpPr/>
          <p:nvPr/>
        </p:nvSpPr>
        <p:spPr>
          <a:xfrm rot="-1542302">
            <a:off x="10759328" y="137777"/>
            <a:ext cx="1277832" cy="2816159"/>
          </a:xfrm>
          <a:custGeom>
            <a:avLst/>
            <a:gdLst/>
            <a:ahLst/>
            <a:cxnLst/>
            <a:rect l="l" t="t" r="r" b="b"/>
            <a:pathLst>
              <a:path w="1916748" h="4224238">
                <a:moveTo>
                  <a:pt x="0" y="0"/>
                </a:moveTo>
                <a:lnTo>
                  <a:pt x="1916748" y="0"/>
                </a:lnTo>
                <a:lnTo>
                  <a:pt x="1916748" y="4224238"/>
                </a:lnTo>
                <a:lnTo>
                  <a:pt x="0" y="4224238"/>
                </a:lnTo>
                <a:lnTo>
                  <a:pt x="0" y="0"/>
                </a:lnTo>
                <a:close/>
              </a:path>
            </a:pathLst>
          </a:custGeom>
          <a:blipFill>
            <a:blip r:embed="rId13" cstate="email">
              <a:extLst>
                <a:ext uri="{28A0092B-C50C-407E-A947-70E740481C1C}">
                  <a14:useLocalDpi xmlns:a14="http://schemas.microsoft.com/office/drawing/2010/main"/>
                </a:ext>
              </a:extLst>
            </a:blip>
            <a:stretch>
              <a:fillRect/>
            </a:stretch>
          </a:blipFill>
        </p:spPr>
      </p:sp>
      <p:sp>
        <p:nvSpPr>
          <p:cNvPr id="23" name="TextBox 23"/>
          <p:cNvSpPr txBox="1"/>
          <p:nvPr/>
        </p:nvSpPr>
        <p:spPr>
          <a:xfrm>
            <a:off x="1038373" y="466198"/>
            <a:ext cx="4783768" cy="8540800"/>
          </a:xfrm>
          <a:prstGeom prst="rect">
            <a:avLst/>
          </a:prstGeom>
        </p:spPr>
        <p:txBody>
          <a:bodyPr lIns="0" tIns="0" rIns="0" bIns="0" rtlCol="0" anchor="t">
            <a:spAutoFit/>
          </a:bodyPr>
          <a:lstStyle/>
          <a:p>
            <a:pPr algn="ctr" defTabSz="609630">
              <a:lnSpc>
                <a:spcPts val="1757"/>
              </a:lnSpc>
              <a:buClrTx/>
            </a:pPr>
            <a:r>
              <a:rPr lang="en-US" sz="1811" kern="1200">
                <a:latin typeface="EB Garamond Semi-Bold"/>
                <a:ea typeface="+mn-ea"/>
                <a:cs typeface="+mn-cs"/>
              </a:rPr>
              <a:t>I am a certified pregnancy, labor, childbirth, and</a:t>
            </a:r>
          </a:p>
          <a:p>
            <a:pPr algn="ctr" defTabSz="609630">
              <a:lnSpc>
                <a:spcPts val="1819"/>
              </a:lnSpc>
              <a:buClrTx/>
            </a:pPr>
            <a:r>
              <a:rPr lang="en-US" sz="1876" kern="1200">
                <a:latin typeface="EB Garamond Semi-Bold"/>
                <a:ea typeface="+mn-ea"/>
                <a:cs typeface="+mn-cs"/>
              </a:rPr>
              <a:t>postpartum doula who specializes in hospital</a:t>
            </a:r>
          </a:p>
          <a:p>
            <a:pPr algn="ctr" defTabSz="609630">
              <a:lnSpc>
                <a:spcPts val="1819"/>
              </a:lnSpc>
              <a:buClrTx/>
            </a:pPr>
            <a:r>
              <a:rPr lang="en-US" sz="1876" kern="1200">
                <a:latin typeface="EB Garamond Semi-Bold"/>
                <a:ea typeface="+mn-ea"/>
                <a:cs typeface="+mn-cs"/>
              </a:rPr>
              <a:t>birth. I hold many certifications including medical</a:t>
            </a:r>
          </a:p>
          <a:p>
            <a:pPr algn="ctr" defTabSz="609630">
              <a:lnSpc>
                <a:spcPts val="1819"/>
              </a:lnSpc>
              <a:buClrTx/>
            </a:pPr>
            <a:r>
              <a:rPr lang="en-US" sz="1876" kern="1200">
                <a:latin typeface="EB Garamond Semi-Bold"/>
                <a:ea typeface="+mn-ea"/>
                <a:cs typeface="+mn-cs"/>
              </a:rPr>
              <a:t>assistant, lactation consultant, birth assistant and</a:t>
            </a:r>
          </a:p>
          <a:p>
            <a:pPr algn="ctr" defTabSz="609630">
              <a:lnSpc>
                <a:spcPts val="1819"/>
              </a:lnSpc>
              <a:buClrTx/>
            </a:pPr>
            <a:r>
              <a:rPr lang="en-US" sz="1876" kern="1200">
                <a:latin typeface="EB Garamond Semi-Bold"/>
                <a:ea typeface="+mn-ea"/>
                <a:cs typeface="+mn-cs"/>
              </a:rPr>
              <a:t>soon to be certified perinatal mood disorder</a:t>
            </a:r>
          </a:p>
          <a:p>
            <a:pPr algn="ctr" defTabSz="609630">
              <a:lnSpc>
                <a:spcPts val="1819"/>
              </a:lnSpc>
              <a:buClrTx/>
            </a:pPr>
            <a:r>
              <a:rPr lang="en-US" sz="1876" kern="1200">
                <a:latin typeface="EB Garamond Semi-Bold"/>
                <a:ea typeface="+mn-ea"/>
                <a:cs typeface="+mn-cs"/>
              </a:rPr>
              <a:t>counselor. I began my journey into midwifery</a:t>
            </a:r>
          </a:p>
          <a:p>
            <a:pPr algn="ctr" defTabSz="609630">
              <a:lnSpc>
                <a:spcPts val="1819"/>
              </a:lnSpc>
              <a:buClrTx/>
            </a:pPr>
            <a:r>
              <a:rPr lang="en-US" sz="1876" kern="1200">
                <a:latin typeface="EB Garamond Semi-Bold"/>
                <a:ea typeface="+mn-ea"/>
                <a:cs typeface="+mn-cs"/>
              </a:rPr>
              <a:t>January 8th, 2024, with the Midwives College of</a:t>
            </a:r>
          </a:p>
          <a:p>
            <a:pPr algn="ctr" defTabSz="609630">
              <a:lnSpc>
                <a:spcPts val="1819"/>
              </a:lnSpc>
              <a:buClrTx/>
            </a:pPr>
            <a:r>
              <a:rPr lang="en-US" sz="1876" kern="1200">
                <a:latin typeface="EB Garamond Semi-Bold"/>
                <a:ea typeface="+mn-ea"/>
                <a:cs typeface="+mn-cs"/>
              </a:rPr>
              <a:t>Utah, where I will be pursuing a Bachelor’s in the</a:t>
            </a:r>
          </a:p>
          <a:p>
            <a:pPr algn="ctr" defTabSz="609630">
              <a:lnSpc>
                <a:spcPts val="1819"/>
              </a:lnSpc>
              <a:buClrTx/>
            </a:pPr>
            <a:r>
              <a:rPr lang="en-US" sz="1876" kern="1200">
                <a:latin typeface="EB Garamond Semi-Bold"/>
                <a:ea typeface="+mn-ea"/>
                <a:cs typeface="+mn-cs"/>
              </a:rPr>
              <a:t>Science of Midwifery.</a:t>
            </a:r>
          </a:p>
          <a:p>
            <a:pPr algn="ctr" defTabSz="609630">
              <a:lnSpc>
                <a:spcPts val="1819"/>
              </a:lnSpc>
              <a:buClrTx/>
            </a:pPr>
            <a:r>
              <a:rPr lang="en-US" sz="1876" kern="1200">
                <a:latin typeface="EB Garamond Semi-Bold"/>
                <a:ea typeface="+mn-ea"/>
                <a:cs typeface="+mn-cs"/>
              </a:rPr>
              <a:t>I’ve has worked in the</a:t>
            </a:r>
          </a:p>
          <a:p>
            <a:pPr algn="ctr" defTabSz="609630">
              <a:lnSpc>
                <a:spcPts val="1819"/>
              </a:lnSpc>
              <a:buClrTx/>
            </a:pPr>
            <a:r>
              <a:rPr lang="en-US" sz="1876" kern="1200">
                <a:latin typeface="EB Garamond Semi-Bold"/>
                <a:ea typeface="+mn-ea"/>
                <a:cs typeface="+mn-cs"/>
              </a:rPr>
              <a:t>medical field for 13 years (primary care, trauma,</a:t>
            </a:r>
          </a:p>
          <a:p>
            <a:pPr algn="ctr" defTabSz="609630">
              <a:lnSpc>
                <a:spcPts val="1819"/>
              </a:lnSpc>
              <a:buClrTx/>
            </a:pPr>
            <a:r>
              <a:rPr lang="en-US" sz="1876" kern="1200">
                <a:latin typeface="EB Garamond Semi-Bold"/>
                <a:ea typeface="+mn-ea"/>
                <a:cs typeface="+mn-cs"/>
              </a:rPr>
              <a:t>psych, ER and birthing unit). I serve as a Bi State</a:t>
            </a:r>
          </a:p>
          <a:p>
            <a:pPr algn="ctr" defTabSz="609630">
              <a:lnSpc>
                <a:spcPts val="1819"/>
              </a:lnSpc>
              <a:buClrTx/>
            </a:pPr>
            <a:r>
              <a:rPr lang="en-US" sz="1876" kern="1200">
                <a:latin typeface="EB Garamond Semi-Bold"/>
                <a:ea typeface="+mn-ea"/>
                <a:cs typeface="+mn-cs"/>
              </a:rPr>
              <a:t>Maternal and Infant Health Advocate with</a:t>
            </a:r>
          </a:p>
          <a:p>
            <a:pPr algn="ctr" defTabSz="609630">
              <a:lnSpc>
                <a:spcPts val="1819"/>
              </a:lnSpc>
              <a:buClrTx/>
            </a:pPr>
            <a:r>
              <a:rPr lang="en-US" sz="1876" kern="1200">
                <a:latin typeface="EB Garamond Semi-Bold"/>
                <a:ea typeface="+mn-ea"/>
                <a:cs typeface="+mn-cs"/>
              </a:rPr>
              <a:t>emphasis on Black Maternal Health. I am the</a:t>
            </a:r>
          </a:p>
          <a:p>
            <a:pPr algn="ctr" defTabSz="609630">
              <a:lnSpc>
                <a:spcPts val="1819"/>
              </a:lnSpc>
              <a:buClrTx/>
            </a:pPr>
            <a:r>
              <a:rPr lang="en-US" sz="1876" kern="1200">
                <a:latin typeface="EB Garamond Semi-Bold"/>
                <a:ea typeface="+mn-ea"/>
                <a:cs typeface="+mn-cs"/>
              </a:rPr>
              <a:t>founder of The Doula Lab pregnancy resource</a:t>
            </a:r>
          </a:p>
          <a:p>
            <a:pPr algn="ctr" defTabSz="609630">
              <a:lnSpc>
                <a:spcPts val="1819"/>
              </a:lnSpc>
              <a:buClrTx/>
            </a:pPr>
            <a:r>
              <a:rPr lang="en-US" sz="1876" kern="1200">
                <a:latin typeface="EB Garamond Semi-Bold"/>
                <a:ea typeface="+mn-ea"/>
                <a:cs typeface="+mn-cs"/>
              </a:rPr>
              <a:t>center located in Belleville, Illinois. As well as</a:t>
            </a:r>
          </a:p>
          <a:p>
            <a:pPr algn="ctr" defTabSz="609630">
              <a:lnSpc>
                <a:spcPts val="1819"/>
              </a:lnSpc>
              <a:buClrTx/>
            </a:pPr>
            <a:r>
              <a:rPr lang="en-US" sz="1876" kern="1200">
                <a:latin typeface="EB Garamond Semi-Bold"/>
                <a:ea typeface="+mn-ea"/>
                <a:cs typeface="+mn-cs"/>
              </a:rPr>
              <a:t>owner of Doula Bean Maternal Care, LLC. My</a:t>
            </a:r>
          </a:p>
          <a:p>
            <a:pPr algn="ctr" defTabSz="609630">
              <a:lnSpc>
                <a:spcPts val="1819"/>
              </a:lnSpc>
              <a:buClrTx/>
            </a:pPr>
            <a:r>
              <a:rPr lang="en-US" sz="1876" kern="1200">
                <a:latin typeface="EB Garamond Semi-Bold"/>
                <a:ea typeface="+mn-ea"/>
                <a:cs typeface="+mn-cs"/>
              </a:rPr>
              <a:t>goal is to become a midwife and open a free-</a:t>
            </a:r>
          </a:p>
          <a:p>
            <a:pPr algn="ctr" defTabSz="609630">
              <a:lnSpc>
                <a:spcPts val="1819"/>
              </a:lnSpc>
              <a:buClrTx/>
            </a:pPr>
            <a:r>
              <a:rPr lang="en-US" sz="1876" kern="1200">
                <a:latin typeface="EB Garamond Semi-Bold"/>
                <a:ea typeface="+mn-ea"/>
                <a:cs typeface="+mn-cs"/>
              </a:rPr>
              <a:t>standing birthing center in East St. Louis, Illinois.</a:t>
            </a:r>
          </a:p>
          <a:p>
            <a:pPr algn="ctr" defTabSz="609630">
              <a:lnSpc>
                <a:spcPts val="1819"/>
              </a:lnSpc>
              <a:buClrTx/>
            </a:pPr>
            <a:r>
              <a:rPr lang="en-US" sz="1876" kern="1200">
                <a:latin typeface="EB Garamond Semi-Bold"/>
                <a:ea typeface="+mn-ea"/>
                <a:cs typeface="+mn-cs"/>
              </a:rPr>
              <a:t>My passion for birth work stems from being a</a:t>
            </a:r>
          </a:p>
          <a:p>
            <a:pPr algn="ctr" defTabSz="609630">
              <a:lnSpc>
                <a:spcPts val="1819"/>
              </a:lnSpc>
              <a:buClrTx/>
            </a:pPr>
            <a:r>
              <a:rPr lang="en-US" sz="1876" kern="1200">
                <a:latin typeface="EB Garamond Semi-Bold"/>
                <a:ea typeface="+mn-ea"/>
                <a:cs typeface="+mn-cs"/>
              </a:rPr>
              <a:t>teen mom and working in the medical field. Over</a:t>
            </a:r>
          </a:p>
          <a:p>
            <a:pPr algn="ctr" defTabSz="609630">
              <a:lnSpc>
                <a:spcPts val="1819"/>
              </a:lnSpc>
              <a:buClrTx/>
            </a:pPr>
            <a:r>
              <a:rPr lang="en-US" sz="1876" kern="1200">
                <a:latin typeface="EB Garamond Semi-Bold"/>
                <a:ea typeface="+mn-ea"/>
                <a:cs typeface="+mn-cs"/>
              </a:rPr>
              <a:t>the years witnessing the treatment of BIPOC</a:t>
            </a:r>
          </a:p>
          <a:p>
            <a:pPr algn="ctr" defTabSz="609630">
              <a:lnSpc>
                <a:spcPts val="1819"/>
              </a:lnSpc>
              <a:buClrTx/>
            </a:pPr>
            <a:r>
              <a:rPr lang="en-US" sz="1876" kern="1200">
                <a:latin typeface="EB Garamond Semi-Bold"/>
                <a:ea typeface="+mn-ea"/>
                <a:cs typeface="+mn-cs"/>
              </a:rPr>
              <a:t>families inspired me to not only talk about what</a:t>
            </a:r>
          </a:p>
          <a:p>
            <a:pPr algn="ctr" defTabSz="609630">
              <a:lnSpc>
                <a:spcPts val="1819"/>
              </a:lnSpc>
              <a:buClrTx/>
            </a:pPr>
            <a:r>
              <a:rPr lang="en-US" sz="1876" kern="1200">
                <a:latin typeface="EB Garamond Semi-Bold"/>
                <a:ea typeface="+mn-ea"/>
                <a:cs typeface="+mn-cs"/>
              </a:rPr>
              <a:t>needed to be done but to be the change that</a:t>
            </a:r>
          </a:p>
          <a:p>
            <a:pPr algn="ctr" defTabSz="609630">
              <a:lnSpc>
                <a:spcPts val="1819"/>
              </a:lnSpc>
              <a:buClrTx/>
            </a:pPr>
            <a:r>
              <a:rPr lang="en-US" sz="1876" kern="1200">
                <a:latin typeface="EB Garamond Semi-Bold"/>
                <a:ea typeface="+mn-ea"/>
                <a:cs typeface="+mn-cs"/>
              </a:rPr>
              <a:t>maternal health needs.</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4839629" flipH="1" flipV="1">
            <a:off x="7173961" y="2178202"/>
            <a:ext cx="5215286" cy="3152625"/>
          </a:xfrm>
          <a:custGeom>
            <a:avLst/>
            <a:gdLst/>
            <a:ahLst/>
            <a:cxnLst/>
            <a:rect l="l" t="t" r="r" b="b"/>
            <a:pathLst>
              <a:path w="7822929" h="4728937">
                <a:moveTo>
                  <a:pt x="7822929" y="4728937"/>
                </a:moveTo>
                <a:lnTo>
                  <a:pt x="0" y="4728937"/>
                </a:lnTo>
                <a:lnTo>
                  <a:pt x="0" y="0"/>
                </a:lnTo>
                <a:lnTo>
                  <a:pt x="7822929" y="0"/>
                </a:lnTo>
                <a:lnTo>
                  <a:pt x="7822929" y="4728937"/>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 name="Freeform 4"/>
          <p:cNvSpPr/>
          <p:nvPr/>
        </p:nvSpPr>
        <p:spPr>
          <a:xfrm>
            <a:off x="-1353627" y="-607968"/>
            <a:ext cx="3256961" cy="1986746"/>
          </a:xfrm>
          <a:custGeom>
            <a:avLst/>
            <a:gdLst/>
            <a:ahLst/>
            <a:cxnLst/>
            <a:rect l="l" t="t" r="r" b="b"/>
            <a:pathLst>
              <a:path w="4885441" h="2980119">
                <a:moveTo>
                  <a:pt x="0" y="0"/>
                </a:moveTo>
                <a:lnTo>
                  <a:pt x="4885441" y="0"/>
                </a:lnTo>
                <a:lnTo>
                  <a:pt x="4885441" y="2980119"/>
                </a:lnTo>
                <a:lnTo>
                  <a:pt x="0" y="2980119"/>
                </a:lnTo>
                <a:lnTo>
                  <a:pt x="0" y="0"/>
                </a:lnTo>
                <a:close/>
              </a:path>
            </a:pathLst>
          </a:custGeom>
          <a:blipFill>
            <a:blip r:embed="rId4" cstate="email">
              <a:alphaModFix amt="17000"/>
              <a:extLst>
                <a:ext uri="{28A0092B-C50C-407E-A947-70E740481C1C}">
                  <a14:useLocalDpi xmlns:a14="http://schemas.microsoft.com/office/drawing/2010/main"/>
                </a:ext>
              </a:extLst>
            </a:blip>
            <a:stretch>
              <a:fillRect/>
            </a:stretch>
          </a:blipFill>
        </p:spPr>
      </p:sp>
      <p:sp>
        <p:nvSpPr>
          <p:cNvPr id="5" name="Freeform 5"/>
          <p:cNvSpPr/>
          <p:nvPr/>
        </p:nvSpPr>
        <p:spPr>
          <a:xfrm rot="2597091">
            <a:off x="4138052" y="-1278721"/>
            <a:ext cx="2863962" cy="2743200"/>
          </a:xfrm>
          <a:custGeom>
            <a:avLst/>
            <a:gdLst/>
            <a:ahLst/>
            <a:cxnLst/>
            <a:rect l="l" t="t" r="r" b="b"/>
            <a:pathLst>
              <a:path w="4295943" h="4114800">
                <a:moveTo>
                  <a:pt x="0" y="0"/>
                </a:moveTo>
                <a:lnTo>
                  <a:pt x="4295943" y="0"/>
                </a:lnTo>
                <a:lnTo>
                  <a:pt x="4295943" y="4114800"/>
                </a:lnTo>
                <a:lnTo>
                  <a:pt x="0" y="4114800"/>
                </a:lnTo>
                <a:lnTo>
                  <a:pt x="0" y="0"/>
                </a:lnTo>
                <a:close/>
              </a:path>
            </a:pathLst>
          </a:custGeom>
          <a:blipFill>
            <a:blip r:embed="rId5" cstate="email">
              <a:alphaModFix amt="7999"/>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6" name="Freeform 6"/>
          <p:cNvSpPr/>
          <p:nvPr/>
        </p:nvSpPr>
        <p:spPr>
          <a:xfrm rot="5544862">
            <a:off x="-4680741" y="1575656"/>
            <a:ext cx="7455585" cy="3746431"/>
          </a:xfrm>
          <a:custGeom>
            <a:avLst/>
            <a:gdLst/>
            <a:ahLst/>
            <a:cxnLst/>
            <a:rect l="l" t="t" r="r" b="b"/>
            <a:pathLst>
              <a:path w="11183377" h="5619647">
                <a:moveTo>
                  <a:pt x="0" y="0"/>
                </a:moveTo>
                <a:lnTo>
                  <a:pt x="11183378" y="0"/>
                </a:lnTo>
                <a:lnTo>
                  <a:pt x="11183378" y="5619647"/>
                </a:lnTo>
                <a:lnTo>
                  <a:pt x="0" y="5619647"/>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sp>
      <p:sp>
        <p:nvSpPr>
          <p:cNvPr id="7" name="Freeform 7"/>
          <p:cNvSpPr/>
          <p:nvPr/>
        </p:nvSpPr>
        <p:spPr>
          <a:xfrm rot="-5491708">
            <a:off x="9442298" y="1679803"/>
            <a:ext cx="7455585" cy="3746431"/>
          </a:xfrm>
          <a:custGeom>
            <a:avLst/>
            <a:gdLst/>
            <a:ahLst/>
            <a:cxnLst/>
            <a:rect l="l" t="t" r="r" b="b"/>
            <a:pathLst>
              <a:path w="11183377" h="5619647">
                <a:moveTo>
                  <a:pt x="0" y="0"/>
                </a:moveTo>
                <a:lnTo>
                  <a:pt x="11183377" y="0"/>
                </a:lnTo>
                <a:lnTo>
                  <a:pt x="11183377" y="5619647"/>
                </a:lnTo>
                <a:lnTo>
                  <a:pt x="0" y="5619647"/>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sp>
      <p:sp>
        <p:nvSpPr>
          <p:cNvPr id="8" name="Freeform 8"/>
          <p:cNvSpPr/>
          <p:nvPr/>
        </p:nvSpPr>
        <p:spPr>
          <a:xfrm rot="-3024854">
            <a:off x="11056092" y="-809032"/>
            <a:ext cx="1833753" cy="2657613"/>
          </a:xfrm>
          <a:custGeom>
            <a:avLst/>
            <a:gdLst/>
            <a:ahLst/>
            <a:cxnLst/>
            <a:rect l="l" t="t" r="r" b="b"/>
            <a:pathLst>
              <a:path w="2750630" h="3986420">
                <a:moveTo>
                  <a:pt x="0" y="0"/>
                </a:moveTo>
                <a:lnTo>
                  <a:pt x="2750629" y="0"/>
                </a:lnTo>
                <a:lnTo>
                  <a:pt x="2750629" y="3986420"/>
                </a:lnTo>
                <a:lnTo>
                  <a:pt x="0" y="3986420"/>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9" name="Freeform 9"/>
          <p:cNvSpPr/>
          <p:nvPr/>
        </p:nvSpPr>
        <p:spPr>
          <a:xfrm rot="2597091">
            <a:off x="3884524" y="5259582"/>
            <a:ext cx="2863962" cy="2743200"/>
          </a:xfrm>
          <a:custGeom>
            <a:avLst/>
            <a:gdLst/>
            <a:ahLst/>
            <a:cxnLst/>
            <a:rect l="l" t="t" r="r" b="b"/>
            <a:pathLst>
              <a:path w="4295943" h="4114800">
                <a:moveTo>
                  <a:pt x="0" y="0"/>
                </a:moveTo>
                <a:lnTo>
                  <a:pt x="4295943" y="0"/>
                </a:lnTo>
                <a:lnTo>
                  <a:pt x="4295943" y="4114800"/>
                </a:lnTo>
                <a:lnTo>
                  <a:pt x="0" y="4114800"/>
                </a:lnTo>
                <a:lnTo>
                  <a:pt x="0" y="0"/>
                </a:lnTo>
                <a:close/>
              </a:path>
            </a:pathLst>
          </a:custGeom>
          <a:blipFill>
            <a:blip r:embed="rId5" cstate="email">
              <a:alphaModFix amt="6999"/>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grpSp>
        <p:nvGrpSpPr>
          <p:cNvPr id="10" name="Group 10"/>
          <p:cNvGrpSpPr/>
          <p:nvPr/>
        </p:nvGrpSpPr>
        <p:grpSpPr>
          <a:xfrm>
            <a:off x="7087" y="685800"/>
            <a:ext cx="7405752" cy="5486400"/>
            <a:chOff x="0" y="0"/>
            <a:chExt cx="14811503" cy="10972800"/>
          </a:xfrm>
        </p:grpSpPr>
        <p:sp>
          <p:nvSpPr>
            <p:cNvPr id="11" name="Freeform 11"/>
            <p:cNvSpPr/>
            <p:nvPr/>
          </p:nvSpPr>
          <p:spPr>
            <a:xfrm rot="305209">
              <a:off x="1353513" y="2335288"/>
              <a:ext cx="13126008" cy="8071496"/>
            </a:xfrm>
            <a:custGeom>
              <a:avLst/>
              <a:gdLst/>
              <a:ahLst/>
              <a:cxnLst/>
              <a:rect l="l" t="t" r="r" b="b"/>
              <a:pathLst>
                <a:path w="13126008" h="8071496">
                  <a:moveTo>
                    <a:pt x="0" y="0"/>
                  </a:moveTo>
                  <a:lnTo>
                    <a:pt x="13126008" y="0"/>
                  </a:lnTo>
                  <a:lnTo>
                    <a:pt x="13126008" y="8071496"/>
                  </a:lnTo>
                  <a:lnTo>
                    <a:pt x="0" y="807149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sp>
        <p:sp>
          <p:nvSpPr>
            <p:cNvPr id="12" name="Freeform 12"/>
            <p:cNvSpPr/>
            <p:nvPr/>
          </p:nvSpPr>
          <p:spPr>
            <a:xfrm rot="5291581" flipV="1">
              <a:off x="3047253" y="-2047924"/>
              <a:ext cx="8472437" cy="14306900"/>
            </a:xfrm>
            <a:custGeom>
              <a:avLst/>
              <a:gdLst/>
              <a:ahLst/>
              <a:cxnLst/>
              <a:rect l="l" t="t" r="r" b="b"/>
              <a:pathLst>
                <a:path w="8472437" h="14306900">
                  <a:moveTo>
                    <a:pt x="0" y="14306900"/>
                  </a:moveTo>
                  <a:lnTo>
                    <a:pt x="8472437" y="14306900"/>
                  </a:lnTo>
                  <a:lnTo>
                    <a:pt x="8472437" y="0"/>
                  </a:lnTo>
                  <a:lnTo>
                    <a:pt x="0" y="0"/>
                  </a:lnTo>
                  <a:lnTo>
                    <a:pt x="0" y="14306900"/>
                  </a:ln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13" name="Freeform 13"/>
            <p:cNvSpPr/>
            <p:nvPr/>
          </p:nvSpPr>
          <p:spPr>
            <a:xfrm rot="5610383">
              <a:off x="6093358" y="-699864"/>
              <a:ext cx="1725588" cy="3325470"/>
            </a:xfrm>
            <a:custGeom>
              <a:avLst/>
              <a:gdLst/>
              <a:ahLst/>
              <a:cxnLst/>
              <a:rect l="l" t="t" r="r" b="b"/>
              <a:pathLst>
                <a:path w="1725588" h="3325470">
                  <a:moveTo>
                    <a:pt x="0" y="0"/>
                  </a:moveTo>
                  <a:lnTo>
                    <a:pt x="1725588" y="0"/>
                  </a:lnTo>
                  <a:lnTo>
                    <a:pt x="1725588" y="3325471"/>
                  </a:lnTo>
                  <a:lnTo>
                    <a:pt x="0" y="3325471"/>
                  </a:lnTo>
                  <a:lnTo>
                    <a:pt x="0" y="0"/>
                  </a:lnTo>
                  <a:close/>
                </a:path>
              </a:pathLst>
            </a:custGeom>
            <a:blipFill>
              <a:blip r:embed="rId11" cstate="email">
                <a:extLst>
                  <a:ext uri="{28A0092B-C50C-407E-A947-70E740481C1C}">
                    <a14:useLocalDpi xmlns:a14="http://schemas.microsoft.com/office/drawing/2010/main"/>
                  </a:ext>
                </a:extLst>
              </a:blip>
              <a:stretch>
                <a:fillRect/>
              </a:stretch>
            </a:blipFill>
          </p:spPr>
        </p:sp>
      </p:grpSp>
      <p:sp>
        <p:nvSpPr>
          <p:cNvPr id="14" name="TextBox 14"/>
          <p:cNvSpPr txBox="1"/>
          <p:nvPr/>
        </p:nvSpPr>
        <p:spPr>
          <a:xfrm rot="-164882">
            <a:off x="567710" y="1292059"/>
            <a:ext cx="6604179" cy="3500958"/>
          </a:xfrm>
          <a:prstGeom prst="rect">
            <a:avLst/>
          </a:prstGeom>
        </p:spPr>
        <p:txBody>
          <a:bodyPr lIns="0" tIns="0" rIns="0" bIns="0" rtlCol="0" anchor="t">
            <a:spAutoFit/>
          </a:bodyPr>
          <a:lstStyle/>
          <a:p>
            <a:pPr algn="ctr" defTabSz="609630">
              <a:lnSpc>
                <a:spcPts val="3363"/>
              </a:lnSpc>
              <a:buClrTx/>
            </a:pPr>
            <a:r>
              <a:rPr lang="en-US" sz="3467" kern="1200">
                <a:latin typeface="EB Garamond"/>
                <a:ea typeface="+mn-ea"/>
                <a:cs typeface="+mn-cs"/>
              </a:rPr>
              <a:t>A community based doula works with clients who are typically young in age, of low income and have little to no support. Community based doulas meet with their clients several months before birth, attend the birth and meet in the weeks to months following the birth.</a:t>
            </a:r>
          </a:p>
        </p:txBody>
      </p:sp>
      <p:grpSp>
        <p:nvGrpSpPr>
          <p:cNvPr id="15" name="Group 15"/>
          <p:cNvGrpSpPr>
            <a:grpSpLocks noChangeAspect="1"/>
          </p:cNvGrpSpPr>
          <p:nvPr/>
        </p:nvGrpSpPr>
        <p:grpSpPr>
          <a:xfrm rot="441375">
            <a:off x="7363148" y="721401"/>
            <a:ext cx="3500143" cy="5454939"/>
            <a:chOff x="0" y="0"/>
            <a:chExt cx="3365500" cy="5245100"/>
          </a:xfrm>
        </p:grpSpPr>
        <p:sp>
          <p:nvSpPr>
            <p:cNvPr id="16" name="Freeform 16"/>
            <p:cNvSpPr/>
            <p:nvPr/>
          </p:nvSpPr>
          <p:spPr>
            <a:xfrm>
              <a:off x="0" y="0"/>
              <a:ext cx="3352800" cy="5219700"/>
            </a:xfrm>
            <a:custGeom>
              <a:avLst/>
              <a:gdLst/>
              <a:ahLst/>
              <a:cxnLst/>
              <a:rect l="l" t="t" r="r" b="b"/>
              <a:pathLst>
                <a:path w="3352800" h="5219700">
                  <a:moveTo>
                    <a:pt x="3352800" y="5143500"/>
                  </a:moveTo>
                  <a:cubicBezTo>
                    <a:pt x="3352800" y="5143500"/>
                    <a:pt x="3302000" y="5143500"/>
                    <a:pt x="3263900" y="5130800"/>
                  </a:cubicBezTo>
                  <a:cubicBezTo>
                    <a:pt x="3225800" y="5118100"/>
                    <a:pt x="3136900" y="5143500"/>
                    <a:pt x="3136900" y="5143500"/>
                  </a:cubicBezTo>
                  <a:lnTo>
                    <a:pt x="3009900" y="5156200"/>
                  </a:lnTo>
                  <a:cubicBezTo>
                    <a:pt x="2984500" y="5168900"/>
                    <a:pt x="2895600" y="5130800"/>
                    <a:pt x="2895600" y="5130800"/>
                  </a:cubicBezTo>
                  <a:cubicBezTo>
                    <a:pt x="2819400" y="5118100"/>
                    <a:pt x="2819400" y="5080000"/>
                    <a:pt x="2819400" y="5080000"/>
                  </a:cubicBezTo>
                  <a:cubicBezTo>
                    <a:pt x="2781300" y="5003800"/>
                    <a:pt x="2705100" y="5003800"/>
                    <a:pt x="2705100" y="5003800"/>
                  </a:cubicBezTo>
                  <a:lnTo>
                    <a:pt x="2603500" y="4965700"/>
                  </a:lnTo>
                  <a:cubicBezTo>
                    <a:pt x="2552700" y="4927600"/>
                    <a:pt x="2527300" y="4927600"/>
                    <a:pt x="2527300" y="4927600"/>
                  </a:cubicBezTo>
                  <a:cubicBezTo>
                    <a:pt x="2451100" y="4914900"/>
                    <a:pt x="2349500" y="4965700"/>
                    <a:pt x="2349500" y="4965700"/>
                  </a:cubicBezTo>
                  <a:cubicBezTo>
                    <a:pt x="2311400" y="4978400"/>
                    <a:pt x="2209800" y="4965700"/>
                    <a:pt x="2209800" y="4965700"/>
                  </a:cubicBezTo>
                  <a:cubicBezTo>
                    <a:pt x="2108200" y="4953000"/>
                    <a:pt x="1993900" y="5067300"/>
                    <a:pt x="1993900" y="5067300"/>
                  </a:cubicBezTo>
                  <a:lnTo>
                    <a:pt x="1828800" y="5156200"/>
                  </a:lnTo>
                  <a:cubicBezTo>
                    <a:pt x="1790700" y="5181600"/>
                    <a:pt x="1727200" y="5168900"/>
                    <a:pt x="1727200" y="5168900"/>
                  </a:cubicBezTo>
                  <a:cubicBezTo>
                    <a:pt x="1663700" y="5168900"/>
                    <a:pt x="1587500" y="5194300"/>
                    <a:pt x="1587500" y="5194300"/>
                  </a:cubicBezTo>
                  <a:lnTo>
                    <a:pt x="1371600" y="5219700"/>
                  </a:lnTo>
                  <a:cubicBezTo>
                    <a:pt x="1371600" y="5219700"/>
                    <a:pt x="1257300" y="5207000"/>
                    <a:pt x="1244600" y="5194300"/>
                  </a:cubicBezTo>
                  <a:cubicBezTo>
                    <a:pt x="1231900" y="5181600"/>
                    <a:pt x="1168400" y="5194300"/>
                    <a:pt x="1168400" y="5194300"/>
                  </a:cubicBezTo>
                  <a:lnTo>
                    <a:pt x="1066800" y="5181600"/>
                  </a:lnTo>
                  <a:lnTo>
                    <a:pt x="1016000" y="5143500"/>
                  </a:lnTo>
                  <a:lnTo>
                    <a:pt x="876300" y="5080000"/>
                  </a:lnTo>
                  <a:lnTo>
                    <a:pt x="673100" y="5041900"/>
                  </a:lnTo>
                  <a:lnTo>
                    <a:pt x="571500" y="5029200"/>
                  </a:lnTo>
                  <a:lnTo>
                    <a:pt x="431800" y="5016500"/>
                  </a:lnTo>
                  <a:lnTo>
                    <a:pt x="393700" y="4978400"/>
                  </a:lnTo>
                  <a:lnTo>
                    <a:pt x="317500" y="4965700"/>
                  </a:lnTo>
                  <a:lnTo>
                    <a:pt x="177800" y="4914900"/>
                  </a:lnTo>
                  <a:lnTo>
                    <a:pt x="88900" y="4876800"/>
                  </a:lnTo>
                  <a:lnTo>
                    <a:pt x="0" y="4787900"/>
                  </a:lnTo>
                  <a:lnTo>
                    <a:pt x="0" y="101600"/>
                  </a:lnTo>
                  <a:lnTo>
                    <a:pt x="76200" y="127000"/>
                  </a:lnTo>
                  <a:cubicBezTo>
                    <a:pt x="76200" y="127000"/>
                    <a:pt x="152400" y="152400"/>
                    <a:pt x="177800" y="152400"/>
                  </a:cubicBezTo>
                  <a:cubicBezTo>
                    <a:pt x="203200" y="152400"/>
                    <a:pt x="317500" y="114300"/>
                    <a:pt x="317500" y="114300"/>
                  </a:cubicBezTo>
                  <a:cubicBezTo>
                    <a:pt x="368300" y="88900"/>
                    <a:pt x="419100" y="76200"/>
                    <a:pt x="419100" y="76200"/>
                  </a:cubicBezTo>
                  <a:lnTo>
                    <a:pt x="609600" y="63500"/>
                  </a:lnTo>
                  <a:cubicBezTo>
                    <a:pt x="635000" y="50800"/>
                    <a:pt x="723900" y="38100"/>
                    <a:pt x="723900" y="38100"/>
                  </a:cubicBezTo>
                  <a:lnTo>
                    <a:pt x="889000" y="25400"/>
                  </a:lnTo>
                  <a:cubicBezTo>
                    <a:pt x="990600" y="0"/>
                    <a:pt x="1168400" y="88900"/>
                    <a:pt x="1168400" y="88900"/>
                  </a:cubicBezTo>
                  <a:cubicBezTo>
                    <a:pt x="1257300" y="139700"/>
                    <a:pt x="1308100" y="139700"/>
                    <a:pt x="1333500" y="127000"/>
                  </a:cubicBezTo>
                  <a:cubicBezTo>
                    <a:pt x="1358900" y="114300"/>
                    <a:pt x="1473200" y="127000"/>
                    <a:pt x="1511300" y="139700"/>
                  </a:cubicBezTo>
                  <a:cubicBezTo>
                    <a:pt x="1549400" y="152400"/>
                    <a:pt x="1676400" y="127000"/>
                    <a:pt x="1714500" y="114300"/>
                  </a:cubicBezTo>
                  <a:cubicBezTo>
                    <a:pt x="1752600" y="101600"/>
                    <a:pt x="1841500" y="127000"/>
                    <a:pt x="1841500" y="127000"/>
                  </a:cubicBezTo>
                  <a:lnTo>
                    <a:pt x="1930400" y="165100"/>
                  </a:lnTo>
                  <a:cubicBezTo>
                    <a:pt x="1943100" y="190500"/>
                    <a:pt x="2120900" y="203200"/>
                    <a:pt x="2120900" y="203200"/>
                  </a:cubicBezTo>
                  <a:cubicBezTo>
                    <a:pt x="2159000" y="228600"/>
                    <a:pt x="2247900" y="203200"/>
                    <a:pt x="2247900" y="203200"/>
                  </a:cubicBezTo>
                  <a:cubicBezTo>
                    <a:pt x="2374900" y="228600"/>
                    <a:pt x="2438400" y="215900"/>
                    <a:pt x="2501900" y="177800"/>
                  </a:cubicBezTo>
                  <a:cubicBezTo>
                    <a:pt x="2565400" y="139700"/>
                    <a:pt x="2667000" y="177800"/>
                    <a:pt x="2667000" y="177800"/>
                  </a:cubicBezTo>
                  <a:cubicBezTo>
                    <a:pt x="2667000" y="177800"/>
                    <a:pt x="2743200" y="190500"/>
                    <a:pt x="2844800" y="190500"/>
                  </a:cubicBezTo>
                  <a:cubicBezTo>
                    <a:pt x="2946400" y="190500"/>
                    <a:pt x="3022600" y="241300"/>
                    <a:pt x="3035300" y="254000"/>
                  </a:cubicBezTo>
                  <a:cubicBezTo>
                    <a:pt x="3048000" y="266700"/>
                    <a:pt x="3111500" y="241300"/>
                    <a:pt x="3124200" y="241300"/>
                  </a:cubicBezTo>
                  <a:cubicBezTo>
                    <a:pt x="3136900" y="241300"/>
                    <a:pt x="3200400" y="254000"/>
                    <a:pt x="3238500" y="241300"/>
                  </a:cubicBezTo>
                  <a:cubicBezTo>
                    <a:pt x="3276600" y="228600"/>
                    <a:pt x="3352800" y="241300"/>
                    <a:pt x="3352800" y="241300"/>
                  </a:cubicBezTo>
                  <a:lnTo>
                    <a:pt x="3352800" y="514350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17" name="Freeform 17"/>
            <p:cNvSpPr/>
            <p:nvPr/>
          </p:nvSpPr>
          <p:spPr>
            <a:xfrm>
              <a:off x="0" y="0"/>
              <a:ext cx="3352800" cy="292100"/>
            </a:xfrm>
            <a:custGeom>
              <a:avLst/>
              <a:gdLst/>
              <a:ahLst/>
              <a:cxnLst/>
              <a:rect l="l" t="t" r="r" b="b"/>
              <a:pathLst>
                <a:path w="3352800" h="292100">
                  <a:moveTo>
                    <a:pt x="3352800" y="292100"/>
                  </a:moveTo>
                  <a:lnTo>
                    <a:pt x="0" y="292100"/>
                  </a:lnTo>
                  <a:lnTo>
                    <a:pt x="0" y="0"/>
                  </a:lnTo>
                  <a:lnTo>
                    <a:pt x="3352800" y="0"/>
                  </a:lnTo>
                  <a:lnTo>
                    <a:pt x="3352800" y="292100"/>
                  </a:lnTo>
                  <a:close/>
                </a:path>
              </a:pathLst>
            </a:custGeom>
            <a:blipFill>
              <a:blip r:embed="rId13" cstate="email">
                <a:extLst>
                  <a:ext uri="{28A0092B-C50C-407E-A947-70E740481C1C}">
                    <a14:useLocalDpi xmlns:a14="http://schemas.microsoft.com/office/drawing/2010/main"/>
                  </a:ext>
                </a:extLst>
              </a:blip>
              <a:stretch>
                <a:fillRect/>
              </a:stretch>
            </a:blipFill>
          </p:spPr>
        </p:sp>
        <p:sp>
          <p:nvSpPr>
            <p:cNvPr id="18" name="Freeform 18"/>
            <p:cNvSpPr/>
            <p:nvPr/>
          </p:nvSpPr>
          <p:spPr>
            <a:xfrm>
              <a:off x="0" y="4775200"/>
              <a:ext cx="3365500" cy="469900"/>
            </a:xfrm>
            <a:custGeom>
              <a:avLst/>
              <a:gdLst/>
              <a:ahLst/>
              <a:cxnLst/>
              <a:rect l="l" t="t" r="r" b="b"/>
              <a:pathLst>
                <a:path w="3365500" h="469900">
                  <a:moveTo>
                    <a:pt x="3365500" y="469900"/>
                  </a:moveTo>
                  <a:lnTo>
                    <a:pt x="0" y="469900"/>
                  </a:lnTo>
                  <a:lnTo>
                    <a:pt x="0" y="0"/>
                  </a:lnTo>
                  <a:lnTo>
                    <a:pt x="3365500" y="0"/>
                  </a:lnTo>
                  <a:lnTo>
                    <a:pt x="3365500" y="469900"/>
                  </a:lnTo>
                  <a:close/>
                </a:path>
              </a:pathLst>
            </a:custGeom>
            <a:blipFill>
              <a:blip r:embed="rId14" cstate="email">
                <a:extLst>
                  <a:ext uri="{28A0092B-C50C-407E-A947-70E740481C1C}">
                    <a14:useLocalDpi xmlns:a14="http://schemas.microsoft.com/office/drawing/2010/main"/>
                  </a:ext>
                </a:extLst>
              </a:blip>
              <a:stretch>
                <a:fillRect/>
              </a:stretch>
            </a:blipFill>
          </p:spPr>
        </p:sp>
      </p:grpSp>
      <p:sp>
        <p:nvSpPr>
          <p:cNvPr id="19" name="Freeform 19"/>
          <p:cNvSpPr/>
          <p:nvPr/>
        </p:nvSpPr>
        <p:spPr>
          <a:xfrm rot="-2156523">
            <a:off x="1524297" y="4518422"/>
            <a:ext cx="1455633" cy="2000869"/>
          </a:xfrm>
          <a:custGeom>
            <a:avLst/>
            <a:gdLst/>
            <a:ahLst/>
            <a:cxnLst/>
            <a:rect l="l" t="t" r="r" b="b"/>
            <a:pathLst>
              <a:path w="2183449" h="3001304">
                <a:moveTo>
                  <a:pt x="0" y="0"/>
                </a:moveTo>
                <a:lnTo>
                  <a:pt x="2183449" y="0"/>
                </a:lnTo>
                <a:lnTo>
                  <a:pt x="2183449" y="3001304"/>
                </a:lnTo>
                <a:lnTo>
                  <a:pt x="0" y="3001304"/>
                </a:lnTo>
                <a:lnTo>
                  <a:pt x="0" y="0"/>
                </a:lnTo>
                <a:close/>
              </a:path>
            </a:pathLst>
          </a:custGeom>
          <a:blipFill>
            <a:blip r:embed="rId15" cstate="email">
              <a:extLst>
                <a:ext uri="{28A0092B-C50C-407E-A947-70E740481C1C}">
                  <a14:useLocalDpi xmlns:a14="http://schemas.microsoft.com/office/drawing/2010/main"/>
                </a:ext>
              </a:extLst>
            </a:blip>
            <a:stretch>
              <a:fillRect/>
            </a:stretch>
          </a:blipFill>
        </p:spPr>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grpSp>
        <p:nvGrpSpPr>
          <p:cNvPr id="3" name="Group 3"/>
          <p:cNvGrpSpPr/>
          <p:nvPr/>
        </p:nvGrpSpPr>
        <p:grpSpPr>
          <a:xfrm>
            <a:off x="-2119010" y="-294805"/>
            <a:ext cx="9332423" cy="8635529"/>
            <a:chOff x="0" y="0"/>
            <a:chExt cx="18664847" cy="17271059"/>
          </a:xfrm>
        </p:grpSpPr>
        <p:sp>
          <p:nvSpPr>
            <p:cNvPr id="4" name="Freeform 4"/>
            <p:cNvSpPr/>
            <p:nvPr/>
          </p:nvSpPr>
          <p:spPr>
            <a:xfrm rot="5338063">
              <a:off x="7329121" y="4023802"/>
              <a:ext cx="14911170" cy="7492863"/>
            </a:xfrm>
            <a:custGeom>
              <a:avLst/>
              <a:gdLst/>
              <a:ahLst/>
              <a:cxnLst/>
              <a:rect l="l" t="t" r="r" b="b"/>
              <a:pathLst>
                <a:path w="14911170" h="7492863">
                  <a:moveTo>
                    <a:pt x="0" y="0"/>
                  </a:moveTo>
                  <a:lnTo>
                    <a:pt x="14911170" y="0"/>
                  </a:lnTo>
                  <a:lnTo>
                    <a:pt x="14911170" y="7492863"/>
                  </a:lnTo>
                  <a:lnTo>
                    <a:pt x="0" y="7492863"/>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5" name="Freeform 5"/>
            <p:cNvSpPr/>
            <p:nvPr/>
          </p:nvSpPr>
          <p:spPr>
            <a:xfrm rot="-5400000">
              <a:off x="255621" y="-255621"/>
              <a:ext cx="17271059" cy="17782300"/>
            </a:xfrm>
            <a:custGeom>
              <a:avLst/>
              <a:gdLst/>
              <a:ahLst/>
              <a:cxnLst/>
              <a:rect l="l" t="t" r="r" b="b"/>
              <a:pathLst>
                <a:path w="17271059" h="17782300">
                  <a:moveTo>
                    <a:pt x="0" y="0"/>
                  </a:moveTo>
                  <a:lnTo>
                    <a:pt x="17271059" y="0"/>
                  </a:lnTo>
                  <a:lnTo>
                    <a:pt x="17271059" y="17782301"/>
                  </a:lnTo>
                  <a:lnTo>
                    <a:pt x="0" y="17782301"/>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sp>
      </p:grpSp>
      <p:sp>
        <p:nvSpPr>
          <p:cNvPr id="6" name="Freeform 6"/>
          <p:cNvSpPr/>
          <p:nvPr/>
        </p:nvSpPr>
        <p:spPr>
          <a:xfrm>
            <a:off x="1901292" y="-1234950"/>
            <a:ext cx="2863962" cy="2743200"/>
          </a:xfrm>
          <a:custGeom>
            <a:avLst/>
            <a:gdLst/>
            <a:ahLst/>
            <a:cxnLst/>
            <a:rect l="l" t="t" r="r" b="b"/>
            <a:pathLst>
              <a:path w="4295943" h="4114800">
                <a:moveTo>
                  <a:pt x="0" y="0"/>
                </a:moveTo>
                <a:lnTo>
                  <a:pt x="4295943" y="0"/>
                </a:lnTo>
                <a:lnTo>
                  <a:pt x="4295943" y="4114800"/>
                </a:lnTo>
                <a:lnTo>
                  <a:pt x="0" y="4114800"/>
                </a:lnTo>
                <a:lnTo>
                  <a:pt x="0" y="0"/>
                </a:lnTo>
                <a:close/>
              </a:path>
            </a:pathLst>
          </a:custGeom>
          <a:blipFill>
            <a:blip r:embed="rId5" cstate="email">
              <a:alphaModFix amt="13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grpSp>
        <p:nvGrpSpPr>
          <p:cNvPr id="7" name="Group 7"/>
          <p:cNvGrpSpPr>
            <a:grpSpLocks noChangeAspect="1"/>
          </p:cNvGrpSpPr>
          <p:nvPr/>
        </p:nvGrpSpPr>
        <p:grpSpPr>
          <a:xfrm rot="-260944">
            <a:off x="469478" y="3609078"/>
            <a:ext cx="2244763" cy="2607764"/>
            <a:chOff x="0" y="0"/>
            <a:chExt cx="5466080" cy="6350000"/>
          </a:xfrm>
        </p:grpSpPr>
        <p:sp>
          <p:nvSpPr>
            <p:cNvPr id="8" name="Freeform 8"/>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9" name="Freeform 9"/>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7" cstate="email">
                <a:extLst>
                  <a:ext uri="{28A0092B-C50C-407E-A947-70E740481C1C}">
                    <a14:useLocalDpi xmlns:a14="http://schemas.microsoft.com/office/drawing/2010/main"/>
                  </a:ext>
                </a:extLst>
              </a:blip>
              <a:stretch>
                <a:fillRect/>
              </a:stretch>
            </a:blipFill>
          </p:spPr>
        </p:sp>
        <p:sp>
          <p:nvSpPr>
            <p:cNvPr id="10" name="Freeform 10"/>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1" name="Freeform 11"/>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12" name="Group 12"/>
          <p:cNvGrpSpPr>
            <a:grpSpLocks noChangeAspect="1"/>
          </p:cNvGrpSpPr>
          <p:nvPr/>
        </p:nvGrpSpPr>
        <p:grpSpPr>
          <a:xfrm rot="-121331">
            <a:off x="3161680" y="3398169"/>
            <a:ext cx="2244763" cy="2607764"/>
            <a:chOff x="0" y="0"/>
            <a:chExt cx="5466080" cy="6350000"/>
          </a:xfrm>
        </p:grpSpPr>
        <p:sp>
          <p:nvSpPr>
            <p:cNvPr id="13" name="Freeform 13"/>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4" name="Freeform 14"/>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8" cstate="email">
                <a:extLst>
                  <a:ext uri="{28A0092B-C50C-407E-A947-70E740481C1C}">
                    <a14:useLocalDpi xmlns:a14="http://schemas.microsoft.com/office/drawing/2010/main"/>
                  </a:ext>
                </a:extLst>
              </a:blip>
              <a:stretch>
                <a:fillRect/>
              </a:stretch>
            </a:blipFill>
          </p:spPr>
        </p:sp>
        <p:sp>
          <p:nvSpPr>
            <p:cNvPr id="15" name="Freeform 15"/>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6" name="Freeform 16"/>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17" name="Group 17"/>
          <p:cNvGrpSpPr>
            <a:grpSpLocks noChangeAspect="1"/>
          </p:cNvGrpSpPr>
          <p:nvPr/>
        </p:nvGrpSpPr>
        <p:grpSpPr>
          <a:xfrm rot="-260944">
            <a:off x="469478" y="520763"/>
            <a:ext cx="2244763" cy="2607764"/>
            <a:chOff x="0" y="0"/>
            <a:chExt cx="5466080" cy="6350000"/>
          </a:xfrm>
        </p:grpSpPr>
        <p:sp>
          <p:nvSpPr>
            <p:cNvPr id="18" name="Freeform 18"/>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9" name="Freeform 19"/>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9" cstate="email">
                <a:extLst>
                  <a:ext uri="{28A0092B-C50C-407E-A947-70E740481C1C}">
                    <a14:useLocalDpi xmlns:a14="http://schemas.microsoft.com/office/drawing/2010/main"/>
                  </a:ext>
                </a:extLst>
              </a:blip>
              <a:stretch>
                <a:fillRect/>
              </a:stretch>
            </a:blipFill>
          </p:spPr>
        </p:sp>
        <p:sp>
          <p:nvSpPr>
            <p:cNvPr id="20" name="Freeform 20"/>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21" name="Freeform 21"/>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22" name="Group 22"/>
          <p:cNvGrpSpPr>
            <a:grpSpLocks noChangeAspect="1"/>
          </p:cNvGrpSpPr>
          <p:nvPr/>
        </p:nvGrpSpPr>
        <p:grpSpPr>
          <a:xfrm>
            <a:off x="3206991" y="520763"/>
            <a:ext cx="2244763" cy="2607764"/>
            <a:chOff x="0" y="0"/>
            <a:chExt cx="5466080" cy="6350000"/>
          </a:xfrm>
        </p:grpSpPr>
        <p:sp>
          <p:nvSpPr>
            <p:cNvPr id="23" name="Freeform 23"/>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24" name="Freeform 24"/>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25" name="Freeform 25"/>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26" name="Freeform 26"/>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sp>
        <p:nvSpPr>
          <p:cNvPr id="27" name="Freeform 27"/>
          <p:cNvSpPr/>
          <p:nvPr/>
        </p:nvSpPr>
        <p:spPr>
          <a:xfrm>
            <a:off x="9534470" y="4800600"/>
            <a:ext cx="2863962" cy="2743200"/>
          </a:xfrm>
          <a:custGeom>
            <a:avLst/>
            <a:gdLst/>
            <a:ahLst/>
            <a:cxnLst/>
            <a:rect l="l" t="t" r="r" b="b"/>
            <a:pathLst>
              <a:path w="4295943" h="4114800">
                <a:moveTo>
                  <a:pt x="0" y="0"/>
                </a:moveTo>
                <a:lnTo>
                  <a:pt x="4295942" y="0"/>
                </a:lnTo>
                <a:lnTo>
                  <a:pt x="4295942" y="4114800"/>
                </a:lnTo>
                <a:lnTo>
                  <a:pt x="0" y="4114800"/>
                </a:lnTo>
                <a:lnTo>
                  <a:pt x="0" y="0"/>
                </a:lnTo>
                <a:close/>
              </a:path>
            </a:pathLst>
          </a:custGeom>
          <a:blipFill>
            <a:blip r:embed="rId5" cstate="email">
              <a:alphaModFix amt="6999"/>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28" name="Freeform 28"/>
          <p:cNvSpPr/>
          <p:nvPr/>
        </p:nvSpPr>
        <p:spPr>
          <a:xfrm>
            <a:off x="10431716" y="170597"/>
            <a:ext cx="2148968" cy="1418319"/>
          </a:xfrm>
          <a:custGeom>
            <a:avLst/>
            <a:gdLst/>
            <a:ahLst/>
            <a:cxnLst/>
            <a:rect l="l" t="t" r="r" b="b"/>
            <a:pathLst>
              <a:path w="3223452" h="2127478">
                <a:moveTo>
                  <a:pt x="0" y="0"/>
                </a:moveTo>
                <a:lnTo>
                  <a:pt x="3223452" y="0"/>
                </a:lnTo>
                <a:lnTo>
                  <a:pt x="3223452" y="2127478"/>
                </a:lnTo>
                <a:lnTo>
                  <a:pt x="0" y="2127478"/>
                </a:lnTo>
                <a:lnTo>
                  <a:pt x="0" y="0"/>
                </a:lnTo>
                <a:close/>
              </a:path>
            </a:pathLst>
          </a:custGeom>
          <a:blipFill>
            <a:blip r:embed="rId11" cstate="email">
              <a:alphaModFix amt="40000"/>
              <a:extLst>
                <a:ext uri="{28A0092B-C50C-407E-A947-70E740481C1C}">
                  <a14:useLocalDpi xmlns:a14="http://schemas.microsoft.com/office/drawing/2010/main"/>
                </a:ext>
              </a:extLst>
            </a:blip>
            <a:stretch>
              <a:fillRect/>
            </a:stretch>
          </a:blipFill>
        </p:spPr>
      </p:sp>
      <p:sp>
        <p:nvSpPr>
          <p:cNvPr id="29" name="Freeform 29"/>
          <p:cNvSpPr/>
          <p:nvPr/>
        </p:nvSpPr>
        <p:spPr>
          <a:xfrm rot="4858966">
            <a:off x="1313503" y="3127531"/>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0" name="Freeform 30"/>
          <p:cNvSpPr/>
          <p:nvPr/>
        </p:nvSpPr>
        <p:spPr>
          <a:xfrm rot="4858966">
            <a:off x="1202378" y="-15673"/>
            <a:ext cx="556713" cy="1072872"/>
          </a:xfrm>
          <a:custGeom>
            <a:avLst/>
            <a:gdLst/>
            <a:ahLst/>
            <a:cxnLst/>
            <a:rect l="l" t="t" r="r" b="b"/>
            <a:pathLst>
              <a:path w="835070" h="1609308">
                <a:moveTo>
                  <a:pt x="0" y="0"/>
                </a:moveTo>
                <a:lnTo>
                  <a:pt x="835071" y="0"/>
                </a:lnTo>
                <a:lnTo>
                  <a:pt x="835071"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1" name="Freeform 31"/>
          <p:cNvSpPr/>
          <p:nvPr/>
        </p:nvSpPr>
        <p:spPr>
          <a:xfrm rot="4858966">
            <a:off x="4051016" y="-15673"/>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2" name="Freeform 32"/>
          <p:cNvSpPr/>
          <p:nvPr/>
        </p:nvSpPr>
        <p:spPr>
          <a:xfrm rot="4858966">
            <a:off x="4051016" y="2892564"/>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3" name="Freeform 33"/>
          <p:cNvSpPr/>
          <p:nvPr/>
        </p:nvSpPr>
        <p:spPr>
          <a:xfrm rot="-3253825" flipH="1">
            <a:off x="5687202" y="3725305"/>
            <a:ext cx="1792941" cy="2851597"/>
          </a:xfrm>
          <a:custGeom>
            <a:avLst/>
            <a:gdLst/>
            <a:ahLst/>
            <a:cxnLst/>
            <a:rect l="l" t="t" r="r" b="b"/>
            <a:pathLst>
              <a:path w="2689412" h="4277395">
                <a:moveTo>
                  <a:pt x="2689413" y="0"/>
                </a:moveTo>
                <a:lnTo>
                  <a:pt x="0" y="0"/>
                </a:lnTo>
                <a:lnTo>
                  <a:pt x="0" y="4277395"/>
                </a:lnTo>
                <a:lnTo>
                  <a:pt x="2689413" y="4277395"/>
                </a:lnTo>
                <a:lnTo>
                  <a:pt x="2689413" y="0"/>
                </a:lnTo>
                <a:close/>
              </a:path>
            </a:pathLst>
          </a:custGeom>
          <a:blipFill>
            <a:blip r:embed="rId13" cstate="email">
              <a:extLst>
                <a:ext uri="{28A0092B-C50C-407E-A947-70E740481C1C}">
                  <a14:useLocalDpi xmlns:a14="http://schemas.microsoft.com/office/drawing/2010/main"/>
                </a:ext>
              </a:extLst>
            </a:blip>
            <a:stretch>
              <a:fillRect/>
            </a:stretch>
          </a:blipFill>
        </p:spPr>
      </p:sp>
      <p:sp>
        <p:nvSpPr>
          <p:cNvPr id="34" name="TextBox 34"/>
          <p:cNvSpPr txBox="1"/>
          <p:nvPr/>
        </p:nvSpPr>
        <p:spPr>
          <a:xfrm>
            <a:off x="6772141" y="1157061"/>
            <a:ext cx="4734059" cy="5321008"/>
          </a:xfrm>
          <a:prstGeom prst="rect">
            <a:avLst/>
          </a:prstGeom>
        </p:spPr>
        <p:txBody>
          <a:bodyPr lIns="0" tIns="0" rIns="0" bIns="0" rtlCol="0" anchor="t">
            <a:spAutoFit/>
          </a:bodyPr>
          <a:lstStyle/>
          <a:p>
            <a:pPr algn="ctr" defTabSz="609630">
              <a:lnSpc>
                <a:spcPts val="2716"/>
              </a:lnSpc>
              <a:buClrTx/>
            </a:pPr>
            <a:r>
              <a:rPr lang="en-US" sz="2800" kern="1200">
                <a:latin typeface="EB Garamond"/>
                <a:ea typeface="+mn-ea"/>
                <a:cs typeface="+mn-cs"/>
              </a:rPr>
              <a:t>Doulas have been in existence since antiquity but often referred to by other names in different cultures. The word Doula originates from the Greek language and means to "serve women". The word was brought main stream in the 1960's with the natural birth movement. </a:t>
            </a:r>
          </a:p>
          <a:p>
            <a:pPr algn="ctr" defTabSz="609630">
              <a:lnSpc>
                <a:spcPts val="2716"/>
              </a:lnSpc>
              <a:buClrTx/>
            </a:pPr>
            <a:r>
              <a:rPr lang="en-US" sz="2800" kern="1200">
                <a:latin typeface="EB Garamond"/>
                <a:ea typeface="+mn-ea"/>
                <a:cs typeface="+mn-cs"/>
              </a:rPr>
              <a:t>Doula's are trained, skilled and certified pregnancy, labor, childbirth and postpartum support people. NON-CLINICAL.</a:t>
            </a:r>
          </a:p>
          <a:p>
            <a:pPr algn="ctr" defTabSz="609630">
              <a:lnSpc>
                <a:spcPts val="3880"/>
              </a:lnSpc>
              <a:buClrTx/>
            </a:pPr>
            <a:endParaRPr lang="en-US" sz="2800" kern="1200">
              <a:latin typeface="EB Garamond"/>
              <a:ea typeface="+mn-ea"/>
              <a:cs typeface="+mn-cs"/>
            </a:endParaRPr>
          </a:p>
        </p:txBody>
      </p:sp>
      <p:sp>
        <p:nvSpPr>
          <p:cNvPr id="35" name="TextBox 35"/>
          <p:cNvSpPr txBox="1"/>
          <p:nvPr/>
        </p:nvSpPr>
        <p:spPr>
          <a:xfrm>
            <a:off x="5196457" y="179980"/>
            <a:ext cx="5235259" cy="597536"/>
          </a:xfrm>
          <a:prstGeom prst="rect">
            <a:avLst/>
          </a:prstGeom>
        </p:spPr>
        <p:txBody>
          <a:bodyPr lIns="0" tIns="0" rIns="0" bIns="0" rtlCol="0" anchor="t">
            <a:spAutoFit/>
          </a:bodyPr>
          <a:lstStyle/>
          <a:p>
            <a:pPr algn="ctr" defTabSz="609630">
              <a:lnSpc>
                <a:spcPts val="5133"/>
              </a:lnSpc>
              <a:buClrTx/>
            </a:pPr>
            <a:r>
              <a:rPr lang="en-US" sz="3666" kern="1200">
                <a:latin typeface="Canva Sans Bold"/>
                <a:ea typeface="+mn-ea"/>
                <a:cs typeface="+mn-cs"/>
              </a:rPr>
              <a:t>History of Doulas</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grpSp>
        <p:nvGrpSpPr>
          <p:cNvPr id="3" name="Group 3"/>
          <p:cNvGrpSpPr/>
          <p:nvPr/>
        </p:nvGrpSpPr>
        <p:grpSpPr>
          <a:xfrm>
            <a:off x="-2119010" y="-294805"/>
            <a:ext cx="9332423" cy="8635529"/>
            <a:chOff x="0" y="0"/>
            <a:chExt cx="18664847" cy="17271059"/>
          </a:xfrm>
        </p:grpSpPr>
        <p:sp>
          <p:nvSpPr>
            <p:cNvPr id="4" name="Freeform 4"/>
            <p:cNvSpPr/>
            <p:nvPr/>
          </p:nvSpPr>
          <p:spPr>
            <a:xfrm rot="5338063">
              <a:off x="7329121" y="4023802"/>
              <a:ext cx="14911170" cy="7492863"/>
            </a:xfrm>
            <a:custGeom>
              <a:avLst/>
              <a:gdLst/>
              <a:ahLst/>
              <a:cxnLst/>
              <a:rect l="l" t="t" r="r" b="b"/>
              <a:pathLst>
                <a:path w="14911170" h="7492863">
                  <a:moveTo>
                    <a:pt x="0" y="0"/>
                  </a:moveTo>
                  <a:lnTo>
                    <a:pt x="14911170" y="0"/>
                  </a:lnTo>
                  <a:lnTo>
                    <a:pt x="14911170" y="7492863"/>
                  </a:lnTo>
                  <a:lnTo>
                    <a:pt x="0" y="7492863"/>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5" name="Freeform 5"/>
            <p:cNvSpPr/>
            <p:nvPr/>
          </p:nvSpPr>
          <p:spPr>
            <a:xfrm rot="-5400000">
              <a:off x="255621" y="-255621"/>
              <a:ext cx="17271059" cy="17782300"/>
            </a:xfrm>
            <a:custGeom>
              <a:avLst/>
              <a:gdLst/>
              <a:ahLst/>
              <a:cxnLst/>
              <a:rect l="l" t="t" r="r" b="b"/>
              <a:pathLst>
                <a:path w="17271059" h="17782300">
                  <a:moveTo>
                    <a:pt x="0" y="0"/>
                  </a:moveTo>
                  <a:lnTo>
                    <a:pt x="17271059" y="0"/>
                  </a:lnTo>
                  <a:lnTo>
                    <a:pt x="17271059" y="17782301"/>
                  </a:lnTo>
                  <a:lnTo>
                    <a:pt x="0" y="17782301"/>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sp>
      </p:grpSp>
      <p:sp>
        <p:nvSpPr>
          <p:cNvPr id="6" name="Freeform 6"/>
          <p:cNvSpPr/>
          <p:nvPr/>
        </p:nvSpPr>
        <p:spPr>
          <a:xfrm>
            <a:off x="1901292" y="-1234950"/>
            <a:ext cx="2863962" cy="2743200"/>
          </a:xfrm>
          <a:custGeom>
            <a:avLst/>
            <a:gdLst/>
            <a:ahLst/>
            <a:cxnLst/>
            <a:rect l="l" t="t" r="r" b="b"/>
            <a:pathLst>
              <a:path w="4295943" h="4114800">
                <a:moveTo>
                  <a:pt x="0" y="0"/>
                </a:moveTo>
                <a:lnTo>
                  <a:pt x="4295943" y="0"/>
                </a:lnTo>
                <a:lnTo>
                  <a:pt x="4295943" y="4114800"/>
                </a:lnTo>
                <a:lnTo>
                  <a:pt x="0" y="4114800"/>
                </a:lnTo>
                <a:lnTo>
                  <a:pt x="0" y="0"/>
                </a:lnTo>
                <a:close/>
              </a:path>
            </a:pathLst>
          </a:custGeom>
          <a:blipFill>
            <a:blip r:embed="rId5" cstate="email">
              <a:alphaModFix amt="13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grpSp>
        <p:nvGrpSpPr>
          <p:cNvPr id="7" name="Group 7"/>
          <p:cNvGrpSpPr>
            <a:grpSpLocks noChangeAspect="1"/>
          </p:cNvGrpSpPr>
          <p:nvPr/>
        </p:nvGrpSpPr>
        <p:grpSpPr>
          <a:xfrm rot="-260944">
            <a:off x="469478" y="3609078"/>
            <a:ext cx="2244763" cy="2607764"/>
            <a:chOff x="0" y="0"/>
            <a:chExt cx="5466080" cy="6350000"/>
          </a:xfrm>
        </p:grpSpPr>
        <p:sp>
          <p:nvSpPr>
            <p:cNvPr id="8" name="Freeform 8"/>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9" name="Freeform 9"/>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7" cstate="email">
                <a:extLst>
                  <a:ext uri="{28A0092B-C50C-407E-A947-70E740481C1C}">
                    <a14:useLocalDpi xmlns:a14="http://schemas.microsoft.com/office/drawing/2010/main"/>
                  </a:ext>
                </a:extLst>
              </a:blip>
              <a:stretch>
                <a:fillRect/>
              </a:stretch>
            </a:blipFill>
          </p:spPr>
        </p:sp>
        <p:sp>
          <p:nvSpPr>
            <p:cNvPr id="10" name="Freeform 10"/>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1" name="Freeform 11"/>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12" name="Group 12"/>
          <p:cNvGrpSpPr>
            <a:grpSpLocks noChangeAspect="1"/>
          </p:cNvGrpSpPr>
          <p:nvPr/>
        </p:nvGrpSpPr>
        <p:grpSpPr>
          <a:xfrm rot="-121331">
            <a:off x="3161680" y="3398169"/>
            <a:ext cx="2244763" cy="2607764"/>
            <a:chOff x="0" y="0"/>
            <a:chExt cx="5466080" cy="6350000"/>
          </a:xfrm>
        </p:grpSpPr>
        <p:sp>
          <p:nvSpPr>
            <p:cNvPr id="13" name="Freeform 13"/>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4" name="Freeform 14"/>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8" cstate="email">
                <a:extLst>
                  <a:ext uri="{28A0092B-C50C-407E-A947-70E740481C1C}">
                    <a14:useLocalDpi xmlns:a14="http://schemas.microsoft.com/office/drawing/2010/main"/>
                  </a:ext>
                </a:extLst>
              </a:blip>
              <a:stretch>
                <a:fillRect/>
              </a:stretch>
            </a:blipFill>
          </p:spPr>
        </p:sp>
        <p:sp>
          <p:nvSpPr>
            <p:cNvPr id="15" name="Freeform 15"/>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16" name="Freeform 16"/>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17" name="Group 17"/>
          <p:cNvGrpSpPr>
            <a:grpSpLocks noChangeAspect="1"/>
          </p:cNvGrpSpPr>
          <p:nvPr/>
        </p:nvGrpSpPr>
        <p:grpSpPr>
          <a:xfrm rot="-260944">
            <a:off x="469478" y="520763"/>
            <a:ext cx="2244763" cy="2607764"/>
            <a:chOff x="0" y="0"/>
            <a:chExt cx="5466080" cy="6350000"/>
          </a:xfrm>
        </p:grpSpPr>
        <p:sp>
          <p:nvSpPr>
            <p:cNvPr id="18" name="Freeform 18"/>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19" name="Freeform 19"/>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9" cstate="email">
                <a:extLst>
                  <a:ext uri="{28A0092B-C50C-407E-A947-70E740481C1C}">
                    <a14:useLocalDpi xmlns:a14="http://schemas.microsoft.com/office/drawing/2010/main"/>
                  </a:ext>
                </a:extLst>
              </a:blip>
              <a:stretch>
                <a:fillRect/>
              </a:stretch>
            </a:blipFill>
          </p:spPr>
        </p:sp>
        <p:sp>
          <p:nvSpPr>
            <p:cNvPr id="20" name="Freeform 20"/>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21" name="Freeform 21"/>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grpSp>
        <p:nvGrpSpPr>
          <p:cNvPr id="22" name="Group 22"/>
          <p:cNvGrpSpPr>
            <a:grpSpLocks noChangeAspect="1"/>
          </p:cNvGrpSpPr>
          <p:nvPr/>
        </p:nvGrpSpPr>
        <p:grpSpPr>
          <a:xfrm>
            <a:off x="3206991" y="751611"/>
            <a:ext cx="2244763" cy="2607764"/>
            <a:chOff x="0" y="0"/>
            <a:chExt cx="5466080" cy="6350000"/>
          </a:xfrm>
        </p:grpSpPr>
        <p:sp>
          <p:nvSpPr>
            <p:cNvPr id="23" name="Freeform 23"/>
            <p:cNvSpPr/>
            <p:nvPr/>
          </p:nvSpPr>
          <p:spPr>
            <a:xfrm>
              <a:off x="0" y="0"/>
              <a:ext cx="5439410" cy="6348730"/>
            </a:xfrm>
            <a:custGeom>
              <a:avLst/>
              <a:gdLst/>
              <a:ahLst/>
              <a:cxnLst/>
              <a:rect l="l" t="t" r="r" b="b"/>
              <a:pathLst>
                <a:path w="5439410" h="6348730">
                  <a:moveTo>
                    <a:pt x="5419090" y="0"/>
                  </a:moveTo>
                  <a:lnTo>
                    <a:pt x="19050" y="0"/>
                  </a:lnTo>
                  <a:cubicBezTo>
                    <a:pt x="8890" y="0"/>
                    <a:pt x="0" y="8890"/>
                    <a:pt x="0" y="20320"/>
                  </a:cubicBezTo>
                  <a:lnTo>
                    <a:pt x="0" y="6329680"/>
                  </a:lnTo>
                  <a:cubicBezTo>
                    <a:pt x="0" y="6339840"/>
                    <a:pt x="8890" y="6348730"/>
                    <a:pt x="19050" y="6348730"/>
                  </a:cubicBezTo>
                  <a:lnTo>
                    <a:pt x="5419090" y="6348730"/>
                  </a:lnTo>
                  <a:cubicBezTo>
                    <a:pt x="5429250" y="6348730"/>
                    <a:pt x="5438140" y="6339840"/>
                    <a:pt x="5438140" y="6329680"/>
                  </a:cubicBezTo>
                  <a:lnTo>
                    <a:pt x="5438140" y="20320"/>
                  </a:lnTo>
                  <a:cubicBezTo>
                    <a:pt x="5439410" y="8890"/>
                    <a:pt x="5430520" y="0"/>
                    <a:pt x="5419090" y="0"/>
                  </a:cubicBezTo>
                  <a:close/>
                  <a:moveTo>
                    <a:pt x="5137150" y="314960"/>
                  </a:moveTo>
                  <a:lnTo>
                    <a:pt x="5137150" y="4970780"/>
                  </a:lnTo>
                  <a:cubicBezTo>
                    <a:pt x="5137150" y="4980940"/>
                    <a:pt x="5128260" y="4989830"/>
                    <a:pt x="5118100" y="4989830"/>
                  </a:cubicBezTo>
                  <a:lnTo>
                    <a:pt x="266700" y="4989830"/>
                  </a:lnTo>
                  <a:cubicBezTo>
                    <a:pt x="256540" y="4989830"/>
                    <a:pt x="247650" y="4980940"/>
                    <a:pt x="247650" y="4970780"/>
                  </a:cubicBezTo>
                  <a:lnTo>
                    <a:pt x="247650" y="314960"/>
                  </a:lnTo>
                  <a:cubicBezTo>
                    <a:pt x="247650" y="304800"/>
                    <a:pt x="256540" y="295910"/>
                    <a:pt x="266700" y="295910"/>
                  </a:cubicBezTo>
                  <a:lnTo>
                    <a:pt x="5118100" y="295910"/>
                  </a:lnTo>
                  <a:cubicBezTo>
                    <a:pt x="5129530" y="294640"/>
                    <a:pt x="5137150" y="303530"/>
                    <a:pt x="5137150" y="314960"/>
                  </a:cubicBezTo>
                  <a:close/>
                </a:path>
              </a:pathLst>
            </a:custGeom>
            <a:solidFill>
              <a:srgbClr val="EBEEE7"/>
            </a:solidFill>
          </p:spPr>
        </p:sp>
        <p:sp>
          <p:nvSpPr>
            <p:cNvPr id="24" name="Freeform 24"/>
            <p:cNvSpPr/>
            <p:nvPr/>
          </p:nvSpPr>
          <p:spPr>
            <a:xfrm>
              <a:off x="247650" y="294640"/>
              <a:ext cx="4889500" cy="4693920"/>
            </a:xfrm>
            <a:custGeom>
              <a:avLst/>
              <a:gdLst/>
              <a:ahLst/>
              <a:cxnLst/>
              <a:rect l="l" t="t" r="r" b="b"/>
              <a:pathLst>
                <a:path w="4889500" h="4693920">
                  <a:moveTo>
                    <a:pt x="4870450" y="0"/>
                  </a:moveTo>
                  <a:lnTo>
                    <a:pt x="19050" y="0"/>
                  </a:lnTo>
                  <a:cubicBezTo>
                    <a:pt x="8890" y="0"/>
                    <a:pt x="0" y="8890"/>
                    <a:pt x="0" y="19050"/>
                  </a:cubicBezTo>
                  <a:lnTo>
                    <a:pt x="0" y="4674870"/>
                  </a:lnTo>
                  <a:cubicBezTo>
                    <a:pt x="0" y="4686300"/>
                    <a:pt x="8890" y="4693920"/>
                    <a:pt x="19050" y="4693920"/>
                  </a:cubicBezTo>
                  <a:lnTo>
                    <a:pt x="4870450" y="4693920"/>
                  </a:lnTo>
                  <a:cubicBezTo>
                    <a:pt x="4880610" y="4693920"/>
                    <a:pt x="4889500" y="4685030"/>
                    <a:pt x="4889500" y="4674870"/>
                  </a:cubicBezTo>
                  <a:lnTo>
                    <a:pt x="4889500" y="20320"/>
                  </a:lnTo>
                  <a:cubicBezTo>
                    <a:pt x="4889500" y="8890"/>
                    <a:pt x="4881880" y="0"/>
                    <a:pt x="4870450" y="0"/>
                  </a:cubicBez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25" name="Freeform 25"/>
            <p:cNvSpPr/>
            <p:nvPr/>
          </p:nvSpPr>
          <p:spPr>
            <a:xfrm>
              <a:off x="1270" y="6350"/>
              <a:ext cx="5457190" cy="6342380"/>
            </a:xfrm>
            <a:custGeom>
              <a:avLst/>
              <a:gdLst/>
              <a:ahLst/>
              <a:cxnLst/>
              <a:rect l="l" t="t" r="r" b="b"/>
              <a:pathLst>
                <a:path w="5457190" h="6342380">
                  <a:moveTo>
                    <a:pt x="5137150" y="302260"/>
                  </a:moveTo>
                  <a:cubicBezTo>
                    <a:pt x="5137150" y="302260"/>
                    <a:pt x="5133340" y="290830"/>
                    <a:pt x="5119370" y="289560"/>
                  </a:cubicBezTo>
                  <a:lnTo>
                    <a:pt x="248920" y="289560"/>
                  </a:lnTo>
                  <a:cubicBezTo>
                    <a:pt x="240030" y="289560"/>
                    <a:pt x="228600" y="293370"/>
                    <a:pt x="228600" y="303530"/>
                  </a:cubicBezTo>
                  <a:lnTo>
                    <a:pt x="232410" y="312420"/>
                  </a:lnTo>
                  <a:cubicBezTo>
                    <a:pt x="236220" y="307340"/>
                    <a:pt x="242570" y="304800"/>
                    <a:pt x="248920" y="304800"/>
                  </a:cubicBezTo>
                  <a:lnTo>
                    <a:pt x="5123180" y="304800"/>
                  </a:lnTo>
                  <a:lnTo>
                    <a:pt x="5123180" y="4966970"/>
                  </a:lnTo>
                  <a:cubicBezTo>
                    <a:pt x="5123180" y="4973320"/>
                    <a:pt x="5120640" y="4979670"/>
                    <a:pt x="5115560" y="4983480"/>
                  </a:cubicBezTo>
                  <a:lnTo>
                    <a:pt x="5120640" y="4983480"/>
                  </a:lnTo>
                  <a:cubicBezTo>
                    <a:pt x="5129530" y="4983480"/>
                    <a:pt x="5137150" y="4975860"/>
                    <a:pt x="5137150" y="4966970"/>
                  </a:cubicBezTo>
                  <a:lnTo>
                    <a:pt x="5137150" y="302260"/>
                  </a:lnTo>
                  <a:close/>
                  <a:moveTo>
                    <a:pt x="5438140" y="6324600"/>
                  </a:moveTo>
                  <a:lnTo>
                    <a:pt x="20320" y="6324600"/>
                  </a:lnTo>
                  <a:lnTo>
                    <a:pt x="20320" y="12700"/>
                  </a:lnTo>
                  <a:lnTo>
                    <a:pt x="6350" y="0"/>
                  </a:lnTo>
                  <a:lnTo>
                    <a:pt x="5080" y="0"/>
                  </a:lnTo>
                  <a:cubicBezTo>
                    <a:pt x="2540" y="3810"/>
                    <a:pt x="0" y="7620"/>
                    <a:pt x="0" y="12700"/>
                  </a:cubicBezTo>
                  <a:lnTo>
                    <a:pt x="0" y="6323330"/>
                  </a:lnTo>
                  <a:cubicBezTo>
                    <a:pt x="0" y="6334760"/>
                    <a:pt x="8890" y="6342380"/>
                    <a:pt x="19050" y="6342380"/>
                  </a:cubicBezTo>
                  <a:lnTo>
                    <a:pt x="5444490" y="6342380"/>
                  </a:lnTo>
                  <a:cubicBezTo>
                    <a:pt x="5449570" y="6342380"/>
                    <a:pt x="5453380" y="6341110"/>
                    <a:pt x="5457190" y="6337300"/>
                  </a:cubicBezTo>
                  <a:lnTo>
                    <a:pt x="5438140" y="6324600"/>
                  </a:lnTo>
                  <a:close/>
                </a:path>
              </a:pathLst>
            </a:custGeom>
            <a:solidFill>
              <a:srgbClr val="000000"/>
            </a:solidFill>
          </p:spPr>
        </p:sp>
        <p:sp>
          <p:nvSpPr>
            <p:cNvPr id="26" name="Freeform 26"/>
            <p:cNvSpPr/>
            <p:nvPr/>
          </p:nvSpPr>
          <p:spPr>
            <a:xfrm>
              <a:off x="7620" y="0"/>
              <a:ext cx="5458460" cy="6344920"/>
            </a:xfrm>
            <a:custGeom>
              <a:avLst/>
              <a:gdLst/>
              <a:ahLst/>
              <a:cxnLst/>
              <a:rect l="l" t="t" r="r" b="b"/>
              <a:pathLst>
                <a:path w="5458460" h="6344920">
                  <a:moveTo>
                    <a:pt x="5125720" y="4987290"/>
                  </a:moveTo>
                  <a:cubicBezTo>
                    <a:pt x="5121910" y="4992370"/>
                    <a:pt x="5116830" y="4994910"/>
                    <a:pt x="5110480" y="4994910"/>
                  </a:cubicBezTo>
                  <a:lnTo>
                    <a:pt x="243840" y="4994910"/>
                  </a:lnTo>
                  <a:cubicBezTo>
                    <a:pt x="237490" y="4994910"/>
                    <a:pt x="231140" y="4992370"/>
                    <a:pt x="227330" y="4986020"/>
                  </a:cubicBezTo>
                  <a:cubicBezTo>
                    <a:pt x="222250" y="4982210"/>
                    <a:pt x="219710" y="4977130"/>
                    <a:pt x="219710" y="4970780"/>
                  </a:cubicBezTo>
                  <a:lnTo>
                    <a:pt x="219710" y="314960"/>
                  </a:lnTo>
                  <a:cubicBezTo>
                    <a:pt x="219710" y="309880"/>
                    <a:pt x="222250" y="304800"/>
                    <a:pt x="226060" y="300990"/>
                  </a:cubicBezTo>
                  <a:lnTo>
                    <a:pt x="240030" y="311150"/>
                  </a:lnTo>
                  <a:lnTo>
                    <a:pt x="240030" y="4975860"/>
                  </a:lnTo>
                  <a:lnTo>
                    <a:pt x="5110480" y="4975860"/>
                  </a:lnTo>
                  <a:cubicBezTo>
                    <a:pt x="5113020" y="4975860"/>
                    <a:pt x="5115560" y="4974590"/>
                    <a:pt x="5116830" y="4974590"/>
                  </a:cubicBezTo>
                  <a:lnTo>
                    <a:pt x="5125720" y="4987290"/>
                  </a:lnTo>
                  <a:close/>
                  <a:moveTo>
                    <a:pt x="5458460" y="19050"/>
                  </a:moveTo>
                  <a:lnTo>
                    <a:pt x="5458460" y="6330950"/>
                  </a:lnTo>
                  <a:cubicBezTo>
                    <a:pt x="5458460" y="6336030"/>
                    <a:pt x="5455920" y="6341110"/>
                    <a:pt x="5450840" y="6344920"/>
                  </a:cubicBezTo>
                  <a:lnTo>
                    <a:pt x="5429250" y="6329680"/>
                  </a:lnTo>
                  <a:lnTo>
                    <a:pt x="5429250" y="20320"/>
                  </a:lnTo>
                  <a:lnTo>
                    <a:pt x="13970" y="20320"/>
                  </a:lnTo>
                  <a:lnTo>
                    <a:pt x="0" y="7620"/>
                  </a:lnTo>
                  <a:cubicBezTo>
                    <a:pt x="3810" y="2540"/>
                    <a:pt x="8890" y="0"/>
                    <a:pt x="15240" y="0"/>
                  </a:cubicBezTo>
                  <a:lnTo>
                    <a:pt x="5439410" y="0"/>
                  </a:lnTo>
                  <a:cubicBezTo>
                    <a:pt x="5449570" y="0"/>
                    <a:pt x="5458460" y="8890"/>
                    <a:pt x="5458460" y="19050"/>
                  </a:cubicBezTo>
                  <a:close/>
                  <a:moveTo>
                    <a:pt x="5455920" y="30480"/>
                  </a:moveTo>
                  <a:cubicBezTo>
                    <a:pt x="5453380" y="26670"/>
                    <a:pt x="5450840" y="24130"/>
                    <a:pt x="5447030" y="21590"/>
                  </a:cubicBezTo>
                  <a:lnTo>
                    <a:pt x="5455920" y="30480"/>
                  </a:lnTo>
                  <a:close/>
                </a:path>
              </a:pathLst>
            </a:custGeom>
            <a:solidFill>
              <a:srgbClr val="EBEEE7"/>
            </a:solidFill>
          </p:spPr>
        </p:sp>
      </p:grpSp>
      <p:sp>
        <p:nvSpPr>
          <p:cNvPr id="27" name="Freeform 27"/>
          <p:cNvSpPr/>
          <p:nvPr/>
        </p:nvSpPr>
        <p:spPr>
          <a:xfrm>
            <a:off x="9534470" y="4800600"/>
            <a:ext cx="2863962" cy="2743200"/>
          </a:xfrm>
          <a:custGeom>
            <a:avLst/>
            <a:gdLst/>
            <a:ahLst/>
            <a:cxnLst/>
            <a:rect l="l" t="t" r="r" b="b"/>
            <a:pathLst>
              <a:path w="4295943" h="4114800">
                <a:moveTo>
                  <a:pt x="0" y="0"/>
                </a:moveTo>
                <a:lnTo>
                  <a:pt x="4295942" y="0"/>
                </a:lnTo>
                <a:lnTo>
                  <a:pt x="4295942" y="4114800"/>
                </a:lnTo>
                <a:lnTo>
                  <a:pt x="0" y="4114800"/>
                </a:lnTo>
                <a:lnTo>
                  <a:pt x="0" y="0"/>
                </a:lnTo>
                <a:close/>
              </a:path>
            </a:pathLst>
          </a:custGeom>
          <a:blipFill>
            <a:blip r:embed="rId5" cstate="email">
              <a:alphaModFix amt="6999"/>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28" name="Freeform 28"/>
          <p:cNvSpPr/>
          <p:nvPr/>
        </p:nvSpPr>
        <p:spPr>
          <a:xfrm>
            <a:off x="10431716" y="170597"/>
            <a:ext cx="2148968" cy="1418319"/>
          </a:xfrm>
          <a:custGeom>
            <a:avLst/>
            <a:gdLst/>
            <a:ahLst/>
            <a:cxnLst/>
            <a:rect l="l" t="t" r="r" b="b"/>
            <a:pathLst>
              <a:path w="3223452" h="2127478">
                <a:moveTo>
                  <a:pt x="0" y="0"/>
                </a:moveTo>
                <a:lnTo>
                  <a:pt x="3223452" y="0"/>
                </a:lnTo>
                <a:lnTo>
                  <a:pt x="3223452" y="2127478"/>
                </a:lnTo>
                <a:lnTo>
                  <a:pt x="0" y="2127478"/>
                </a:lnTo>
                <a:lnTo>
                  <a:pt x="0" y="0"/>
                </a:lnTo>
                <a:close/>
              </a:path>
            </a:pathLst>
          </a:custGeom>
          <a:blipFill>
            <a:blip r:embed="rId11" cstate="email">
              <a:alphaModFix amt="40000"/>
              <a:extLst>
                <a:ext uri="{28A0092B-C50C-407E-A947-70E740481C1C}">
                  <a14:useLocalDpi xmlns:a14="http://schemas.microsoft.com/office/drawing/2010/main"/>
                </a:ext>
              </a:extLst>
            </a:blip>
            <a:stretch>
              <a:fillRect/>
            </a:stretch>
          </a:blipFill>
        </p:spPr>
      </p:sp>
      <p:sp>
        <p:nvSpPr>
          <p:cNvPr id="29" name="Freeform 29"/>
          <p:cNvSpPr/>
          <p:nvPr/>
        </p:nvSpPr>
        <p:spPr>
          <a:xfrm rot="4858966">
            <a:off x="1313503" y="3127531"/>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0" name="Freeform 30"/>
          <p:cNvSpPr/>
          <p:nvPr/>
        </p:nvSpPr>
        <p:spPr>
          <a:xfrm rot="4858966">
            <a:off x="1202378" y="-15673"/>
            <a:ext cx="556713" cy="1072872"/>
          </a:xfrm>
          <a:custGeom>
            <a:avLst/>
            <a:gdLst/>
            <a:ahLst/>
            <a:cxnLst/>
            <a:rect l="l" t="t" r="r" b="b"/>
            <a:pathLst>
              <a:path w="835070" h="1609308">
                <a:moveTo>
                  <a:pt x="0" y="0"/>
                </a:moveTo>
                <a:lnTo>
                  <a:pt x="835071" y="0"/>
                </a:lnTo>
                <a:lnTo>
                  <a:pt x="835071"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1" name="Freeform 31"/>
          <p:cNvSpPr/>
          <p:nvPr/>
        </p:nvSpPr>
        <p:spPr>
          <a:xfrm rot="4858966">
            <a:off x="4051016" y="-15673"/>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2" name="Freeform 32"/>
          <p:cNvSpPr/>
          <p:nvPr/>
        </p:nvSpPr>
        <p:spPr>
          <a:xfrm rot="4858966">
            <a:off x="4051016" y="2892564"/>
            <a:ext cx="556713" cy="1072872"/>
          </a:xfrm>
          <a:custGeom>
            <a:avLst/>
            <a:gdLst/>
            <a:ahLst/>
            <a:cxnLst/>
            <a:rect l="l" t="t" r="r" b="b"/>
            <a:pathLst>
              <a:path w="835070" h="1609308">
                <a:moveTo>
                  <a:pt x="0" y="0"/>
                </a:moveTo>
                <a:lnTo>
                  <a:pt x="835070" y="0"/>
                </a:lnTo>
                <a:lnTo>
                  <a:pt x="835070" y="1609308"/>
                </a:lnTo>
                <a:lnTo>
                  <a:pt x="0" y="1609308"/>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33" name="Freeform 33"/>
          <p:cNvSpPr/>
          <p:nvPr/>
        </p:nvSpPr>
        <p:spPr>
          <a:xfrm rot="-3253825" flipH="1">
            <a:off x="5687202" y="3725305"/>
            <a:ext cx="1792941" cy="2851597"/>
          </a:xfrm>
          <a:custGeom>
            <a:avLst/>
            <a:gdLst/>
            <a:ahLst/>
            <a:cxnLst/>
            <a:rect l="l" t="t" r="r" b="b"/>
            <a:pathLst>
              <a:path w="2689412" h="4277395">
                <a:moveTo>
                  <a:pt x="2689413" y="0"/>
                </a:moveTo>
                <a:lnTo>
                  <a:pt x="0" y="0"/>
                </a:lnTo>
                <a:lnTo>
                  <a:pt x="0" y="4277395"/>
                </a:lnTo>
                <a:lnTo>
                  <a:pt x="2689413" y="4277395"/>
                </a:lnTo>
                <a:lnTo>
                  <a:pt x="2689413" y="0"/>
                </a:lnTo>
                <a:close/>
              </a:path>
            </a:pathLst>
          </a:custGeom>
          <a:blipFill>
            <a:blip r:embed="rId13" cstate="email">
              <a:extLst>
                <a:ext uri="{28A0092B-C50C-407E-A947-70E740481C1C}">
                  <a14:useLocalDpi xmlns:a14="http://schemas.microsoft.com/office/drawing/2010/main"/>
                </a:ext>
              </a:extLst>
            </a:blip>
            <a:stretch>
              <a:fillRect/>
            </a:stretch>
          </a:blipFill>
        </p:spPr>
      </p:sp>
      <p:sp>
        <p:nvSpPr>
          <p:cNvPr id="34" name="TextBox 34"/>
          <p:cNvSpPr txBox="1"/>
          <p:nvPr/>
        </p:nvSpPr>
        <p:spPr>
          <a:xfrm>
            <a:off x="6772141" y="3385911"/>
            <a:ext cx="4734059" cy="762003"/>
          </a:xfrm>
          <a:prstGeom prst="rect">
            <a:avLst/>
          </a:prstGeom>
        </p:spPr>
        <p:txBody>
          <a:bodyPr lIns="0" tIns="0" rIns="0" bIns="0" rtlCol="0" anchor="t">
            <a:spAutoFit/>
          </a:bodyPr>
          <a:lstStyle/>
          <a:p>
            <a:pPr algn="ctr" defTabSz="609630">
              <a:lnSpc>
                <a:spcPts val="2716"/>
              </a:lnSpc>
              <a:buClrTx/>
            </a:pPr>
            <a:endParaRPr sz="1200" kern="1200">
              <a:solidFill>
                <a:prstClr val="black"/>
              </a:solidFill>
              <a:latin typeface="Calibri"/>
              <a:ea typeface="+mn-ea"/>
              <a:cs typeface="+mn-cs"/>
            </a:endParaRPr>
          </a:p>
          <a:p>
            <a:pPr algn="ctr" defTabSz="609630">
              <a:lnSpc>
                <a:spcPts val="3880"/>
              </a:lnSpc>
              <a:buClrTx/>
            </a:pPr>
            <a:endParaRPr sz="1200" kern="1200">
              <a:solidFill>
                <a:prstClr val="black"/>
              </a:solidFill>
              <a:latin typeface="Calibri"/>
              <a:ea typeface="+mn-ea"/>
              <a:cs typeface="+mn-cs"/>
            </a:endParaRPr>
          </a:p>
        </p:txBody>
      </p:sp>
      <p:sp>
        <p:nvSpPr>
          <p:cNvPr id="35" name="TextBox 35"/>
          <p:cNvSpPr txBox="1"/>
          <p:nvPr/>
        </p:nvSpPr>
        <p:spPr>
          <a:xfrm>
            <a:off x="6583673" y="288359"/>
            <a:ext cx="4734059" cy="572464"/>
          </a:xfrm>
          <a:prstGeom prst="rect">
            <a:avLst/>
          </a:prstGeom>
        </p:spPr>
        <p:txBody>
          <a:bodyPr lIns="0" tIns="0" rIns="0" bIns="0" rtlCol="0" anchor="t">
            <a:spAutoFit/>
          </a:bodyPr>
          <a:lstStyle/>
          <a:p>
            <a:pPr algn="ctr" defTabSz="609630">
              <a:lnSpc>
                <a:spcPts val="4853"/>
              </a:lnSpc>
              <a:buClrTx/>
            </a:pPr>
            <a:r>
              <a:rPr lang="en-US" sz="3466" kern="1200">
                <a:latin typeface="Canva Sans Bold"/>
                <a:ea typeface="+mn-ea"/>
                <a:cs typeface="+mn-cs"/>
              </a:rPr>
              <a:t>Doula Career Fields</a:t>
            </a:r>
          </a:p>
        </p:txBody>
      </p:sp>
      <p:sp>
        <p:nvSpPr>
          <p:cNvPr id="36" name="TextBox 36"/>
          <p:cNvSpPr txBox="1"/>
          <p:nvPr/>
        </p:nvSpPr>
        <p:spPr>
          <a:xfrm>
            <a:off x="6583673" y="1444751"/>
            <a:ext cx="5608327" cy="3714350"/>
          </a:xfrm>
          <a:prstGeom prst="rect">
            <a:avLst/>
          </a:prstGeom>
        </p:spPr>
        <p:txBody>
          <a:bodyPr lIns="0" tIns="0" rIns="0" bIns="0" rtlCol="0" anchor="t">
            <a:spAutoFit/>
          </a:bodyPr>
          <a:lstStyle/>
          <a:p>
            <a:pPr marL="748490" lvl="1" indent="-374245" algn="ctr" defTabSz="609630">
              <a:lnSpc>
                <a:spcPts val="4853"/>
              </a:lnSpc>
              <a:buClrTx/>
              <a:buFont typeface="Arial"/>
              <a:buChar char="•"/>
            </a:pPr>
            <a:r>
              <a:rPr lang="en-US" sz="3466" kern="1200">
                <a:latin typeface="Canva Sans Bold"/>
                <a:ea typeface="+mn-ea"/>
                <a:cs typeface="+mn-cs"/>
              </a:rPr>
              <a:t>Pregnancy &amp; Birth Doulas</a:t>
            </a:r>
          </a:p>
          <a:p>
            <a:pPr marL="748490" lvl="1" indent="-374245" algn="ctr" defTabSz="609630">
              <a:lnSpc>
                <a:spcPts val="4853"/>
              </a:lnSpc>
              <a:buClrTx/>
              <a:buFont typeface="Arial"/>
              <a:buChar char="•"/>
            </a:pPr>
            <a:r>
              <a:rPr lang="en-US" sz="3466" kern="1200">
                <a:latin typeface="Canva Sans Bold"/>
                <a:ea typeface="+mn-ea"/>
                <a:cs typeface="+mn-cs"/>
              </a:rPr>
              <a:t>Fertility Doulas</a:t>
            </a:r>
          </a:p>
          <a:p>
            <a:pPr marL="748490" lvl="1" indent="-374245" algn="ctr" defTabSz="609630">
              <a:lnSpc>
                <a:spcPts val="4853"/>
              </a:lnSpc>
              <a:buClrTx/>
              <a:buFont typeface="Arial"/>
              <a:buChar char="•"/>
            </a:pPr>
            <a:r>
              <a:rPr lang="en-US" sz="3466" kern="1200">
                <a:latin typeface="Canva Sans Bold"/>
                <a:ea typeface="+mn-ea"/>
                <a:cs typeface="+mn-cs"/>
              </a:rPr>
              <a:t>Loss/ abortion/adoption </a:t>
            </a:r>
          </a:p>
          <a:p>
            <a:pPr marL="748490" lvl="1" indent="-374245" algn="ctr" defTabSz="609630">
              <a:lnSpc>
                <a:spcPts val="4853"/>
              </a:lnSpc>
              <a:buClrTx/>
              <a:buFont typeface="Arial"/>
              <a:buChar char="•"/>
            </a:pPr>
            <a:r>
              <a:rPr lang="en-US" sz="3466" kern="1200">
                <a:latin typeface="Canva Sans Bold"/>
                <a:ea typeface="+mn-ea"/>
                <a:cs typeface="+mn-cs"/>
              </a:rPr>
              <a:t>Death Doulas</a:t>
            </a:r>
          </a:p>
          <a:p>
            <a:pPr marL="748490" lvl="1" indent="-374245" algn="ctr" defTabSz="609630">
              <a:lnSpc>
                <a:spcPts val="4853"/>
              </a:lnSpc>
              <a:buClrTx/>
              <a:buFont typeface="Arial"/>
              <a:buChar char="•"/>
            </a:pPr>
            <a:r>
              <a:rPr lang="en-US" sz="3466" kern="1200">
                <a:latin typeface="Canva Sans Bold"/>
                <a:ea typeface="+mn-ea"/>
                <a:cs typeface="+mn-cs"/>
              </a:rPr>
              <a:t>Full Spectrum Doula</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4663259">
            <a:off x="-4882967" y="-310730"/>
            <a:ext cx="7455585" cy="3746431"/>
          </a:xfrm>
          <a:custGeom>
            <a:avLst/>
            <a:gdLst/>
            <a:ahLst/>
            <a:cxnLst/>
            <a:rect l="l" t="t" r="r" b="b"/>
            <a:pathLst>
              <a:path w="11183377" h="5619647">
                <a:moveTo>
                  <a:pt x="0" y="0"/>
                </a:moveTo>
                <a:lnTo>
                  <a:pt x="11183377" y="0"/>
                </a:lnTo>
                <a:lnTo>
                  <a:pt x="11183377" y="5619648"/>
                </a:lnTo>
                <a:lnTo>
                  <a:pt x="0" y="561964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 name="Freeform 4"/>
          <p:cNvSpPr/>
          <p:nvPr/>
        </p:nvSpPr>
        <p:spPr>
          <a:xfrm rot="-4663259">
            <a:off x="-5089343" y="-310730"/>
            <a:ext cx="7455585" cy="3746431"/>
          </a:xfrm>
          <a:custGeom>
            <a:avLst/>
            <a:gdLst/>
            <a:ahLst/>
            <a:cxnLst/>
            <a:rect l="l" t="t" r="r" b="b"/>
            <a:pathLst>
              <a:path w="11183377" h="5619647">
                <a:moveTo>
                  <a:pt x="0" y="0"/>
                </a:moveTo>
                <a:lnTo>
                  <a:pt x="11183377" y="0"/>
                </a:lnTo>
                <a:lnTo>
                  <a:pt x="11183377" y="5619648"/>
                </a:lnTo>
                <a:lnTo>
                  <a:pt x="0" y="561964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5" name="Freeform 5"/>
          <p:cNvSpPr/>
          <p:nvPr/>
        </p:nvSpPr>
        <p:spPr>
          <a:xfrm rot="-5021392">
            <a:off x="-4157050" y="1905756"/>
            <a:ext cx="6989852" cy="2490135"/>
          </a:xfrm>
          <a:custGeom>
            <a:avLst/>
            <a:gdLst/>
            <a:ahLst/>
            <a:cxnLst/>
            <a:rect l="l" t="t" r="r" b="b"/>
            <a:pathLst>
              <a:path w="10484778" h="3735202">
                <a:moveTo>
                  <a:pt x="0" y="0"/>
                </a:moveTo>
                <a:lnTo>
                  <a:pt x="10484778" y="0"/>
                </a:lnTo>
                <a:lnTo>
                  <a:pt x="10484778" y="3735202"/>
                </a:lnTo>
                <a:lnTo>
                  <a:pt x="0" y="3735202"/>
                </a:lnTo>
                <a:lnTo>
                  <a:pt x="0" y="0"/>
                </a:lnTo>
                <a:close/>
              </a:path>
            </a:pathLst>
          </a:custGeom>
          <a:blipFill>
            <a:blip r:embed="rId4" cstate="email">
              <a:alphaModFix amt="80000"/>
              <a:extLst>
                <a:ext uri="{28A0092B-C50C-407E-A947-70E740481C1C}">
                  <a14:useLocalDpi xmlns:a14="http://schemas.microsoft.com/office/drawing/2010/main"/>
                </a:ext>
              </a:extLst>
            </a:blip>
            <a:stretch>
              <a:fillRect/>
            </a:stretch>
          </a:blipFill>
        </p:spPr>
      </p:sp>
      <p:sp>
        <p:nvSpPr>
          <p:cNvPr id="6" name="Freeform 6"/>
          <p:cNvSpPr/>
          <p:nvPr/>
        </p:nvSpPr>
        <p:spPr>
          <a:xfrm rot="-4663259">
            <a:off x="1006658" y="-310730"/>
            <a:ext cx="7455585" cy="3746431"/>
          </a:xfrm>
          <a:custGeom>
            <a:avLst/>
            <a:gdLst/>
            <a:ahLst/>
            <a:cxnLst/>
            <a:rect l="l" t="t" r="r" b="b"/>
            <a:pathLst>
              <a:path w="11183377" h="5619647">
                <a:moveTo>
                  <a:pt x="0" y="0"/>
                </a:moveTo>
                <a:lnTo>
                  <a:pt x="11183377" y="0"/>
                </a:lnTo>
                <a:lnTo>
                  <a:pt x="11183377" y="5619648"/>
                </a:lnTo>
                <a:lnTo>
                  <a:pt x="0" y="561964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grpSp>
        <p:nvGrpSpPr>
          <p:cNvPr id="7" name="Group 7"/>
          <p:cNvGrpSpPr>
            <a:grpSpLocks noChangeAspect="1"/>
          </p:cNvGrpSpPr>
          <p:nvPr/>
        </p:nvGrpSpPr>
        <p:grpSpPr>
          <a:xfrm rot="441375">
            <a:off x="973025" y="-801409"/>
            <a:ext cx="4507879" cy="7025488"/>
            <a:chOff x="0" y="0"/>
            <a:chExt cx="3365500" cy="5245100"/>
          </a:xfrm>
        </p:grpSpPr>
        <p:sp>
          <p:nvSpPr>
            <p:cNvPr id="8" name="Freeform 8"/>
            <p:cNvSpPr/>
            <p:nvPr/>
          </p:nvSpPr>
          <p:spPr>
            <a:xfrm>
              <a:off x="0" y="0"/>
              <a:ext cx="3352800" cy="5219700"/>
            </a:xfrm>
            <a:custGeom>
              <a:avLst/>
              <a:gdLst/>
              <a:ahLst/>
              <a:cxnLst/>
              <a:rect l="l" t="t" r="r" b="b"/>
              <a:pathLst>
                <a:path w="3352800" h="5219700">
                  <a:moveTo>
                    <a:pt x="3352800" y="5143500"/>
                  </a:moveTo>
                  <a:cubicBezTo>
                    <a:pt x="3352800" y="5143500"/>
                    <a:pt x="3302000" y="5143500"/>
                    <a:pt x="3263900" y="5130800"/>
                  </a:cubicBezTo>
                  <a:cubicBezTo>
                    <a:pt x="3225800" y="5118100"/>
                    <a:pt x="3136900" y="5143500"/>
                    <a:pt x="3136900" y="5143500"/>
                  </a:cubicBezTo>
                  <a:lnTo>
                    <a:pt x="3009900" y="5156200"/>
                  </a:lnTo>
                  <a:cubicBezTo>
                    <a:pt x="2984500" y="5168900"/>
                    <a:pt x="2895600" y="5130800"/>
                    <a:pt x="2895600" y="5130800"/>
                  </a:cubicBezTo>
                  <a:cubicBezTo>
                    <a:pt x="2819400" y="5118100"/>
                    <a:pt x="2819400" y="5080000"/>
                    <a:pt x="2819400" y="5080000"/>
                  </a:cubicBezTo>
                  <a:cubicBezTo>
                    <a:pt x="2781300" y="5003800"/>
                    <a:pt x="2705100" y="5003800"/>
                    <a:pt x="2705100" y="5003800"/>
                  </a:cubicBezTo>
                  <a:lnTo>
                    <a:pt x="2603500" y="4965700"/>
                  </a:lnTo>
                  <a:cubicBezTo>
                    <a:pt x="2552700" y="4927600"/>
                    <a:pt x="2527300" y="4927600"/>
                    <a:pt x="2527300" y="4927600"/>
                  </a:cubicBezTo>
                  <a:cubicBezTo>
                    <a:pt x="2451100" y="4914900"/>
                    <a:pt x="2349500" y="4965700"/>
                    <a:pt x="2349500" y="4965700"/>
                  </a:cubicBezTo>
                  <a:cubicBezTo>
                    <a:pt x="2311400" y="4978400"/>
                    <a:pt x="2209800" y="4965700"/>
                    <a:pt x="2209800" y="4965700"/>
                  </a:cubicBezTo>
                  <a:cubicBezTo>
                    <a:pt x="2108200" y="4953000"/>
                    <a:pt x="1993900" y="5067300"/>
                    <a:pt x="1993900" y="5067300"/>
                  </a:cubicBezTo>
                  <a:lnTo>
                    <a:pt x="1828800" y="5156200"/>
                  </a:lnTo>
                  <a:cubicBezTo>
                    <a:pt x="1790700" y="5181600"/>
                    <a:pt x="1727200" y="5168900"/>
                    <a:pt x="1727200" y="5168900"/>
                  </a:cubicBezTo>
                  <a:cubicBezTo>
                    <a:pt x="1663700" y="5168900"/>
                    <a:pt x="1587500" y="5194300"/>
                    <a:pt x="1587500" y="5194300"/>
                  </a:cubicBezTo>
                  <a:lnTo>
                    <a:pt x="1371600" y="5219700"/>
                  </a:lnTo>
                  <a:cubicBezTo>
                    <a:pt x="1371600" y="5219700"/>
                    <a:pt x="1257300" y="5207000"/>
                    <a:pt x="1244600" y="5194300"/>
                  </a:cubicBezTo>
                  <a:cubicBezTo>
                    <a:pt x="1231900" y="5181600"/>
                    <a:pt x="1168400" y="5194300"/>
                    <a:pt x="1168400" y="5194300"/>
                  </a:cubicBezTo>
                  <a:lnTo>
                    <a:pt x="1066800" y="5181600"/>
                  </a:lnTo>
                  <a:lnTo>
                    <a:pt x="1016000" y="5143500"/>
                  </a:lnTo>
                  <a:lnTo>
                    <a:pt x="876300" y="5080000"/>
                  </a:lnTo>
                  <a:lnTo>
                    <a:pt x="673100" y="5041900"/>
                  </a:lnTo>
                  <a:lnTo>
                    <a:pt x="571500" y="5029200"/>
                  </a:lnTo>
                  <a:lnTo>
                    <a:pt x="431800" y="5016500"/>
                  </a:lnTo>
                  <a:lnTo>
                    <a:pt x="393700" y="4978400"/>
                  </a:lnTo>
                  <a:lnTo>
                    <a:pt x="317500" y="4965700"/>
                  </a:lnTo>
                  <a:lnTo>
                    <a:pt x="177800" y="4914900"/>
                  </a:lnTo>
                  <a:lnTo>
                    <a:pt x="88900" y="4876800"/>
                  </a:lnTo>
                  <a:lnTo>
                    <a:pt x="0" y="4787900"/>
                  </a:lnTo>
                  <a:lnTo>
                    <a:pt x="0" y="101600"/>
                  </a:lnTo>
                  <a:lnTo>
                    <a:pt x="76200" y="127000"/>
                  </a:lnTo>
                  <a:cubicBezTo>
                    <a:pt x="76200" y="127000"/>
                    <a:pt x="152400" y="152400"/>
                    <a:pt x="177800" y="152400"/>
                  </a:cubicBezTo>
                  <a:cubicBezTo>
                    <a:pt x="203200" y="152400"/>
                    <a:pt x="317500" y="114300"/>
                    <a:pt x="317500" y="114300"/>
                  </a:cubicBezTo>
                  <a:cubicBezTo>
                    <a:pt x="368300" y="88900"/>
                    <a:pt x="419100" y="76200"/>
                    <a:pt x="419100" y="76200"/>
                  </a:cubicBezTo>
                  <a:lnTo>
                    <a:pt x="609600" y="63500"/>
                  </a:lnTo>
                  <a:cubicBezTo>
                    <a:pt x="635000" y="50800"/>
                    <a:pt x="723900" y="38100"/>
                    <a:pt x="723900" y="38100"/>
                  </a:cubicBezTo>
                  <a:lnTo>
                    <a:pt x="889000" y="25400"/>
                  </a:lnTo>
                  <a:cubicBezTo>
                    <a:pt x="990600" y="0"/>
                    <a:pt x="1168400" y="88900"/>
                    <a:pt x="1168400" y="88900"/>
                  </a:cubicBezTo>
                  <a:cubicBezTo>
                    <a:pt x="1257300" y="139700"/>
                    <a:pt x="1308100" y="139700"/>
                    <a:pt x="1333500" y="127000"/>
                  </a:cubicBezTo>
                  <a:cubicBezTo>
                    <a:pt x="1358900" y="114300"/>
                    <a:pt x="1473200" y="127000"/>
                    <a:pt x="1511300" y="139700"/>
                  </a:cubicBezTo>
                  <a:cubicBezTo>
                    <a:pt x="1549400" y="152400"/>
                    <a:pt x="1676400" y="127000"/>
                    <a:pt x="1714500" y="114300"/>
                  </a:cubicBezTo>
                  <a:cubicBezTo>
                    <a:pt x="1752600" y="101600"/>
                    <a:pt x="1841500" y="127000"/>
                    <a:pt x="1841500" y="127000"/>
                  </a:cubicBezTo>
                  <a:lnTo>
                    <a:pt x="1930400" y="165100"/>
                  </a:lnTo>
                  <a:cubicBezTo>
                    <a:pt x="1943100" y="190500"/>
                    <a:pt x="2120900" y="203200"/>
                    <a:pt x="2120900" y="203200"/>
                  </a:cubicBezTo>
                  <a:cubicBezTo>
                    <a:pt x="2159000" y="228600"/>
                    <a:pt x="2247900" y="203200"/>
                    <a:pt x="2247900" y="203200"/>
                  </a:cubicBezTo>
                  <a:cubicBezTo>
                    <a:pt x="2374900" y="228600"/>
                    <a:pt x="2438400" y="215900"/>
                    <a:pt x="2501900" y="177800"/>
                  </a:cubicBezTo>
                  <a:cubicBezTo>
                    <a:pt x="2565400" y="139700"/>
                    <a:pt x="2667000" y="177800"/>
                    <a:pt x="2667000" y="177800"/>
                  </a:cubicBezTo>
                  <a:cubicBezTo>
                    <a:pt x="2667000" y="177800"/>
                    <a:pt x="2743200" y="190500"/>
                    <a:pt x="2844800" y="190500"/>
                  </a:cubicBezTo>
                  <a:cubicBezTo>
                    <a:pt x="2946400" y="190500"/>
                    <a:pt x="3022600" y="241300"/>
                    <a:pt x="3035300" y="254000"/>
                  </a:cubicBezTo>
                  <a:cubicBezTo>
                    <a:pt x="3048000" y="266700"/>
                    <a:pt x="3111500" y="241300"/>
                    <a:pt x="3124200" y="241300"/>
                  </a:cubicBezTo>
                  <a:cubicBezTo>
                    <a:pt x="3136900" y="241300"/>
                    <a:pt x="3200400" y="254000"/>
                    <a:pt x="3238500" y="241300"/>
                  </a:cubicBezTo>
                  <a:cubicBezTo>
                    <a:pt x="3276600" y="228600"/>
                    <a:pt x="3352800" y="241300"/>
                    <a:pt x="3352800" y="241300"/>
                  </a:cubicBezTo>
                  <a:lnTo>
                    <a:pt x="3352800" y="5143500"/>
                  </a:lnTo>
                  <a:close/>
                </a:path>
              </a:pathLst>
            </a:custGeom>
            <a:blipFill>
              <a:blip r:embed="rId5" cstate="email">
                <a:extLst>
                  <a:ext uri="{28A0092B-C50C-407E-A947-70E740481C1C}">
                    <a14:useLocalDpi xmlns:a14="http://schemas.microsoft.com/office/drawing/2010/main"/>
                  </a:ext>
                </a:extLst>
              </a:blip>
              <a:stretch>
                <a:fillRect/>
              </a:stretch>
            </a:blipFill>
          </p:spPr>
        </p:sp>
        <p:sp>
          <p:nvSpPr>
            <p:cNvPr id="9" name="Freeform 9"/>
            <p:cNvSpPr/>
            <p:nvPr/>
          </p:nvSpPr>
          <p:spPr>
            <a:xfrm>
              <a:off x="0" y="0"/>
              <a:ext cx="3352800" cy="292100"/>
            </a:xfrm>
            <a:custGeom>
              <a:avLst/>
              <a:gdLst/>
              <a:ahLst/>
              <a:cxnLst/>
              <a:rect l="l" t="t" r="r" b="b"/>
              <a:pathLst>
                <a:path w="3352800" h="292100">
                  <a:moveTo>
                    <a:pt x="3352800" y="292100"/>
                  </a:moveTo>
                  <a:lnTo>
                    <a:pt x="0" y="292100"/>
                  </a:lnTo>
                  <a:lnTo>
                    <a:pt x="0" y="0"/>
                  </a:lnTo>
                  <a:lnTo>
                    <a:pt x="3352800" y="0"/>
                  </a:lnTo>
                  <a:lnTo>
                    <a:pt x="3352800" y="292100"/>
                  </a:lnTo>
                  <a:close/>
                </a:path>
              </a:pathLst>
            </a:custGeom>
            <a:blipFill>
              <a:blip r:embed="rId6" cstate="email">
                <a:extLst>
                  <a:ext uri="{28A0092B-C50C-407E-A947-70E740481C1C}">
                    <a14:useLocalDpi xmlns:a14="http://schemas.microsoft.com/office/drawing/2010/main"/>
                  </a:ext>
                </a:extLst>
              </a:blip>
              <a:stretch>
                <a:fillRect/>
              </a:stretch>
            </a:blipFill>
          </p:spPr>
        </p:sp>
        <p:sp>
          <p:nvSpPr>
            <p:cNvPr id="10" name="Freeform 10"/>
            <p:cNvSpPr/>
            <p:nvPr/>
          </p:nvSpPr>
          <p:spPr>
            <a:xfrm>
              <a:off x="0" y="4775200"/>
              <a:ext cx="3365500" cy="469900"/>
            </a:xfrm>
            <a:custGeom>
              <a:avLst/>
              <a:gdLst/>
              <a:ahLst/>
              <a:cxnLst/>
              <a:rect l="l" t="t" r="r" b="b"/>
              <a:pathLst>
                <a:path w="3365500" h="469900">
                  <a:moveTo>
                    <a:pt x="3365500" y="469900"/>
                  </a:moveTo>
                  <a:lnTo>
                    <a:pt x="0" y="469900"/>
                  </a:lnTo>
                  <a:lnTo>
                    <a:pt x="0" y="0"/>
                  </a:lnTo>
                  <a:lnTo>
                    <a:pt x="3365500" y="0"/>
                  </a:lnTo>
                  <a:lnTo>
                    <a:pt x="3365500" y="469900"/>
                  </a:lnTo>
                  <a:close/>
                </a:path>
              </a:pathLst>
            </a:custGeom>
            <a:blipFill>
              <a:blip r:embed="rId7" cstate="email">
                <a:extLst>
                  <a:ext uri="{28A0092B-C50C-407E-A947-70E740481C1C}">
                    <a14:useLocalDpi xmlns:a14="http://schemas.microsoft.com/office/drawing/2010/main"/>
                  </a:ext>
                </a:extLst>
              </a:blip>
              <a:stretch>
                <a:fillRect/>
              </a:stretch>
            </a:blipFill>
          </p:spPr>
        </p:sp>
      </p:grpSp>
      <p:sp>
        <p:nvSpPr>
          <p:cNvPr id="11" name="Freeform 11"/>
          <p:cNvSpPr/>
          <p:nvPr/>
        </p:nvSpPr>
        <p:spPr>
          <a:xfrm rot="4987712" flipH="1">
            <a:off x="9353271" y="1755307"/>
            <a:ext cx="6989852" cy="2490135"/>
          </a:xfrm>
          <a:custGeom>
            <a:avLst/>
            <a:gdLst/>
            <a:ahLst/>
            <a:cxnLst/>
            <a:rect l="l" t="t" r="r" b="b"/>
            <a:pathLst>
              <a:path w="10484778" h="3735202">
                <a:moveTo>
                  <a:pt x="10484778" y="0"/>
                </a:moveTo>
                <a:lnTo>
                  <a:pt x="0" y="0"/>
                </a:lnTo>
                <a:lnTo>
                  <a:pt x="0" y="3735203"/>
                </a:lnTo>
                <a:lnTo>
                  <a:pt x="10484778" y="3735203"/>
                </a:lnTo>
                <a:lnTo>
                  <a:pt x="10484778" y="0"/>
                </a:lnTo>
                <a:close/>
              </a:path>
            </a:pathLst>
          </a:custGeom>
          <a:blipFill>
            <a:blip r:embed="rId4" cstate="email">
              <a:alphaModFix amt="80000"/>
              <a:extLst>
                <a:ext uri="{28A0092B-C50C-407E-A947-70E740481C1C}">
                  <a14:useLocalDpi xmlns:a14="http://schemas.microsoft.com/office/drawing/2010/main"/>
                </a:ext>
              </a:extLst>
            </a:blip>
            <a:stretch>
              <a:fillRect/>
            </a:stretch>
          </a:blipFill>
        </p:spPr>
      </p:sp>
      <p:sp>
        <p:nvSpPr>
          <p:cNvPr id="12" name="Freeform 12"/>
          <p:cNvSpPr/>
          <p:nvPr/>
        </p:nvSpPr>
        <p:spPr>
          <a:xfrm rot="-1838137">
            <a:off x="4715933" y="3746214"/>
            <a:ext cx="1636905" cy="2640129"/>
          </a:xfrm>
          <a:custGeom>
            <a:avLst/>
            <a:gdLst/>
            <a:ahLst/>
            <a:cxnLst/>
            <a:rect l="l" t="t" r="r" b="b"/>
            <a:pathLst>
              <a:path w="2455358" h="3960194">
                <a:moveTo>
                  <a:pt x="0" y="0"/>
                </a:moveTo>
                <a:lnTo>
                  <a:pt x="2455358" y="0"/>
                </a:lnTo>
                <a:lnTo>
                  <a:pt x="2455358" y="3960195"/>
                </a:lnTo>
                <a:lnTo>
                  <a:pt x="0" y="3960195"/>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13" name="Freeform 13"/>
          <p:cNvSpPr/>
          <p:nvPr/>
        </p:nvSpPr>
        <p:spPr>
          <a:xfrm rot="-6189069">
            <a:off x="6659343" y="5792623"/>
            <a:ext cx="1396538" cy="2743200"/>
          </a:xfrm>
          <a:custGeom>
            <a:avLst/>
            <a:gdLst/>
            <a:ahLst/>
            <a:cxnLst/>
            <a:rect l="l" t="t" r="r" b="b"/>
            <a:pathLst>
              <a:path w="2094807" h="4114800">
                <a:moveTo>
                  <a:pt x="0" y="0"/>
                </a:moveTo>
                <a:lnTo>
                  <a:pt x="2094808" y="0"/>
                </a:lnTo>
                <a:lnTo>
                  <a:pt x="2094808" y="4114800"/>
                </a:lnTo>
                <a:lnTo>
                  <a:pt x="0" y="4114800"/>
                </a:lnTo>
                <a:lnTo>
                  <a:pt x="0" y="0"/>
                </a:lnTo>
                <a:close/>
              </a:path>
            </a:pathLst>
          </a:custGeom>
          <a:blipFill>
            <a:blip r:embed="rId9">
              <a:alphaModFix amt="6999"/>
              <a:extLst>
                <a:ext uri="{96DAC541-7B7A-43D3-8B79-37D633B846F1}">
                  <asvg:svgBlip xmlns:asvg="http://schemas.microsoft.com/office/drawing/2016/SVG/main" r:embed="rId10"/>
                </a:ext>
              </a:extLst>
            </a:blip>
            <a:stretch>
              <a:fillRect/>
            </a:stretch>
          </a:blipFill>
        </p:spPr>
      </p:sp>
      <p:sp>
        <p:nvSpPr>
          <p:cNvPr id="14" name="Freeform 14"/>
          <p:cNvSpPr/>
          <p:nvPr/>
        </p:nvSpPr>
        <p:spPr>
          <a:xfrm>
            <a:off x="9653775" y="5665983"/>
            <a:ext cx="2236651" cy="1635551"/>
          </a:xfrm>
          <a:custGeom>
            <a:avLst/>
            <a:gdLst/>
            <a:ahLst/>
            <a:cxnLst/>
            <a:rect l="l" t="t" r="r" b="b"/>
            <a:pathLst>
              <a:path w="3354977" h="2453327">
                <a:moveTo>
                  <a:pt x="0" y="0"/>
                </a:moveTo>
                <a:lnTo>
                  <a:pt x="3354976" y="0"/>
                </a:lnTo>
                <a:lnTo>
                  <a:pt x="3354976" y="2453326"/>
                </a:lnTo>
                <a:lnTo>
                  <a:pt x="0" y="2453326"/>
                </a:lnTo>
                <a:lnTo>
                  <a:pt x="0" y="0"/>
                </a:lnTo>
                <a:close/>
              </a:path>
            </a:pathLst>
          </a:custGeom>
          <a:blipFill>
            <a:blip r:embed="rId11" cstate="email">
              <a:alphaModFix amt="42000"/>
              <a:extLst>
                <a:ext uri="{28A0092B-C50C-407E-A947-70E740481C1C}">
                  <a14:useLocalDpi xmlns:a14="http://schemas.microsoft.com/office/drawing/2010/main"/>
                </a:ext>
              </a:extLst>
            </a:blip>
            <a:stretch>
              <a:fillRect/>
            </a:stretch>
          </a:blipFill>
        </p:spPr>
      </p:sp>
      <p:sp>
        <p:nvSpPr>
          <p:cNvPr id="15" name="TextBox 15"/>
          <p:cNvSpPr txBox="1"/>
          <p:nvPr/>
        </p:nvSpPr>
        <p:spPr>
          <a:xfrm>
            <a:off x="6772141" y="1139747"/>
            <a:ext cx="5118285" cy="5400966"/>
          </a:xfrm>
          <a:prstGeom prst="rect">
            <a:avLst/>
          </a:prstGeom>
        </p:spPr>
        <p:txBody>
          <a:bodyPr lIns="0" tIns="0" rIns="0" bIns="0" rtlCol="0" anchor="t">
            <a:spAutoFit/>
          </a:bodyPr>
          <a:lstStyle/>
          <a:p>
            <a:pPr algn="ctr" defTabSz="609630">
              <a:lnSpc>
                <a:spcPts val="3508"/>
              </a:lnSpc>
              <a:buClrTx/>
            </a:pPr>
            <a:r>
              <a:rPr lang="en-US" sz="3617" kern="1200">
                <a:latin typeface="EB Garamond"/>
                <a:ea typeface="+mn-ea"/>
                <a:cs typeface="+mn-cs"/>
              </a:rPr>
              <a:t>A doula is a trained companion who is not a healthcare professional and who supports another individual through a significant health-related experience, such as childbirth, miscarriage, induced abortion or stillbirth, or non-reproductive experiences such as dying.</a:t>
            </a:r>
          </a:p>
        </p:txBody>
      </p:sp>
      <p:sp>
        <p:nvSpPr>
          <p:cNvPr id="16" name="Freeform 16"/>
          <p:cNvSpPr/>
          <p:nvPr/>
        </p:nvSpPr>
        <p:spPr>
          <a:xfrm rot="-4116916">
            <a:off x="10014828" y="-238740"/>
            <a:ext cx="1366150" cy="1707687"/>
          </a:xfrm>
          <a:custGeom>
            <a:avLst/>
            <a:gdLst/>
            <a:ahLst/>
            <a:cxnLst/>
            <a:rect l="l" t="t" r="r" b="b"/>
            <a:pathLst>
              <a:path w="2049225" h="2561531">
                <a:moveTo>
                  <a:pt x="0" y="0"/>
                </a:moveTo>
                <a:lnTo>
                  <a:pt x="2049225" y="0"/>
                </a:lnTo>
                <a:lnTo>
                  <a:pt x="2049225" y="2561531"/>
                </a:lnTo>
                <a:lnTo>
                  <a:pt x="0" y="2561531"/>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17" name="TextBox 17"/>
          <p:cNvSpPr txBox="1"/>
          <p:nvPr/>
        </p:nvSpPr>
        <p:spPr>
          <a:xfrm>
            <a:off x="4948039" y="439131"/>
            <a:ext cx="5235259" cy="597536"/>
          </a:xfrm>
          <a:prstGeom prst="rect">
            <a:avLst/>
          </a:prstGeom>
        </p:spPr>
        <p:txBody>
          <a:bodyPr lIns="0" tIns="0" rIns="0" bIns="0" rtlCol="0" anchor="t">
            <a:spAutoFit/>
          </a:bodyPr>
          <a:lstStyle/>
          <a:p>
            <a:pPr algn="ctr" defTabSz="609630">
              <a:lnSpc>
                <a:spcPts val="5133"/>
              </a:lnSpc>
              <a:buClrTx/>
            </a:pPr>
            <a:r>
              <a:rPr lang="en-US" sz="3666" kern="1200">
                <a:latin typeface="Canva Sans Bold"/>
                <a:ea typeface="+mn-ea"/>
                <a:cs typeface="+mn-cs"/>
              </a:rPr>
              <a:t>What is a Doula</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p:cNvGrpSpPr/>
        <p:nvPr/>
      </p:nvGrpSpPr>
      <p:grpSpPr>
        <a:xfrm>
          <a:off x="0" y="0"/>
          <a:ext cx="0" cy="0"/>
          <a:chOff x="0" y="0"/>
          <a:chExt cx="0" cy="0"/>
        </a:xfrm>
      </p:grpSpPr>
      <p:sp>
        <p:nvSpPr>
          <p:cNvPr id="2" name="Freeform 2"/>
          <p:cNvSpPr/>
          <p:nvPr/>
        </p:nvSpPr>
        <p:spPr>
          <a:xfrm>
            <a:off x="1336674" y="1550229"/>
            <a:ext cx="3027790" cy="1416510"/>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grpSp>
        <p:nvGrpSpPr>
          <p:cNvPr id="3" name="Group 3"/>
          <p:cNvGrpSpPr/>
          <p:nvPr/>
        </p:nvGrpSpPr>
        <p:grpSpPr>
          <a:xfrm>
            <a:off x="238317" y="3188989"/>
            <a:ext cx="5883121" cy="2700867"/>
            <a:chOff x="0" y="0"/>
            <a:chExt cx="2324196" cy="1067009"/>
          </a:xfrm>
        </p:grpSpPr>
        <p:sp>
          <p:nvSpPr>
            <p:cNvPr id="4" name="Freeform 4"/>
            <p:cNvSpPr/>
            <p:nvPr/>
          </p:nvSpPr>
          <p:spPr>
            <a:xfrm>
              <a:off x="0" y="0"/>
              <a:ext cx="2324196" cy="1067009"/>
            </a:xfrm>
            <a:custGeom>
              <a:avLst/>
              <a:gdLst/>
              <a:ahLst/>
              <a:cxnLst/>
              <a:rect l="l" t="t" r="r" b="b"/>
              <a:pathLst>
                <a:path w="2324196" h="1067009">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a:solidFill>
                <a:srgbClr val="144B90"/>
              </a:solidFill>
              <a:prstDash val="solid"/>
              <a:round/>
            </a:ln>
          </p:spPr>
        </p:sp>
        <p:sp>
          <p:nvSpPr>
            <p:cNvPr id="5" name="TextBox 5"/>
            <p:cNvSpPr txBox="1"/>
            <p:nvPr/>
          </p:nvSpPr>
          <p:spPr>
            <a:xfrm>
              <a:off x="0" y="-38100"/>
              <a:ext cx="2324196" cy="1105109"/>
            </a:xfrm>
            <a:prstGeom prst="rect">
              <a:avLst/>
            </a:prstGeom>
          </p:spPr>
          <p:txBody>
            <a:bodyPr lIns="33867" tIns="33867" rIns="33867" bIns="33867" rtlCol="0" anchor="ctr"/>
            <a:lstStyle/>
            <a:p>
              <a:pPr algn="ctr">
                <a:lnSpc>
                  <a:spcPts val="1773"/>
                </a:lnSpc>
              </a:pPr>
              <a:endParaRPr sz="800"/>
            </a:p>
          </p:txBody>
        </p:sp>
      </p:grpSp>
      <p:sp>
        <p:nvSpPr>
          <p:cNvPr id="6" name="Freeform 6"/>
          <p:cNvSpPr/>
          <p:nvPr/>
        </p:nvSpPr>
        <p:spPr>
          <a:xfrm flipH="1">
            <a:off x="6500845" y="3539704"/>
            <a:ext cx="5435579" cy="1983986"/>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sp>
      <p:sp>
        <p:nvSpPr>
          <p:cNvPr id="7" name="TextBox 7"/>
          <p:cNvSpPr txBox="1"/>
          <p:nvPr/>
        </p:nvSpPr>
        <p:spPr>
          <a:xfrm>
            <a:off x="4372039" y="1760750"/>
            <a:ext cx="7955264" cy="1103828"/>
          </a:xfrm>
          <a:prstGeom prst="rect">
            <a:avLst/>
          </a:prstGeom>
        </p:spPr>
        <p:txBody>
          <a:bodyPr lIns="0" tIns="0" rIns="0" bIns="0" rtlCol="0" anchor="t">
            <a:spAutoFit/>
          </a:bodyPr>
          <a:lstStyle/>
          <a:p>
            <a:pPr>
              <a:lnSpc>
                <a:spcPts val="4192"/>
              </a:lnSpc>
            </a:pPr>
            <a:r>
              <a:rPr lang="en-US" sz="4192" b="1" spc="318">
                <a:solidFill>
                  <a:srgbClr val="F3866A"/>
                </a:solidFill>
                <a:latin typeface="Prompt Bold"/>
              </a:rPr>
              <a:t>2024 OB &amp; Neonatal </a:t>
            </a:r>
          </a:p>
          <a:p>
            <a:pPr>
              <a:lnSpc>
                <a:spcPts val="4192"/>
              </a:lnSpc>
            </a:pPr>
            <a:r>
              <a:rPr lang="en-US" sz="4192" b="1" spc="318">
                <a:solidFill>
                  <a:srgbClr val="F3866A"/>
                </a:solidFill>
                <a:latin typeface="Prompt Bold"/>
              </a:rPr>
              <a:t>Face-to-Face Meetings</a:t>
            </a:r>
          </a:p>
        </p:txBody>
      </p:sp>
      <p:sp>
        <p:nvSpPr>
          <p:cNvPr id="8" name="TextBox 8"/>
          <p:cNvSpPr txBox="1"/>
          <p:nvPr/>
        </p:nvSpPr>
        <p:spPr>
          <a:xfrm>
            <a:off x="1336674" y="649404"/>
            <a:ext cx="9245237" cy="1143518"/>
          </a:xfrm>
          <a:prstGeom prst="rect">
            <a:avLst/>
          </a:prstGeom>
        </p:spPr>
        <p:txBody>
          <a:bodyPr lIns="0" tIns="0" rIns="0" bIns="0" rtlCol="0" anchor="t">
            <a:spAutoFit/>
          </a:bodyPr>
          <a:lstStyle/>
          <a:p>
            <a:pPr algn="ctr">
              <a:lnSpc>
                <a:spcPts val="8092"/>
              </a:lnSpc>
            </a:pPr>
            <a:r>
              <a:rPr lang="en-US" sz="9868" spc="957">
                <a:solidFill>
                  <a:srgbClr val="144B90"/>
                </a:solidFill>
                <a:latin typeface="Staatliches"/>
              </a:rPr>
              <a:t>save the date</a:t>
            </a:r>
          </a:p>
        </p:txBody>
      </p:sp>
      <p:sp>
        <p:nvSpPr>
          <p:cNvPr id="9" name="TextBox 9"/>
          <p:cNvSpPr txBox="1"/>
          <p:nvPr/>
        </p:nvSpPr>
        <p:spPr>
          <a:xfrm>
            <a:off x="621792" y="6209752"/>
            <a:ext cx="11307852" cy="348300"/>
          </a:xfrm>
          <a:prstGeom prst="rect">
            <a:avLst/>
          </a:prstGeom>
        </p:spPr>
        <p:txBody>
          <a:bodyPr wrap="square" lIns="0" tIns="0" rIns="0" bIns="0" rtlCol="0" anchor="t">
            <a:spAutoFit/>
          </a:bodyPr>
          <a:lstStyle/>
          <a:p>
            <a:pPr algn="ctr">
              <a:lnSpc>
                <a:spcPts val="2918"/>
              </a:lnSpc>
            </a:pPr>
            <a:r>
              <a:rPr lang="en-US" sz="2050" i="1">
                <a:solidFill>
                  <a:srgbClr val="144B90"/>
                </a:solidFill>
                <a:latin typeface="Prompt Italics"/>
              </a:rPr>
              <a:t>Join us for two interactive days of collaborative learning with the IL Perinatal Quality Collaborative!</a:t>
            </a:r>
          </a:p>
        </p:txBody>
      </p:sp>
      <p:sp>
        <p:nvSpPr>
          <p:cNvPr id="10" name="TextBox 10"/>
          <p:cNvSpPr txBox="1"/>
          <p:nvPr/>
        </p:nvSpPr>
        <p:spPr>
          <a:xfrm>
            <a:off x="575189" y="3864626"/>
            <a:ext cx="2720421"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2ND, 2024</a:t>
            </a:r>
          </a:p>
        </p:txBody>
      </p:sp>
      <p:sp>
        <p:nvSpPr>
          <p:cNvPr id="11" name="TextBox 11"/>
          <p:cNvSpPr txBox="1"/>
          <p:nvPr/>
        </p:nvSpPr>
        <p:spPr>
          <a:xfrm>
            <a:off x="555911" y="3539704"/>
            <a:ext cx="2108092" cy="360163"/>
          </a:xfrm>
          <a:prstGeom prst="rect">
            <a:avLst/>
          </a:prstGeom>
        </p:spPr>
        <p:txBody>
          <a:bodyPr lIns="0" tIns="0" rIns="0" bIns="0" rtlCol="0" anchor="t">
            <a:spAutoFit/>
          </a:bodyPr>
          <a:lstStyle/>
          <a:p>
            <a:pPr>
              <a:lnSpc>
                <a:spcPts val="2879"/>
              </a:lnSpc>
            </a:pPr>
            <a:r>
              <a:rPr lang="en-US" sz="2350" b="1">
                <a:solidFill>
                  <a:srgbClr val="144B90"/>
                </a:solidFill>
                <a:latin typeface="Cambria"/>
                <a:ea typeface="Cambria"/>
              </a:rPr>
              <a:t>OB TEAMS:</a:t>
            </a:r>
          </a:p>
        </p:txBody>
      </p:sp>
      <p:sp>
        <p:nvSpPr>
          <p:cNvPr id="12" name="TextBox 12"/>
          <p:cNvSpPr txBox="1"/>
          <p:nvPr/>
        </p:nvSpPr>
        <p:spPr>
          <a:xfrm>
            <a:off x="555912" y="5174923"/>
            <a:ext cx="2449487"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3RD, 2024</a:t>
            </a:r>
          </a:p>
        </p:txBody>
      </p:sp>
      <p:sp>
        <p:nvSpPr>
          <p:cNvPr id="13" name="TextBox 13"/>
          <p:cNvSpPr txBox="1"/>
          <p:nvPr/>
        </p:nvSpPr>
        <p:spPr>
          <a:xfrm>
            <a:off x="575189" y="4451023"/>
            <a:ext cx="3468303" cy="732060"/>
          </a:xfrm>
          <a:prstGeom prst="rect">
            <a:avLst/>
          </a:prstGeom>
        </p:spPr>
        <p:txBody>
          <a:bodyPr lIns="0" tIns="0" rIns="0" bIns="0" rtlCol="0" anchor="t">
            <a:spAutoFit/>
          </a:bodyPr>
          <a:lstStyle/>
          <a:p>
            <a:pPr>
              <a:lnSpc>
                <a:spcPts val="2879"/>
              </a:lnSpc>
            </a:pPr>
            <a:r>
              <a:rPr lang="en-US" sz="2399" b="1">
                <a:solidFill>
                  <a:srgbClr val="144B90"/>
                </a:solidFill>
                <a:latin typeface="Cambria"/>
                <a:ea typeface="Cambria"/>
              </a:rPr>
              <a:t>NEONATAL </a:t>
            </a:r>
          </a:p>
          <a:p>
            <a:pPr>
              <a:lnSpc>
                <a:spcPts val="2879"/>
              </a:lnSpc>
            </a:pPr>
            <a:r>
              <a:rPr lang="en-US" sz="2399" b="1">
                <a:solidFill>
                  <a:srgbClr val="144B90"/>
                </a:solidFill>
                <a:latin typeface="Cambria"/>
                <a:ea typeface="Cambria"/>
              </a:rPr>
              <a:t>TEAMS:</a:t>
            </a:r>
          </a:p>
        </p:txBody>
      </p:sp>
      <p:sp>
        <p:nvSpPr>
          <p:cNvPr id="14" name="TextBox 14"/>
          <p:cNvSpPr txBox="1"/>
          <p:nvPr/>
        </p:nvSpPr>
        <p:spPr>
          <a:xfrm>
            <a:off x="3257602" y="3824546"/>
            <a:ext cx="2701691" cy="1565621"/>
          </a:xfrm>
          <a:prstGeom prst="rect">
            <a:avLst/>
          </a:prstGeom>
        </p:spPr>
        <p:txBody>
          <a:bodyPr lIns="0" tIns="0" rIns="0" bIns="0" rtlCol="0" anchor="t">
            <a:spAutoFit/>
          </a:bodyPr>
          <a:lstStyle/>
          <a:p>
            <a:pPr>
              <a:lnSpc>
                <a:spcPts val="3095"/>
              </a:lnSpc>
            </a:pPr>
            <a:r>
              <a:rPr lang="en-US" sz="2210">
                <a:solidFill>
                  <a:srgbClr val="6C94CD"/>
                </a:solidFill>
                <a:latin typeface="Cambria"/>
                <a:ea typeface="Cambria"/>
              </a:rPr>
              <a:t>at the</a:t>
            </a:r>
            <a:r>
              <a:rPr lang="en-US" sz="2210">
                <a:solidFill>
                  <a:srgbClr val="144B90"/>
                </a:solidFill>
                <a:latin typeface="Cambria"/>
                <a:ea typeface="Cambria"/>
              </a:rPr>
              <a:t> President Abraham Lincoln Doubletree Hotel </a:t>
            </a:r>
          </a:p>
          <a:p>
            <a:pPr>
              <a:lnSpc>
                <a:spcPts val="3095"/>
              </a:lnSpc>
            </a:pPr>
            <a:r>
              <a:rPr lang="en-US" sz="2210">
                <a:solidFill>
                  <a:srgbClr val="6C94CD"/>
                </a:solidFill>
                <a:latin typeface="Cambria"/>
                <a:ea typeface="Cambria"/>
              </a:rPr>
              <a:t>in</a:t>
            </a:r>
            <a:r>
              <a:rPr lang="en-US" sz="2210">
                <a:solidFill>
                  <a:srgbClr val="144B90"/>
                </a:solidFill>
                <a:latin typeface="Cambria"/>
                <a:ea typeface="Cambria"/>
              </a:rPr>
              <a:t> Springfield, IL </a:t>
            </a:r>
          </a:p>
        </p:txBody>
      </p:sp>
      <p:sp>
        <p:nvSpPr>
          <p:cNvPr id="15" name="TextBox 15"/>
          <p:cNvSpPr txBox="1"/>
          <p:nvPr/>
        </p:nvSpPr>
        <p:spPr>
          <a:xfrm>
            <a:off x="6704996" y="3812489"/>
            <a:ext cx="4702289" cy="1405641"/>
          </a:xfrm>
          <a:prstGeom prst="rect">
            <a:avLst/>
          </a:prstGeom>
        </p:spPr>
        <p:txBody>
          <a:bodyPr lIns="0" tIns="0" rIns="0" bIns="0" rtlCol="0" anchor="t">
            <a:spAutoFit/>
          </a:bodyPr>
          <a:lstStyle/>
          <a:p>
            <a:pPr algn="ctr">
              <a:lnSpc>
                <a:spcPts val="3667"/>
              </a:lnSpc>
            </a:pPr>
            <a:r>
              <a:rPr lang="en-US" sz="2619" b="1">
                <a:solidFill>
                  <a:srgbClr val="144B90"/>
                </a:solidFill>
                <a:latin typeface="Prompt"/>
              </a:rPr>
              <a:t>Calling ALL Perinatal Leaders, Providers, Nurses, Advocates, &amp; Friends!</a:t>
            </a:r>
          </a:p>
        </p:txBody>
      </p:sp>
    </p:spTree>
    <p:extLst>
      <p:ext uri="{BB962C8B-B14F-4D97-AF65-F5344CB8AC3E}">
        <p14:creationId xmlns:p14="http://schemas.microsoft.com/office/powerpoint/2010/main" val="13106557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4663259">
            <a:off x="-4882967" y="-310730"/>
            <a:ext cx="7455585" cy="3746431"/>
          </a:xfrm>
          <a:custGeom>
            <a:avLst/>
            <a:gdLst/>
            <a:ahLst/>
            <a:cxnLst/>
            <a:rect l="l" t="t" r="r" b="b"/>
            <a:pathLst>
              <a:path w="11183377" h="5619647">
                <a:moveTo>
                  <a:pt x="0" y="0"/>
                </a:moveTo>
                <a:lnTo>
                  <a:pt x="11183377" y="0"/>
                </a:lnTo>
                <a:lnTo>
                  <a:pt x="11183377" y="5619648"/>
                </a:lnTo>
                <a:lnTo>
                  <a:pt x="0" y="561964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 name="Freeform 4"/>
          <p:cNvSpPr/>
          <p:nvPr/>
        </p:nvSpPr>
        <p:spPr>
          <a:xfrm rot="-4663259">
            <a:off x="-5089343" y="-310730"/>
            <a:ext cx="7455585" cy="3746431"/>
          </a:xfrm>
          <a:custGeom>
            <a:avLst/>
            <a:gdLst/>
            <a:ahLst/>
            <a:cxnLst/>
            <a:rect l="l" t="t" r="r" b="b"/>
            <a:pathLst>
              <a:path w="11183377" h="5619647">
                <a:moveTo>
                  <a:pt x="0" y="0"/>
                </a:moveTo>
                <a:lnTo>
                  <a:pt x="11183377" y="0"/>
                </a:lnTo>
                <a:lnTo>
                  <a:pt x="11183377" y="5619648"/>
                </a:lnTo>
                <a:lnTo>
                  <a:pt x="0" y="5619648"/>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5" name="Freeform 5"/>
          <p:cNvSpPr/>
          <p:nvPr/>
        </p:nvSpPr>
        <p:spPr>
          <a:xfrm rot="-5021392">
            <a:off x="-4157050" y="1905756"/>
            <a:ext cx="6989852" cy="2490135"/>
          </a:xfrm>
          <a:custGeom>
            <a:avLst/>
            <a:gdLst/>
            <a:ahLst/>
            <a:cxnLst/>
            <a:rect l="l" t="t" r="r" b="b"/>
            <a:pathLst>
              <a:path w="10484778" h="3735202">
                <a:moveTo>
                  <a:pt x="0" y="0"/>
                </a:moveTo>
                <a:lnTo>
                  <a:pt x="10484778" y="0"/>
                </a:lnTo>
                <a:lnTo>
                  <a:pt x="10484778" y="3735202"/>
                </a:lnTo>
                <a:lnTo>
                  <a:pt x="0" y="3735202"/>
                </a:lnTo>
                <a:lnTo>
                  <a:pt x="0" y="0"/>
                </a:lnTo>
                <a:close/>
              </a:path>
            </a:pathLst>
          </a:custGeom>
          <a:blipFill>
            <a:blip r:embed="rId4" cstate="email">
              <a:alphaModFix amt="80000"/>
              <a:extLst>
                <a:ext uri="{28A0092B-C50C-407E-A947-70E740481C1C}">
                  <a14:useLocalDpi xmlns:a14="http://schemas.microsoft.com/office/drawing/2010/main"/>
                </a:ext>
              </a:extLst>
            </a:blip>
            <a:stretch>
              <a:fillRect/>
            </a:stretch>
          </a:blipFill>
        </p:spPr>
      </p:sp>
      <p:sp>
        <p:nvSpPr>
          <p:cNvPr id="6" name="Freeform 6"/>
          <p:cNvSpPr/>
          <p:nvPr/>
        </p:nvSpPr>
        <p:spPr>
          <a:xfrm rot="4987712" flipH="1">
            <a:off x="9353271" y="1755307"/>
            <a:ext cx="6989852" cy="2490135"/>
          </a:xfrm>
          <a:custGeom>
            <a:avLst/>
            <a:gdLst/>
            <a:ahLst/>
            <a:cxnLst/>
            <a:rect l="l" t="t" r="r" b="b"/>
            <a:pathLst>
              <a:path w="10484778" h="3735202">
                <a:moveTo>
                  <a:pt x="10484778" y="0"/>
                </a:moveTo>
                <a:lnTo>
                  <a:pt x="0" y="0"/>
                </a:lnTo>
                <a:lnTo>
                  <a:pt x="0" y="3735203"/>
                </a:lnTo>
                <a:lnTo>
                  <a:pt x="10484778" y="3735203"/>
                </a:lnTo>
                <a:lnTo>
                  <a:pt x="10484778" y="0"/>
                </a:lnTo>
                <a:close/>
              </a:path>
            </a:pathLst>
          </a:custGeom>
          <a:blipFill>
            <a:blip r:embed="rId4" cstate="email">
              <a:alphaModFix amt="80000"/>
              <a:extLst>
                <a:ext uri="{28A0092B-C50C-407E-A947-70E740481C1C}">
                  <a14:useLocalDpi xmlns:a14="http://schemas.microsoft.com/office/drawing/2010/main"/>
                </a:ext>
              </a:extLst>
            </a:blip>
            <a:stretch>
              <a:fillRect/>
            </a:stretch>
          </a:blipFill>
        </p:spPr>
      </p:sp>
      <p:sp>
        <p:nvSpPr>
          <p:cNvPr id="7" name="Freeform 7"/>
          <p:cNvSpPr/>
          <p:nvPr/>
        </p:nvSpPr>
        <p:spPr>
          <a:xfrm rot="-1838137">
            <a:off x="6655040" y="5135760"/>
            <a:ext cx="1151213" cy="1856766"/>
          </a:xfrm>
          <a:custGeom>
            <a:avLst/>
            <a:gdLst/>
            <a:ahLst/>
            <a:cxnLst/>
            <a:rect l="l" t="t" r="r" b="b"/>
            <a:pathLst>
              <a:path w="1726819" h="2785149">
                <a:moveTo>
                  <a:pt x="0" y="0"/>
                </a:moveTo>
                <a:lnTo>
                  <a:pt x="1726819" y="0"/>
                </a:lnTo>
                <a:lnTo>
                  <a:pt x="1726819" y="2785149"/>
                </a:lnTo>
                <a:lnTo>
                  <a:pt x="0" y="2785149"/>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sp>
      <p:sp>
        <p:nvSpPr>
          <p:cNvPr id="8" name="Freeform 8"/>
          <p:cNvSpPr/>
          <p:nvPr/>
        </p:nvSpPr>
        <p:spPr>
          <a:xfrm rot="-6189069">
            <a:off x="6659343" y="5792623"/>
            <a:ext cx="1396538" cy="2743200"/>
          </a:xfrm>
          <a:custGeom>
            <a:avLst/>
            <a:gdLst/>
            <a:ahLst/>
            <a:cxnLst/>
            <a:rect l="l" t="t" r="r" b="b"/>
            <a:pathLst>
              <a:path w="2094807" h="4114800">
                <a:moveTo>
                  <a:pt x="0" y="0"/>
                </a:moveTo>
                <a:lnTo>
                  <a:pt x="2094808" y="0"/>
                </a:lnTo>
                <a:lnTo>
                  <a:pt x="2094808" y="4114800"/>
                </a:lnTo>
                <a:lnTo>
                  <a:pt x="0" y="4114800"/>
                </a:lnTo>
                <a:lnTo>
                  <a:pt x="0" y="0"/>
                </a:lnTo>
                <a:close/>
              </a:path>
            </a:pathLst>
          </a:custGeom>
          <a:blipFill>
            <a:blip r:embed="rId6">
              <a:alphaModFix amt="6999"/>
              <a:extLst>
                <a:ext uri="{96DAC541-7B7A-43D3-8B79-37D633B846F1}">
                  <asvg:svgBlip xmlns:asvg="http://schemas.microsoft.com/office/drawing/2016/SVG/main" r:embed="rId7"/>
                </a:ext>
              </a:extLst>
            </a:blip>
            <a:stretch>
              <a:fillRect/>
            </a:stretch>
          </a:blipFill>
        </p:spPr>
      </p:sp>
      <p:sp>
        <p:nvSpPr>
          <p:cNvPr id="9" name="Freeform 9"/>
          <p:cNvSpPr/>
          <p:nvPr/>
        </p:nvSpPr>
        <p:spPr>
          <a:xfrm>
            <a:off x="9653775" y="5665983"/>
            <a:ext cx="2236651" cy="1635551"/>
          </a:xfrm>
          <a:custGeom>
            <a:avLst/>
            <a:gdLst/>
            <a:ahLst/>
            <a:cxnLst/>
            <a:rect l="l" t="t" r="r" b="b"/>
            <a:pathLst>
              <a:path w="3354977" h="2453327">
                <a:moveTo>
                  <a:pt x="0" y="0"/>
                </a:moveTo>
                <a:lnTo>
                  <a:pt x="3354976" y="0"/>
                </a:lnTo>
                <a:lnTo>
                  <a:pt x="3354976" y="2453326"/>
                </a:lnTo>
                <a:lnTo>
                  <a:pt x="0" y="2453326"/>
                </a:lnTo>
                <a:lnTo>
                  <a:pt x="0" y="0"/>
                </a:lnTo>
                <a:close/>
              </a:path>
            </a:pathLst>
          </a:custGeom>
          <a:blipFill>
            <a:blip r:embed="rId8" cstate="email">
              <a:alphaModFix amt="42000"/>
              <a:extLst>
                <a:ext uri="{28A0092B-C50C-407E-A947-70E740481C1C}">
                  <a14:useLocalDpi xmlns:a14="http://schemas.microsoft.com/office/drawing/2010/main"/>
                </a:ext>
              </a:extLst>
            </a:blip>
            <a:stretch>
              <a:fillRect/>
            </a:stretch>
          </a:blipFill>
        </p:spPr>
      </p:sp>
      <p:sp>
        <p:nvSpPr>
          <p:cNvPr id="10" name="TextBox 10"/>
          <p:cNvSpPr txBox="1"/>
          <p:nvPr/>
        </p:nvSpPr>
        <p:spPr>
          <a:xfrm>
            <a:off x="6580028" y="1412174"/>
            <a:ext cx="5118285" cy="3605602"/>
          </a:xfrm>
          <a:prstGeom prst="rect">
            <a:avLst/>
          </a:prstGeom>
        </p:spPr>
        <p:txBody>
          <a:bodyPr lIns="0" tIns="0" rIns="0" bIns="0" rtlCol="0" anchor="t">
            <a:spAutoFit/>
          </a:bodyPr>
          <a:lstStyle/>
          <a:p>
            <a:pPr algn="ctr" defTabSz="609630">
              <a:lnSpc>
                <a:spcPts val="3508"/>
              </a:lnSpc>
              <a:buClrTx/>
            </a:pPr>
            <a:r>
              <a:rPr lang="en-US" sz="3617" kern="1200">
                <a:latin typeface="EB Garamond"/>
                <a:ea typeface="+mn-ea"/>
                <a:cs typeface="+mn-cs"/>
              </a:rPr>
              <a:t>Doula's spectrum mainly focuses on physical, emotional &amp; educational support during the perinatal period. A Culturally competent Doula with education in reproductive justice </a:t>
            </a:r>
          </a:p>
        </p:txBody>
      </p:sp>
      <p:sp>
        <p:nvSpPr>
          <p:cNvPr id="11" name="Freeform 11"/>
          <p:cNvSpPr/>
          <p:nvPr/>
        </p:nvSpPr>
        <p:spPr>
          <a:xfrm rot="-4116916">
            <a:off x="9500223" y="-238740"/>
            <a:ext cx="1366150" cy="1707687"/>
          </a:xfrm>
          <a:custGeom>
            <a:avLst/>
            <a:gdLst/>
            <a:ahLst/>
            <a:cxnLst/>
            <a:rect l="l" t="t" r="r" b="b"/>
            <a:pathLst>
              <a:path w="2049225" h="2561531">
                <a:moveTo>
                  <a:pt x="0" y="0"/>
                </a:moveTo>
                <a:lnTo>
                  <a:pt x="2049225" y="0"/>
                </a:lnTo>
                <a:lnTo>
                  <a:pt x="2049225" y="2561531"/>
                </a:lnTo>
                <a:lnTo>
                  <a:pt x="0" y="2561531"/>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sp>
      <p:sp>
        <p:nvSpPr>
          <p:cNvPr id="12" name="TextBox 12"/>
          <p:cNvSpPr txBox="1"/>
          <p:nvPr/>
        </p:nvSpPr>
        <p:spPr>
          <a:xfrm>
            <a:off x="685801" y="1406737"/>
            <a:ext cx="5894227" cy="4831579"/>
          </a:xfrm>
          <a:prstGeom prst="rect">
            <a:avLst/>
          </a:prstGeom>
        </p:spPr>
        <p:txBody>
          <a:bodyPr lIns="0" tIns="0" rIns="0" bIns="0" rtlCol="0" anchor="t">
            <a:spAutoFit/>
          </a:bodyPr>
          <a:lstStyle/>
          <a:p>
            <a:pPr algn="ctr" defTabSz="609630">
              <a:lnSpc>
                <a:spcPts val="3846"/>
              </a:lnSpc>
              <a:buClrTx/>
            </a:pPr>
            <a:r>
              <a:rPr lang="en-US" sz="2747" kern="1200">
                <a:latin typeface="EB Garamond Semi-Bold"/>
                <a:ea typeface="+mn-ea"/>
                <a:cs typeface="+mn-cs"/>
              </a:rPr>
              <a:t>Framework has skills in:</a:t>
            </a:r>
          </a:p>
          <a:p>
            <a:pPr algn="ctr" defTabSz="609630">
              <a:lnSpc>
                <a:spcPts val="3846"/>
              </a:lnSpc>
              <a:buClrTx/>
            </a:pPr>
            <a:r>
              <a:rPr lang="en-US" sz="2747" kern="1200">
                <a:latin typeface="EB Garamond Semi-Bold"/>
                <a:ea typeface="+mn-ea"/>
                <a:cs typeface="+mn-cs"/>
              </a:rPr>
              <a:t>Emotional &amp; Mental health awareness and tools for balance</a:t>
            </a:r>
          </a:p>
          <a:p>
            <a:pPr algn="ctr" defTabSz="609630">
              <a:lnSpc>
                <a:spcPts val="3846"/>
              </a:lnSpc>
              <a:buClrTx/>
            </a:pPr>
            <a:r>
              <a:rPr lang="en-US" sz="2747" kern="1200">
                <a:latin typeface="EB Garamond Semi-Bold"/>
                <a:ea typeface="+mn-ea"/>
                <a:cs typeface="+mn-cs"/>
              </a:rPr>
              <a:t>Pregnancy and Delivery Comfort</a:t>
            </a:r>
          </a:p>
          <a:p>
            <a:pPr algn="ctr" defTabSz="609630">
              <a:lnSpc>
                <a:spcPts val="3846"/>
              </a:lnSpc>
              <a:buClrTx/>
            </a:pPr>
            <a:r>
              <a:rPr lang="en-US" sz="2747" kern="1200">
                <a:latin typeface="EB Garamond Semi-Bold"/>
                <a:ea typeface="+mn-ea"/>
                <a:cs typeface="+mn-cs"/>
              </a:rPr>
              <a:t>Social Support resources</a:t>
            </a:r>
          </a:p>
          <a:p>
            <a:pPr algn="ctr" defTabSz="609630">
              <a:lnSpc>
                <a:spcPts val="3846"/>
              </a:lnSpc>
              <a:buClrTx/>
            </a:pPr>
            <a:r>
              <a:rPr lang="en-US" sz="2747" kern="1200">
                <a:latin typeface="EB Garamond Semi-Bold"/>
                <a:ea typeface="+mn-ea"/>
                <a:cs typeface="+mn-cs"/>
              </a:rPr>
              <a:t>Perinatal Education</a:t>
            </a:r>
          </a:p>
          <a:p>
            <a:pPr algn="ctr" defTabSz="609630">
              <a:lnSpc>
                <a:spcPts val="3846"/>
              </a:lnSpc>
              <a:buClrTx/>
            </a:pPr>
            <a:r>
              <a:rPr lang="en-US" sz="2747" kern="1200">
                <a:latin typeface="EB Garamond Semi-Bold"/>
                <a:ea typeface="+mn-ea"/>
                <a:cs typeface="+mn-cs"/>
              </a:rPr>
              <a:t>Patient rights advocacy</a:t>
            </a:r>
          </a:p>
          <a:p>
            <a:pPr algn="ctr" defTabSz="609630">
              <a:lnSpc>
                <a:spcPts val="3846"/>
              </a:lnSpc>
              <a:buClrTx/>
            </a:pPr>
            <a:r>
              <a:rPr lang="en-US" sz="2747" kern="1200">
                <a:latin typeface="EB Garamond Semi-Bold"/>
                <a:ea typeface="+mn-ea"/>
                <a:cs typeface="+mn-cs"/>
              </a:rPr>
              <a:t>informed choice vs informed consent</a:t>
            </a:r>
          </a:p>
          <a:p>
            <a:pPr algn="ctr" defTabSz="609630">
              <a:lnSpc>
                <a:spcPts val="3846"/>
              </a:lnSpc>
              <a:buClrTx/>
            </a:pPr>
            <a:r>
              <a:rPr lang="en-US" sz="2747" kern="1200">
                <a:latin typeface="EB Garamond Semi-Bold"/>
                <a:ea typeface="+mn-ea"/>
                <a:cs typeface="+mn-cs"/>
              </a:rPr>
              <a:t>enhanced partner and family engagements</a:t>
            </a:r>
          </a:p>
        </p:txBody>
      </p:sp>
      <p:sp>
        <p:nvSpPr>
          <p:cNvPr id="13" name="TextBox 13"/>
          <p:cNvSpPr txBox="1"/>
          <p:nvPr/>
        </p:nvSpPr>
        <p:spPr>
          <a:xfrm>
            <a:off x="685801" y="358351"/>
            <a:ext cx="5645159" cy="572464"/>
          </a:xfrm>
          <a:prstGeom prst="rect">
            <a:avLst/>
          </a:prstGeom>
        </p:spPr>
        <p:txBody>
          <a:bodyPr lIns="0" tIns="0" rIns="0" bIns="0" rtlCol="0" anchor="t">
            <a:spAutoFit/>
          </a:bodyPr>
          <a:lstStyle/>
          <a:p>
            <a:pPr algn="ctr" defTabSz="609630">
              <a:lnSpc>
                <a:spcPts val="4853"/>
              </a:lnSpc>
              <a:buClrTx/>
            </a:pPr>
            <a:r>
              <a:rPr lang="en-US" sz="3466" kern="1200">
                <a:latin typeface="Canva Sans Bold"/>
                <a:ea typeface="+mn-ea"/>
                <a:cs typeface="+mn-cs"/>
              </a:rPr>
              <a:t>Doula Scope of Practice </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sp>
        <p:nvSpPr>
          <p:cNvPr id="3" name="Freeform 3"/>
          <p:cNvSpPr/>
          <p:nvPr/>
        </p:nvSpPr>
        <p:spPr>
          <a:xfrm rot="7762923">
            <a:off x="2193957" y="2247605"/>
            <a:ext cx="4555875" cy="2272243"/>
          </a:xfrm>
          <a:custGeom>
            <a:avLst/>
            <a:gdLst/>
            <a:ahLst/>
            <a:cxnLst/>
            <a:rect l="l" t="t" r="r" b="b"/>
            <a:pathLst>
              <a:path w="6833813" h="3408364">
                <a:moveTo>
                  <a:pt x="0" y="0"/>
                </a:moveTo>
                <a:lnTo>
                  <a:pt x="6833813" y="0"/>
                </a:lnTo>
                <a:lnTo>
                  <a:pt x="6833813" y="3408364"/>
                </a:lnTo>
                <a:lnTo>
                  <a:pt x="0" y="3408364"/>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sp>
        <p:nvSpPr>
          <p:cNvPr id="4" name="Freeform 4"/>
          <p:cNvSpPr/>
          <p:nvPr/>
        </p:nvSpPr>
        <p:spPr>
          <a:xfrm rot="-6867539">
            <a:off x="-1848962" y="4277250"/>
            <a:ext cx="4555875" cy="2272243"/>
          </a:xfrm>
          <a:custGeom>
            <a:avLst/>
            <a:gdLst/>
            <a:ahLst/>
            <a:cxnLst/>
            <a:rect l="l" t="t" r="r" b="b"/>
            <a:pathLst>
              <a:path w="6833813" h="3408364">
                <a:moveTo>
                  <a:pt x="0" y="0"/>
                </a:moveTo>
                <a:lnTo>
                  <a:pt x="6833813" y="0"/>
                </a:lnTo>
                <a:lnTo>
                  <a:pt x="6833813" y="3408365"/>
                </a:lnTo>
                <a:lnTo>
                  <a:pt x="0" y="3408365"/>
                </a:lnTo>
                <a:lnTo>
                  <a:pt x="0" y="0"/>
                </a:lnTo>
                <a:close/>
              </a:path>
            </a:pathLst>
          </a:custGeom>
          <a:blipFill>
            <a:blip r:embed="rId3" cstate="email">
              <a:extLst>
                <a:ext uri="{28A0092B-C50C-407E-A947-70E740481C1C}">
                  <a14:useLocalDpi xmlns:a14="http://schemas.microsoft.com/office/drawing/2010/main"/>
                </a:ext>
              </a:extLst>
            </a:blip>
            <a:stretch>
              <a:fillRect/>
            </a:stretch>
          </a:blipFill>
        </p:spPr>
      </p:sp>
      <p:grpSp>
        <p:nvGrpSpPr>
          <p:cNvPr id="5" name="Group 5"/>
          <p:cNvGrpSpPr>
            <a:grpSpLocks noChangeAspect="1"/>
          </p:cNvGrpSpPr>
          <p:nvPr/>
        </p:nvGrpSpPr>
        <p:grpSpPr>
          <a:xfrm rot="1397616">
            <a:off x="3432526" y="598463"/>
            <a:ext cx="3260377" cy="4541993"/>
            <a:chOff x="0" y="0"/>
            <a:chExt cx="4494403" cy="6261100"/>
          </a:xfrm>
        </p:grpSpPr>
        <p:sp>
          <p:nvSpPr>
            <p:cNvPr id="6" name="Freeform 6"/>
            <p:cNvSpPr/>
            <p:nvPr/>
          </p:nvSpPr>
          <p:spPr>
            <a:xfrm>
              <a:off x="526923" y="203200"/>
              <a:ext cx="3765677" cy="5765800"/>
            </a:xfrm>
            <a:custGeom>
              <a:avLst/>
              <a:gdLst/>
              <a:ahLst/>
              <a:cxnLst/>
              <a:rect l="l" t="t" r="r" b="b"/>
              <a:pathLst>
                <a:path w="3765677" h="5765800">
                  <a:moveTo>
                    <a:pt x="3765677" y="5765800"/>
                  </a:moveTo>
                  <a:lnTo>
                    <a:pt x="0" y="5765800"/>
                  </a:lnTo>
                  <a:lnTo>
                    <a:pt x="0" y="0"/>
                  </a:lnTo>
                  <a:lnTo>
                    <a:pt x="3765677" y="0"/>
                  </a:lnTo>
                  <a:lnTo>
                    <a:pt x="3765677" y="5765800"/>
                  </a:lnTo>
                  <a:lnTo>
                    <a:pt x="3765677" y="5765800"/>
                  </a:lnTo>
                  <a:close/>
                </a:path>
              </a:pathLst>
            </a:custGeom>
            <a:blipFill>
              <a:blip r:embed="rId4" cstate="email">
                <a:extLst>
                  <a:ext uri="{28A0092B-C50C-407E-A947-70E740481C1C}">
                    <a14:useLocalDpi xmlns:a14="http://schemas.microsoft.com/office/drawing/2010/main"/>
                  </a:ext>
                </a:extLst>
              </a:blip>
              <a:stretch>
                <a:fillRect/>
              </a:stretch>
            </a:blipFill>
          </p:spPr>
        </p:sp>
        <p:sp>
          <p:nvSpPr>
            <p:cNvPr id="7" name="Freeform 7"/>
            <p:cNvSpPr/>
            <p:nvPr/>
          </p:nvSpPr>
          <p:spPr>
            <a:xfrm>
              <a:off x="0" y="0"/>
              <a:ext cx="4494403" cy="6261100"/>
            </a:xfrm>
            <a:custGeom>
              <a:avLst/>
              <a:gdLst/>
              <a:ahLst/>
              <a:cxnLst/>
              <a:rect l="l" t="t" r="r" b="b"/>
              <a:pathLst>
                <a:path w="4494403" h="6261100">
                  <a:moveTo>
                    <a:pt x="4494403" y="6261100"/>
                  </a:moveTo>
                  <a:lnTo>
                    <a:pt x="0" y="6261100"/>
                  </a:lnTo>
                  <a:lnTo>
                    <a:pt x="0" y="0"/>
                  </a:lnTo>
                  <a:lnTo>
                    <a:pt x="4494403" y="0"/>
                  </a:lnTo>
                  <a:lnTo>
                    <a:pt x="4494403" y="6261100"/>
                  </a:lnTo>
                  <a:close/>
                </a:path>
              </a:pathLst>
            </a:custGeom>
            <a:blipFill>
              <a:blip r:embed="rId5" cstate="email">
                <a:extLst>
                  <a:ext uri="{28A0092B-C50C-407E-A947-70E740481C1C}">
                    <a14:useLocalDpi xmlns:a14="http://schemas.microsoft.com/office/drawing/2010/main"/>
                  </a:ext>
                </a:extLst>
              </a:blip>
              <a:stretch>
                <a:fillRect/>
              </a:stretch>
            </a:blipFill>
          </p:spPr>
        </p:sp>
      </p:grpSp>
      <p:grpSp>
        <p:nvGrpSpPr>
          <p:cNvPr id="8" name="Group 8"/>
          <p:cNvGrpSpPr>
            <a:grpSpLocks noChangeAspect="1"/>
          </p:cNvGrpSpPr>
          <p:nvPr/>
        </p:nvGrpSpPr>
        <p:grpSpPr>
          <a:xfrm rot="-1020637">
            <a:off x="-190345" y="1709378"/>
            <a:ext cx="3260377" cy="4541993"/>
            <a:chOff x="0" y="0"/>
            <a:chExt cx="4494403" cy="6261100"/>
          </a:xfrm>
        </p:grpSpPr>
        <p:sp>
          <p:nvSpPr>
            <p:cNvPr id="9" name="Freeform 9"/>
            <p:cNvSpPr/>
            <p:nvPr/>
          </p:nvSpPr>
          <p:spPr>
            <a:xfrm>
              <a:off x="526923" y="203200"/>
              <a:ext cx="3765677" cy="5765800"/>
            </a:xfrm>
            <a:custGeom>
              <a:avLst/>
              <a:gdLst/>
              <a:ahLst/>
              <a:cxnLst/>
              <a:rect l="l" t="t" r="r" b="b"/>
              <a:pathLst>
                <a:path w="3765677" h="5765800">
                  <a:moveTo>
                    <a:pt x="3765677" y="5765800"/>
                  </a:moveTo>
                  <a:lnTo>
                    <a:pt x="0" y="5765800"/>
                  </a:lnTo>
                  <a:lnTo>
                    <a:pt x="0" y="0"/>
                  </a:lnTo>
                  <a:lnTo>
                    <a:pt x="3765677" y="0"/>
                  </a:lnTo>
                  <a:lnTo>
                    <a:pt x="3765677" y="5765800"/>
                  </a:lnTo>
                  <a:lnTo>
                    <a:pt x="3765677" y="5765800"/>
                  </a:lnTo>
                  <a:close/>
                </a:path>
              </a:pathLst>
            </a:custGeom>
            <a:blipFill>
              <a:blip r:embed="rId6" cstate="email">
                <a:extLst>
                  <a:ext uri="{28A0092B-C50C-407E-A947-70E740481C1C}">
                    <a14:useLocalDpi xmlns:a14="http://schemas.microsoft.com/office/drawing/2010/main"/>
                  </a:ext>
                </a:extLst>
              </a:blip>
              <a:stretch>
                <a:fillRect/>
              </a:stretch>
            </a:blipFill>
          </p:spPr>
        </p:sp>
        <p:sp>
          <p:nvSpPr>
            <p:cNvPr id="10" name="Freeform 10"/>
            <p:cNvSpPr/>
            <p:nvPr/>
          </p:nvSpPr>
          <p:spPr>
            <a:xfrm>
              <a:off x="0" y="0"/>
              <a:ext cx="4494403" cy="6261100"/>
            </a:xfrm>
            <a:custGeom>
              <a:avLst/>
              <a:gdLst/>
              <a:ahLst/>
              <a:cxnLst/>
              <a:rect l="l" t="t" r="r" b="b"/>
              <a:pathLst>
                <a:path w="4494403" h="6261100">
                  <a:moveTo>
                    <a:pt x="4494403" y="6261100"/>
                  </a:moveTo>
                  <a:lnTo>
                    <a:pt x="0" y="6261100"/>
                  </a:lnTo>
                  <a:lnTo>
                    <a:pt x="0" y="0"/>
                  </a:lnTo>
                  <a:lnTo>
                    <a:pt x="4494403" y="0"/>
                  </a:lnTo>
                  <a:lnTo>
                    <a:pt x="4494403" y="6261100"/>
                  </a:lnTo>
                  <a:close/>
                </a:path>
              </a:pathLst>
            </a:custGeom>
            <a:blipFill>
              <a:blip r:embed="rId5" cstate="email">
                <a:extLst>
                  <a:ext uri="{28A0092B-C50C-407E-A947-70E740481C1C}">
                    <a14:useLocalDpi xmlns:a14="http://schemas.microsoft.com/office/drawing/2010/main"/>
                  </a:ext>
                </a:extLst>
              </a:blip>
              <a:stretch>
                <a:fillRect/>
              </a:stretch>
            </a:blipFill>
          </p:spPr>
        </p:sp>
      </p:grpSp>
      <p:sp>
        <p:nvSpPr>
          <p:cNvPr id="11" name="Freeform 11"/>
          <p:cNvSpPr/>
          <p:nvPr/>
        </p:nvSpPr>
        <p:spPr>
          <a:xfrm>
            <a:off x="-434537" y="671167"/>
            <a:ext cx="3748761" cy="1686943"/>
          </a:xfrm>
          <a:custGeom>
            <a:avLst/>
            <a:gdLst/>
            <a:ahLst/>
            <a:cxnLst/>
            <a:rect l="l" t="t" r="r" b="b"/>
            <a:pathLst>
              <a:path w="5623142" h="2530414">
                <a:moveTo>
                  <a:pt x="0" y="0"/>
                </a:moveTo>
                <a:lnTo>
                  <a:pt x="5623143" y="0"/>
                </a:lnTo>
                <a:lnTo>
                  <a:pt x="5623143" y="2530414"/>
                </a:lnTo>
                <a:lnTo>
                  <a:pt x="0" y="2530414"/>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sp>
      <p:sp>
        <p:nvSpPr>
          <p:cNvPr id="12" name="Freeform 12"/>
          <p:cNvSpPr/>
          <p:nvPr/>
        </p:nvSpPr>
        <p:spPr>
          <a:xfrm rot="-1156248">
            <a:off x="5294662" y="4580902"/>
            <a:ext cx="1527583" cy="1664940"/>
          </a:xfrm>
          <a:custGeom>
            <a:avLst/>
            <a:gdLst/>
            <a:ahLst/>
            <a:cxnLst/>
            <a:rect l="l" t="t" r="r" b="b"/>
            <a:pathLst>
              <a:path w="2291374" h="2497410">
                <a:moveTo>
                  <a:pt x="0" y="0"/>
                </a:moveTo>
                <a:lnTo>
                  <a:pt x="2291373" y="0"/>
                </a:lnTo>
                <a:lnTo>
                  <a:pt x="2291373" y="2497410"/>
                </a:lnTo>
                <a:lnTo>
                  <a:pt x="0" y="2497410"/>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13" name="Freeform 13"/>
          <p:cNvSpPr/>
          <p:nvPr/>
        </p:nvSpPr>
        <p:spPr>
          <a:xfrm rot="2243122">
            <a:off x="10170518" y="5584233"/>
            <a:ext cx="2399053" cy="2743200"/>
          </a:xfrm>
          <a:custGeom>
            <a:avLst/>
            <a:gdLst/>
            <a:ahLst/>
            <a:cxnLst/>
            <a:rect l="l" t="t" r="r" b="b"/>
            <a:pathLst>
              <a:path w="3598580" h="4114800">
                <a:moveTo>
                  <a:pt x="0" y="0"/>
                </a:moveTo>
                <a:lnTo>
                  <a:pt x="3598580" y="0"/>
                </a:lnTo>
                <a:lnTo>
                  <a:pt x="3598580" y="4114800"/>
                </a:lnTo>
                <a:lnTo>
                  <a:pt x="0" y="4114800"/>
                </a:lnTo>
                <a:lnTo>
                  <a:pt x="0" y="0"/>
                </a:lnTo>
                <a:close/>
              </a:path>
            </a:pathLst>
          </a:custGeom>
          <a:blipFill>
            <a:blip r:embed="rId9" cstate="email">
              <a:alphaModFix amt="699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sp>
      <p:sp>
        <p:nvSpPr>
          <p:cNvPr id="14" name="TextBox 14"/>
          <p:cNvSpPr txBox="1"/>
          <p:nvPr/>
        </p:nvSpPr>
        <p:spPr>
          <a:xfrm>
            <a:off x="7217110" y="984729"/>
            <a:ext cx="4734059" cy="5517023"/>
          </a:xfrm>
          <a:prstGeom prst="rect">
            <a:avLst/>
          </a:prstGeom>
        </p:spPr>
        <p:txBody>
          <a:bodyPr lIns="0" tIns="0" rIns="0" bIns="0" rtlCol="0" anchor="t">
            <a:spAutoFit/>
          </a:bodyPr>
          <a:lstStyle/>
          <a:p>
            <a:pPr algn="ctr" defTabSz="609630">
              <a:lnSpc>
                <a:spcPts val="3880"/>
              </a:lnSpc>
              <a:buClrTx/>
            </a:pPr>
            <a:r>
              <a:rPr lang="en-US" sz="4000" kern="1200">
                <a:latin typeface="EB Garamond"/>
                <a:ea typeface="+mn-ea"/>
                <a:cs typeface="+mn-cs"/>
              </a:rPr>
              <a:t> A doula has to have a NPI # or be apart of a doula agency that has an NPI in order to enroll in impact and be reimbursed through Medicaid. Requirements and enrollment process is being finalized. More details to come. </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4" cstate="email">
              <a:extLst>
                <a:ext uri="{28A0092B-C50C-407E-A947-70E740481C1C}">
                  <a14:useLocalDpi xmlns:a14="http://schemas.microsoft.com/office/drawing/2010/main"/>
                </a:ext>
              </a:extLst>
            </a:blip>
            <a:stretch>
              <a:fillRect/>
            </a:stretch>
          </a:blipFill>
        </p:spPr>
      </p:sp>
      <p:sp>
        <p:nvSpPr>
          <p:cNvPr id="3" name="Freeform 3"/>
          <p:cNvSpPr/>
          <p:nvPr/>
        </p:nvSpPr>
        <p:spPr>
          <a:xfrm rot="-7178256">
            <a:off x="9832014" y="4076459"/>
            <a:ext cx="2399053" cy="2743200"/>
          </a:xfrm>
          <a:custGeom>
            <a:avLst/>
            <a:gdLst/>
            <a:ahLst/>
            <a:cxnLst/>
            <a:rect l="l" t="t" r="r" b="b"/>
            <a:pathLst>
              <a:path w="3598580" h="4114800">
                <a:moveTo>
                  <a:pt x="0" y="0"/>
                </a:moveTo>
                <a:lnTo>
                  <a:pt x="3598580" y="0"/>
                </a:lnTo>
                <a:lnTo>
                  <a:pt x="3598580" y="4114800"/>
                </a:lnTo>
                <a:lnTo>
                  <a:pt x="0" y="4114800"/>
                </a:lnTo>
                <a:lnTo>
                  <a:pt x="0" y="0"/>
                </a:lnTo>
                <a:close/>
              </a:path>
            </a:pathLst>
          </a:custGeom>
          <a:blipFill>
            <a:blip r:embed="rId5" cstate="email">
              <a:alphaModFix amt="6999"/>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4" name="Freeform 4"/>
          <p:cNvSpPr/>
          <p:nvPr/>
        </p:nvSpPr>
        <p:spPr>
          <a:xfrm rot="-345697">
            <a:off x="6190077" y="893134"/>
            <a:ext cx="5839488" cy="3529953"/>
          </a:xfrm>
          <a:custGeom>
            <a:avLst/>
            <a:gdLst/>
            <a:ahLst/>
            <a:cxnLst/>
            <a:rect l="l" t="t" r="r" b="b"/>
            <a:pathLst>
              <a:path w="8759232" h="5294929">
                <a:moveTo>
                  <a:pt x="0" y="0"/>
                </a:moveTo>
                <a:lnTo>
                  <a:pt x="8759231" y="0"/>
                </a:lnTo>
                <a:lnTo>
                  <a:pt x="8759231" y="5294929"/>
                </a:lnTo>
                <a:lnTo>
                  <a:pt x="0" y="5294929"/>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sp>
      <p:sp>
        <p:nvSpPr>
          <p:cNvPr id="5" name="Freeform 5"/>
          <p:cNvSpPr/>
          <p:nvPr/>
        </p:nvSpPr>
        <p:spPr>
          <a:xfrm rot="9768063">
            <a:off x="-1313052" y="5789379"/>
            <a:ext cx="4765653" cy="2759093"/>
          </a:xfrm>
          <a:custGeom>
            <a:avLst/>
            <a:gdLst/>
            <a:ahLst/>
            <a:cxnLst/>
            <a:rect l="l" t="t" r="r" b="b"/>
            <a:pathLst>
              <a:path w="7148479" h="4138640">
                <a:moveTo>
                  <a:pt x="0" y="0"/>
                </a:moveTo>
                <a:lnTo>
                  <a:pt x="7148478" y="0"/>
                </a:lnTo>
                <a:lnTo>
                  <a:pt x="7148478" y="4138641"/>
                </a:lnTo>
                <a:lnTo>
                  <a:pt x="0" y="4138641"/>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6" name="Freeform 6"/>
          <p:cNvSpPr/>
          <p:nvPr/>
        </p:nvSpPr>
        <p:spPr>
          <a:xfrm>
            <a:off x="2560705" y="-592507"/>
            <a:ext cx="2679176" cy="1908913"/>
          </a:xfrm>
          <a:custGeom>
            <a:avLst/>
            <a:gdLst/>
            <a:ahLst/>
            <a:cxnLst/>
            <a:rect l="l" t="t" r="r" b="b"/>
            <a:pathLst>
              <a:path w="4018764" h="2863370">
                <a:moveTo>
                  <a:pt x="0" y="0"/>
                </a:moveTo>
                <a:lnTo>
                  <a:pt x="4018765" y="0"/>
                </a:lnTo>
                <a:lnTo>
                  <a:pt x="4018765" y="2863370"/>
                </a:lnTo>
                <a:lnTo>
                  <a:pt x="0" y="2863370"/>
                </a:lnTo>
                <a:lnTo>
                  <a:pt x="0" y="0"/>
                </a:lnTo>
                <a:close/>
              </a:path>
            </a:pathLst>
          </a:custGeom>
          <a:blipFill>
            <a:blip r:embed="rId9" cstate="email">
              <a:alphaModFix amt="29000"/>
              <a:extLst>
                <a:ext uri="{28A0092B-C50C-407E-A947-70E740481C1C}">
                  <a14:useLocalDpi xmlns:a14="http://schemas.microsoft.com/office/drawing/2010/main"/>
                </a:ext>
              </a:extLst>
            </a:blip>
            <a:stretch>
              <a:fillRect/>
            </a:stretch>
          </a:blipFill>
        </p:spPr>
      </p:sp>
      <p:sp>
        <p:nvSpPr>
          <p:cNvPr id="7" name="Freeform 7"/>
          <p:cNvSpPr/>
          <p:nvPr/>
        </p:nvSpPr>
        <p:spPr>
          <a:xfrm rot="-2048356">
            <a:off x="6429245" y="4764121"/>
            <a:ext cx="1279592" cy="2816159"/>
          </a:xfrm>
          <a:custGeom>
            <a:avLst/>
            <a:gdLst/>
            <a:ahLst/>
            <a:cxnLst/>
            <a:rect l="l" t="t" r="r" b="b"/>
            <a:pathLst>
              <a:path w="1919388" h="4224238">
                <a:moveTo>
                  <a:pt x="0" y="0"/>
                </a:moveTo>
                <a:lnTo>
                  <a:pt x="1919388" y="0"/>
                </a:lnTo>
                <a:lnTo>
                  <a:pt x="1919388" y="4224238"/>
                </a:lnTo>
                <a:lnTo>
                  <a:pt x="0" y="4224238"/>
                </a:lnTo>
                <a:lnTo>
                  <a:pt x="0" y="0"/>
                </a:lnTo>
                <a:close/>
              </a:path>
            </a:pathLst>
          </a:custGeom>
          <a:blipFill>
            <a:blip r:embed="rId10" cstate="email">
              <a:extLst>
                <a:ext uri="{28A0092B-C50C-407E-A947-70E740481C1C}">
                  <a14:useLocalDpi xmlns:a14="http://schemas.microsoft.com/office/drawing/2010/main"/>
                </a:ext>
              </a:extLst>
            </a:blip>
            <a:stretch>
              <a:fillRect/>
            </a:stretch>
          </a:blipFill>
        </p:spPr>
      </p:sp>
      <p:sp>
        <p:nvSpPr>
          <p:cNvPr id="8" name="Freeform 8"/>
          <p:cNvSpPr/>
          <p:nvPr/>
        </p:nvSpPr>
        <p:spPr>
          <a:xfrm rot="-927378">
            <a:off x="7069741" y="706627"/>
            <a:ext cx="349562" cy="1424142"/>
          </a:xfrm>
          <a:custGeom>
            <a:avLst/>
            <a:gdLst/>
            <a:ahLst/>
            <a:cxnLst/>
            <a:rect l="l" t="t" r="r" b="b"/>
            <a:pathLst>
              <a:path w="524343" h="2136213">
                <a:moveTo>
                  <a:pt x="0" y="0"/>
                </a:moveTo>
                <a:lnTo>
                  <a:pt x="524343" y="0"/>
                </a:lnTo>
                <a:lnTo>
                  <a:pt x="524343" y="2136214"/>
                </a:lnTo>
                <a:lnTo>
                  <a:pt x="0" y="2136214"/>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sp>
      <p:pic>
        <p:nvPicPr>
          <p:cNvPr id="9" name="Picture 9">
            <a:hlinkClick r:id="" action="ppaction://media"/>
          </p:cNvPr>
          <p:cNvPicPr>
            <a:picLocks noChangeAspect="1"/>
          </p:cNvPicPr>
          <p:nvPr>
            <a:videoFile r:link="rId1"/>
            <p:extLst>
              <p:ext uri="{DAA4B4D4-6D71-4841-9C94-3DE7FCFB9230}">
                <p14:media xmlns:p14="http://schemas.microsoft.com/office/powerpoint/2010/main" r:embed="rId2">
                  <p14:trim end="43035.011"/>
                </p14:media>
              </p:ext>
            </p:extLst>
          </p:nvPr>
        </p:nvPicPr>
        <p:blipFill>
          <a:blip r:embed="rId13"/>
          <a:srcRect/>
          <a:stretch>
            <a:fillRect/>
          </a:stretch>
        </p:blipFill>
        <p:spPr>
          <a:xfrm>
            <a:off x="7789300" y="250177"/>
            <a:ext cx="3716901" cy="6607823"/>
          </a:xfrm>
          <a:prstGeom prst="rect">
            <a:avLst/>
          </a:prstGeom>
        </p:spPr>
      </p:pic>
      <p:sp>
        <p:nvSpPr>
          <p:cNvPr id="10" name="TextBox 10"/>
          <p:cNvSpPr txBox="1"/>
          <p:nvPr/>
        </p:nvSpPr>
        <p:spPr>
          <a:xfrm>
            <a:off x="234598" y="473075"/>
            <a:ext cx="7368153" cy="1458220"/>
          </a:xfrm>
          <a:prstGeom prst="rect">
            <a:avLst/>
          </a:prstGeom>
        </p:spPr>
        <p:txBody>
          <a:bodyPr lIns="0" tIns="0" rIns="0" bIns="0" rtlCol="0" anchor="t">
            <a:spAutoFit/>
          </a:bodyPr>
          <a:lstStyle/>
          <a:p>
            <a:pPr algn="ctr" defTabSz="609630">
              <a:lnSpc>
                <a:spcPts val="5561"/>
              </a:lnSpc>
              <a:buClrTx/>
            </a:pPr>
            <a:r>
              <a:rPr lang="en-US" sz="5733" kern="1200">
                <a:latin typeface="EB Garamond"/>
                <a:ea typeface="+mn-ea"/>
                <a:cs typeface="+mn-cs"/>
              </a:rPr>
              <a:t>Hospitals, OB/GYN and Peds offices &amp; Doulas</a:t>
            </a:r>
          </a:p>
        </p:txBody>
      </p:sp>
      <p:sp>
        <p:nvSpPr>
          <p:cNvPr id="11" name="TextBox 11"/>
          <p:cNvSpPr txBox="1"/>
          <p:nvPr/>
        </p:nvSpPr>
        <p:spPr>
          <a:xfrm>
            <a:off x="-123631" y="2184824"/>
            <a:ext cx="7009924" cy="3656835"/>
          </a:xfrm>
          <a:prstGeom prst="rect">
            <a:avLst/>
          </a:prstGeom>
        </p:spPr>
        <p:txBody>
          <a:bodyPr lIns="0" tIns="0" rIns="0" bIns="0" rtlCol="0" anchor="t">
            <a:spAutoFit/>
          </a:bodyPr>
          <a:lstStyle/>
          <a:p>
            <a:pPr marL="489397" lvl="1" indent="-244699" algn="ctr" defTabSz="609630">
              <a:lnSpc>
                <a:spcPts val="3173"/>
              </a:lnSpc>
              <a:buClrTx/>
              <a:buFont typeface="Arial"/>
              <a:buChar char="•"/>
            </a:pPr>
            <a:r>
              <a:rPr lang="en-US" sz="2266" kern="1200">
                <a:latin typeface="Canva Sans Bold"/>
                <a:ea typeface="+mn-ea"/>
                <a:cs typeface="+mn-cs"/>
              </a:rPr>
              <a:t>Connecting with Doulas in the community</a:t>
            </a:r>
          </a:p>
          <a:p>
            <a:pPr marL="489397" lvl="1" indent="-244699" algn="ctr" defTabSz="609630">
              <a:lnSpc>
                <a:spcPts val="3173"/>
              </a:lnSpc>
              <a:buClrTx/>
              <a:buFont typeface="Arial"/>
              <a:buChar char="•"/>
            </a:pPr>
            <a:r>
              <a:rPr lang="en-US" sz="2266" kern="1200">
                <a:latin typeface="Canva Sans Bold"/>
                <a:ea typeface="+mn-ea"/>
                <a:cs typeface="+mn-cs"/>
              </a:rPr>
              <a:t>Allowing doulas to bring in business cards or brochures</a:t>
            </a:r>
          </a:p>
          <a:p>
            <a:pPr marL="489397" lvl="1" indent="-244699" algn="ctr" defTabSz="609630">
              <a:lnSpc>
                <a:spcPts val="3173"/>
              </a:lnSpc>
              <a:buClrTx/>
              <a:buFont typeface="Arial"/>
              <a:buChar char="•"/>
            </a:pPr>
            <a:r>
              <a:rPr lang="en-US" sz="2266" kern="1200">
                <a:latin typeface="Canva Sans Bold"/>
                <a:ea typeface="+mn-ea"/>
                <a:cs typeface="+mn-cs"/>
              </a:rPr>
              <a:t>Attending meet and greets or hosting them to get to know each other </a:t>
            </a:r>
          </a:p>
          <a:p>
            <a:pPr marL="489397" lvl="1" indent="-244699" algn="ctr" defTabSz="609630">
              <a:lnSpc>
                <a:spcPts val="3173"/>
              </a:lnSpc>
              <a:buClrTx/>
              <a:buFont typeface="Arial"/>
              <a:buChar char="•"/>
            </a:pPr>
            <a:r>
              <a:rPr lang="en-US" sz="2266" kern="1200">
                <a:latin typeface="Canva Sans Bold"/>
                <a:ea typeface="+mn-ea"/>
                <a:cs typeface="+mn-cs"/>
              </a:rPr>
              <a:t>Build relationships and partner to combat maternal health deserts in urban and rural communities.</a:t>
            </a:r>
          </a:p>
          <a:p>
            <a:pPr marL="489397" lvl="1" indent="-244699" algn="ctr" defTabSz="609630">
              <a:lnSpc>
                <a:spcPts val="3173"/>
              </a:lnSpc>
              <a:buClrTx/>
              <a:buFont typeface="Arial"/>
              <a:buChar char="•"/>
            </a:pPr>
            <a:r>
              <a:rPr lang="en-US" sz="2266" kern="1200">
                <a:latin typeface="Canva Sans Bold"/>
                <a:ea typeface="+mn-ea"/>
                <a:cs typeface="+mn-cs"/>
              </a:rPr>
              <a:t>Learning each others role and creating respectful work environments and birth teams</a:t>
            </a:r>
          </a:p>
        </p:txBody>
      </p:sp>
    </p:spTree>
  </p:cSld>
  <p:clrMapOvr>
    <a:masterClrMapping/>
  </p:clrMapOvr>
  <p:timing>
    <p:tnLst>
      <p:par>
        <p:cTn id="1" dur="indefinite" restart="never" nodeType="tmRoot">
          <p:childTnLst>
            <p:video>
              <p:cMediaNode vol="100000">
                <p:cTn id="2" fill="hold" display="0">
                  <p:stCondLst>
                    <p:cond delay="indefinite"/>
                  </p:stCondLst>
                </p:cTn>
                <p:tgtEl>
                  <p:spTgt spid="9"/>
                </p:tgtEl>
              </p:cMediaNode>
            </p:vide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EBEEE7"/>
        </a:solidFill>
        <a:effectLst/>
      </p:bgPr>
    </p:bg>
    <p:spTree>
      <p:nvGrpSpPr>
        <p:cNvPr id="1" name=""/>
        <p:cNvGrpSpPr/>
        <p:nvPr/>
      </p:nvGrpSpPr>
      <p:grpSpPr>
        <a:xfrm>
          <a:off x="0" y="0"/>
          <a:ext cx="0" cy="0"/>
          <a:chOff x="0" y="0"/>
          <a:chExt cx="0" cy="0"/>
        </a:xfrm>
      </p:grpSpPr>
      <p:grpSp>
        <p:nvGrpSpPr>
          <p:cNvPr id="2" name="Group 2"/>
          <p:cNvGrpSpPr/>
          <p:nvPr/>
        </p:nvGrpSpPr>
        <p:grpSpPr>
          <a:xfrm>
            <a:off x="379998" y="4769399"/>
            <a:ext cx="11812002" cy="1857740"/>
            <a:chOff x="0" y="323851"/>
            <a:chExt cx="23624004" cy="3715480"/>
          </a:xfrm>
        </p:grpSpPr>
        <p:sp>
          <p:nvSpPr>
            <p:cNvPr id="3" name="TextBox 3"/>
            <p:cNvSpPr txBox="1"/>
            <p:nvPr/>
          </p:nvSpPr>
          <p:spPr>
            <a:xfrm>
              <a:off x="0" y="323851"/>
              <a:ext cx="23624004" cy="2569422"/>
            </a:xfrm>
            <a:prstGeom prst="rect">
              <a:avLst/>
            </a:prstGeom>
          </p:spPr>
          <p:txBody>
            <a:bodyPr lIns="0" tIns="0" rIns="0" bIns="0" rtlCol="0" anchor="t">
              <a:spAutoFit/>
            </a:bodyPr>
            <a:lstStyle/>
            <a:p>
              <a:pPr algn="ctr" defTabSz="609630">
                <a:lnSpc>
                  <a:spcPts val="4841"/>
                </a:lnSpc>
                <a:buClrTx/>
              </a:pPr>
              <a:r>
                <a:rPr lang="en-US" sz="5904" kern="1200" dirty="0">
                  <a:solidFill>
                    <a:schemeClr val="tx1"/>
                  </a:solidFill>
                  <a:latin typeface="EB Garamond"/>
                  <a:ea typeface="+mn-ea"/>
                  <a:cs typeface="+mn-cs"/>
                </a:rPr>
                <a:t>Where to find Doulas in your community </a:t>
              </a:r>
            </a:p>
          </p:txBody>
        </p:sp>
        <p:sp>
          <p:nvSpPr>
            <p:cNvPr id="4" name="TextBox 4"/>
            <p:cNvSpPr txBox="1"/>
            <p:nvPr/>
          </p:nvSpPr>
          <p:spPr>
            <a:xfrm>
              <a:off x="0" y="3592543"/>
              <a:ext cx="23624004" cy="446788"/>
            </a:xfrm>
            <a:prstGeom prst="rect">
              <a:avLst/>
            </a:prstGeom>
          </p:spPr>
          <p:txBody>
            <a:bodyPr lIns="0" tIns="0" rIns="0" bIns="0" rtlCol="0" anchor="t">
              <a:spAutoFit/>
            </a:bodyPr>
            <a:lstStyle/>
            <a:p>
              <a:pPr algn="ctr" defTabSz="609630">
                <a:lnSpc>
                  <a:spcPts val="1897"/>
                </a:lnSpc>
                <a:buClrTx/>
              </a:pPr>
              <a:endParaRPr sz="1200" kern="1200">
                <a:solidFill>
                  <a:prstClr val="black"/>
                </a:solidFill>
                <a:latin typeface="Calibri"/>
                <a:ea typeface="+mn-ea"/>
                <a:cs typeface="+mn-cs"/>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EBEEE7"/>
        </a:solidFill>
        <a:effectLst/>
      </p:bgPr>
    </p:bg>
    <p:spTree>
      <p:nvGrpSpPr>
        <p:cNvPr id="1" name=""/>
        <p:cNvGrpSpPr/>
        <p:nvPr/>
      </p:nvGrpSpPr>
      <p:grpSpPr>
        <a:xfrm>
          <a:off x="0" y="0"/>
          <a:ext cx="0" cy="0"/>
          <a:chOff x="0" y="0"/>
          <a:chExt cx="0" cy="0"/>
        </a:xfrm>
      </p:grpSpPr>
      <p:sp>
        <p:nvSpPr>
          <p:cNvPr id="2" name="Freeform 2"/>
          <p:cNvSpPr/>
          <p:nvPr/>
        </p:nvSpPr>
        <p:spPr>
          <a:xfrm>
            <a:off x="6096001" y="1357961"/>
            <a:ext cx="1491943" cy="1090984"/>
          </a:xfrm>
          <a:custGeom>
            <a:avLst/>
            <a:gdLst/>
            <a:ahLst/>
            <a:cxnLst/>
            <a:rect l="l" t="t" r="r" b="b"/>
            <a:pathLst>
              <a:path w="2237915" h="1636476">
                <a:moveTo>
                  <a:pt x="0" y="0"/>
                </a:moveTo>
                <a:lnTo>
                  <a:pt x="2237915" y="0"/>
                </a:lnTo>
                <a:lnTo>
                  <a:pt x="2237915" y="1636476"/>
                </a:lnTo>
                <a:lnTo>
                  <a:pt x="0" y="1636476"/>
                </a:lnTo>
                <a:lnTo>
                  <a:pt x="0" y="0"/>
                </a:lnTo>
                <a:close/>
              </a:path>
            </a:pathLst>
          </a:custGeom>
          <a:blipFill>
            <a:blip r:embed="rId2" cstate="email">
              <a:alphaModFix amt="42000"/>
              <a:extLst>
                <a:ext uri="{28A0092B-C50C-407E-A947-70E740481C1C}">
                  <a14:useLocalDpi xmlns:a14="http://schemas.microsoft.com/office/drawing/2010/main"/>
                </a:ext>
              </a:extLst>
            </a:blip>
            <a:stretch>
              <a:fillRect/>
            </a:stretch>
          </a:blipFill>
        </p:spPr>
      </p:sp>
      <p:sp>
        <p:nvSpPr>
          <p:cNvPr id="3" name="Freeform 3"/>
          <p:cNvSpPr/>
          <p:nvPr/>
        </p:nvSpPr>
        <p:spPr>
          <a:xfrm flipH="1" flipV="1">
            <a:off x="8113408" y="1450466"/>
            <a:ext cx="1334770" cy="905975"/>
          </a:xfrm>
          <a:custGeom>
            <a:avLst/>
            <a:gdLst/>
            <a:ahLst/>
            <a:cxnLst/>
            <a:rect l="l" t="t" r="r" b="b"/>
            <a:pathLst>
              <a:path w="2002155" h="1358963">
                <a:moveTo>
                  <a:pt x="2002155" y="1358962"/>
                </a:moveTo>
                <a:lnTo>
                  <a:pt x="0" y="1358962"/>
                </a:lnTo>
                <a:lnTo>
                  <a:pt x="0" y="0"/>
                </a:lnTo>
                <a:lnTo>
                  <a:pt x="2002155" y="0"/>
                </a:lnTo>
                <a:lnTo>
                  <a:pt x="2002155" y="1358962"/>
                </a:lnTo>
                <a:close/>
              </a:path>
            </a:pathLst>
          </a:custGeom>
          <a:blipFill>
            <a:blip r:embed="rId3" cstate="email">
              <a:alphaModFix amt="38000"/>
              <a:extLst>
                <a:ext uri="{28A0092B-C50C-407E-A947-70E740481C1C}">
                  <a14:useLocalDpi xmlns:a14="http://schemas.microsoft.com/office/drawing/2010/main"/>
                </a:ext>
              </a:extLst>
            </a:blip>
            <a:stretch>
              <a:fillRect/>
            </a:stretch>
          </a:blipFill>
        </p:spPr>
      </p:sp>
      <p:sp>
        <p:nvSpPr>
          <p:cNvPr id="4" name="Freeform 4"/>
          <p:cNvSpPr/>
          <p:nvPr/>
        </p:nvSpPr>
        <p:spPr>
          <a:xfrm>
            <a:off x="6096000" y="3064294"/>
            <a:ext cx="1575175" cy="1045522"/>
          </a:xfrm>
          <a:custGeom>
            <a:avLst/>
            <a:gdLst/>
            <a:ahLst/>
            <a:cxnLst/>
            <a:rect l="l" t="t" r="r" b="b"/>
            <a:pathLst>
              <a:path w="2362762" h="1568283">
                <a:moveTo>
                  <a:pt x="0" y="0"/>
                </a:moveTo>
                <a:lnTo>
                  <a:pt x="2362762" y="0"/>
                </a:lnTo>
                <a:lnTo>
                  <a:pt x="2362762" y="1568284"/>
                </a:lnTo>
                <a:lnTo>
                  <a:pt x="0" y="1568284"/>
                </a:lnTo>
                <a:lnTo>
                  <a:pt x="0" y="0"/>
                </a:lnTo>
                <a:close/>
              </a:path>
            </a:pathLst>
          </a:custGeom>
          <a:blipFill>
            <a:blip r:embed="rId4" cstate="email">
              <a:alphaModFix amt="28000"/>
              <a:extLst>
                <a:ext uri="{28A0092B-C50C-407E-A947-70E740481C1C}">
                  <a14:useLocalDpi xmlns:a14="http://schemas.microsoft.com/office/drawing/2010/main"/>
                </a:ext>
              </a:extLst>
            </a:blip>
            <a:stretch>
              <a:fillRect/>
            </a:stretch>
          </a:blipFill>
        </p:spPr>
      </p:sp>
      <p:sp>
        <p:nvSpPr>
          <p:cNvPr id="5" name="Freeform 5"/>
          <p:cNvSpPr/>
          <p:nvPr/>
        </p:nvSpPr>
        <p:spPr>
          <a:xfrm>
            <a:off x="6174587" y="4560153"/>
            <a:ext cx="1418001" cy="1010326"/>
          </a:xfrm>
          <a:custGeom>
            <a:avLst/>
            <a:gdLst/>
            <a:ahLst/>
            <a:cxnLst/>
            <a:rect l="l" t="t" r="r" b="b"/>
            <a:pathLst>
              <a:path w="2127002" h="1515489">
                <a:moveTo>
                  <a:pt x="0" y="0"/>
                </a:moveTo>
                <a:lnTo>
                  <a:pt x="2127002" y="0"/>
                </a:lnTo>
                <a:lnTo>
                  <a:pt x="2127002" y="1515488"/>
                </a:lnTo>
                <a:lnTo>
                  <a:pt x="0" y="1515488"/>
                </a:lnTo>
                <a:lnTo>
                  <a:pt x="0" y="0"/>
                </a:lnTo>
                <a:close/>
              </a:path>
            </a:pathLst>
          </a:custGeom>
          <a:blipFill>
            <a:blip r:embed="rId5" cstate="email">
              <a:alphaModFix amt="29000"/>
              <a:extLst>
                <a:ext uri="{28A0092B-C50C-407E-A947-70E740481C1C}">
                  <a14:useLocalDpi xmlns:a14="http://schemas.microsoft.com/office/drawing/2010/main"/>
                </a:ext>
              </a:extLst>
            </a:blip>
            <a:stretch>
              <a:fillRect/>
            </a:stretch>
          </a:blipFill>
        </p:spPr>
      </p:sp>
      <p:sp>
        <p:nvSpPr>
          <p:cNvPr id="6" name="Freeform 6"/>
          <p:cNvSpPr/>
          <p:nvPr/>
        </p:nvSpPr>
        <p:spPr>
          <a:xfrm>
            <a:off x="9931667" y="1415691"/>
            <a:ext cx="1478068" cy="975525"/>
          </a:xfrm>
          <a:custGeom>
            <a:avLst/>
            <a:gdLst/>
            <a:ahLst/>
            <a:cxnLst/>
            <a:rect l="l" t="t" r="r" b="b"/>
            <a:pathLst>
              <a:path w="2217102" h="1463287">
                <a:moveTo>
                  <a:pt x="0" y="0"/>
                </a:moveTo>
                <a:lnTo>
                  <a:pt x="2217102" y="0"/>
                </a:lnTo>
                <a:lnTo>
                  <a:pt x="2217102" y="1463287"/>
                </a:lnTo>
                <a:lnTo>
                  <a:pt x="0" y="1463287"/>
                </a:lnTo>
                <a:lnTo>
                  <a:pt x="0" y="0"/>
                </a:lnTo>
                <a:close/>
              </a:path>
            </a:pathLst>
          </a:custGeom>
          <a:blipFill>
            <a:blip r:embed="rId6" cstate="email">
              <a:alphaModFix amt="30000"/>
              <a:extLst>
                <a:ext uri="{28A0092B-C50C-407E-A947-70E740481C1C}">
                  <a14:useLocalDpi xmlns:a14="http://schemas.microsoft.com/office/drawing/2010/main"/>
                </a:ext>
              </a:extLst>
            </a:blip>
            <a:stretch>
              <a:fillRect/>
            </a:stretch>
          </a:blipFill>
        </p:spPr>
      </p:sp>
      <p:sp>
        <p:nvSpPr>
          <p:cNvPr id="7" name="Freeform 7"/>
          <p:cNvSpPr/>
          <p:nvPr/>
        </p:nvSpPr>
        <p:spPr>
          <a:xfrm>
            <a:off x="10184727" y="2912811"/>
            <a:ext cx="1225008" cy="1102507"/>
          </a:xfrm>
          <a:custGeom>
            <a:avLst/>
            <a:gdLst/>
            <a:ahLst/>
            <a:cxnLst/>
            <a:rect l="l" t="t" r="r" b="b"/>
            <a:pathLst>
              <a:path w="1837512" h="1653761">
                <a:moveTo>
                  <a:pt x="0" y="0"/>
                </a:moveTo>
                <a:lnTo>
                  <a:pt x="1837512" y="0"/>
                </a:lnTo>
                <a:lnTo>
                  <a:pt x="1837512" y="1653761"/>
                </a:lnTo>
                <a:lnTo>
                  <a:pt x="0" y="1653761"/>
                </a:lnTo>
                <a:lnTo>
                  <a:pt x="0" y="0"/>
                </a:lnTo>
                <a:close/>
              </a:path>
            </a:pathLst>
          </a:custGeom>
          <a:blipFill>
            <a:blip r:embed="rId7" cstate="email">
              <a:alphaModFix amt="19999"/>
              <a:extLst>
                <a:ext uri="{28A0092B-C50C-407E-A947-70E740481C1C}">
                  <a14:useLocalDpi xmlns:a14="http://schemas.microsoft.com/office/drawing/2010/main"/>
                </a:ext>
              </a:extLst>
            </a:blip>
            <a:stretch>
              <a:fillRect/>
            </a:stretch>
          </a:blipFill>
        </p:spPr>
      </p:sp>
      <p:sp>
        <p:nvSpPr>
          <p:cNvPr id="8" name="Freeform 8"/>
          <p:cNvSpPr/>
          <p:nvPr/>
        </p:nvSpPr>
        <p:spPr>
          <a:xfrm rot="5610383">
            <a:off x="10473135" y="4374398"/>
            <a:ext cx="717035" cy="1381835"/>
          </a:xfrm>
          <a:custGeom>
            <a:avLst/>
            <a:gdLst/>
            <a:ahLst/>
            <a:cxnLst/>
            <a:rect l="l" t="t" r="r" b="b"/>
            <a:pathLst>
              <a:path w="1075552" h="2072752">
                <a:moveTo>
                  <a:pt x="0" y="0"/>
                </a:moveTo>
                <a:lnTo>
                  <a:pt x="1075552" y="0"/>
                </a:lnTo>
                <a:lnTo>
                  <a:pt x="1075552" y="2072752"/>
                </a:lnTo>
                <a:lnTo>
                  <a:pt x="0" y="2072752"/>
                </a:lnTo>
                <a:lnTo>
                  <a:pt x="0" y="0"/>
                </a:lnTo>
                <a:close/>
              </a:path>
            </a:pathLst>
          </a:custGeom>
          <a:blipFill>
            <a:blip r:embed="rId8" cstate="email">
              <a:extLst>
                <a:ext uri="{28A0092B-C50C-407E-A947-70E740481C1C}">
                  <a14:useLocalDpi xmlns:a14="http://schemas.microsoft.com/office/drawing/2010/main"/>
                </a:ext>
              </a:extLst>
            </a:blip>
            <a:stretch>
              <a:fillRect/>
            </a:stretch>
          </a:blipFill>
        </p:spPr>
      </p:sp>
      <p:sp>
        <p:nvSpPr>
          <p:cNvPr id="9" name="Freeform 9"/>
          <p:cNvSpPr/>
          <p:nvPr/>
        </p:nvSpPr>
        <p:spPr>
          <a:xfrm>
            <a:off x="8113408" y="4780259"/>
            <a:ext cx="1334770" cy="600647"/>
          </a:xfrm>
          <a:custGeom>
            <a:avLst/>
            <a:gdLst/>
            <a:ahLst/>
            <a:cxnLst/>
            <a:rect l="l" t="t" r="r" b="b"/>
            <a:pathLst>
              <a:path w="2002155" h="900970">
                <a:moveTo>
                  <a:pt x="0" y="0"/>
                </a:moveTo>
                <a:lnTo>
                  <a:pt x="2002155" y="0"/>
                </a:lnTo>
                <a:lnTo>
                  <a:pt x="2002155" y="900969"/>
                </a:lnTo>
                <a:lnTo>
                  <a:pt x="0" y="900969"/>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sp>
      <p:sp>
        <p:nvSpPr>
          <p:cNvPr id="10" name="Freeform 10"/>
          <p:cNvSpPr/>
          <p:nvPr/>
        </p:nvSpPr>
        <p:spPr>
          <a:xfrm>
            <a:off x="8247795" y="3048977"/>
            <a:ext cx="1200383" cy="1060839"/>
          </a:xfrm>
          <a:custGeom>
            <a:avLst/>
            <a:gdLst/>
            <a:ahLst/>
            <a:cxnLst/>
            <a:rect l="l" t="t" r="r" b="b"/>
            <a:pathLst>
              <a:path w="1800575" h="1591258">
                <a:moveTo>
                  <a:pt x="0" y="0"/>
                </a:moveTo>
                <a:lnTo>
                  <a:pt x="1800575" y="0"/>
                </a:lnTo>
                <a:lnTo>
                  <a:pt x="1800575" y="1591258"/>
                </a:lnTo>
                <a:lnTo>
                  <a:pt x="0" y="1591258"/>
                </a:lnTo>
                <a:lnTo>
                  <a:pt x="0" y="0"/>
                </a:lnTo>
                <a:close/>
              </a:path>
            </a:pathLst>
          </a:custGeom>
          <a:blipFill>
            <a:blip r:embed="rId10" cstate="email">
              <a:alphaModFix amt="38000"/>
              <a:extLst>
                <a:ext uri="{28A0092B-C50C-407E-A947-70E740481C1C}">
                  <a14:useLocalDpi xmlns:a14="http://schemas.microsoft.com/office/drawing/2010/main"/>
                </a:ext>
              </a:extLst>
            </a:blip>
            <a:stretch>
              <a:fillRect/>
            </a:stretch>
          </a:blipFill>
        </p:spPr>
      </p:sp>
      <p:sp>
        <p:nvSpPr>
          <p:cNvPr id="11" name="Freeform 11"/>
          <p:cNvSpPr/>
          <p:nvPr/>
        </p:nvSpPr>
        <p:spPr>
          <a:xfrm>
            <a:off x="1283918" y="409798"/>
            <a:ext cx="9138919" cy="1896325"/>
          </a:xfrm>
          <a:custGeom>
            <a:avLst/>
            <a:gdLst/>
            <a:ahLst/>
            <a:cxnLst/>
            <a:rect l="l" t="t" r="r" b="b"/>
            <a:pathLst>
              <a:path w="13708378" h="2844488">
                <a:moveTo>
                  <a:pt x="0" y="0"/>
                </a:moveTo>
                <a:lnTo>
                  <a:pt x="13708378" y="0"/>
                </a:lnTo>
                <a:lnTo>
                  <a:pt x="13708378" y="2844489"/>
                </a:lnTo>
                <a:lnTo>
                  <a:pt x="0" y="2844489"/>
                </a:lnTo>
                <a:lnTo>
                  <a:pt x="0" y="0"/>
                </a:lnTo>
                <a:close/>
              </a:path>
            </a:pathLst>
          </a:custGeom>
          <a:blipFill>
            <a:blip r:embed="rId11" cstate="email">
              <a:extLst>
                <a:ext uri="{28A0092B-C50C-407E-A947-70E740481C1C}">
                  <a14:useLocalDpi xmlns:a14="http://schemas.microsoft.com/office/drawing/2010/main"/>
                </a:ext>
              </a:extLst>
            </a:blip>
            <a:stretch>
              <a:fillRect/>
            </a:stretch>
          </a:blipFill>
        </p:spPr>
      </p:sp>
      <p:sp>
        <p:nvSpPr>
          <p:cNvPr id="12" name="Freeform 12"/>
          <p:cNvSpPr/>
          <p:nvPr/>
        </p:nvSpPr>
        <p:spPr>
          <a:xfrm>
            <a:off x="1" y="3944157"/>
            <a:ext cx="4569459" cy="2639320"/>
          </a:xfrm>
          <a:custGeom>
            <a:avLst/>
            <a:gdLst/>
            <a:ahLst/>
            <a:cxnLst/>
            <a:rect l="l" t="t" r="r" b="b"/>
            <a:pathLst>
              <a:path w="6854189" h="3958980">
                <a:moveTo>
                  <a:pt x="0" y="0"/>
                </a:moveTo>
                <a:lnTo>
                  <a:pt x="6854189" y="0"/>
                </a:lnTo>
                <a:lnTo>
                  <a:pt x="6854189" y="3958980"/>
                </a:lnTo>
                <a:lnTo>
                  <a:pt x="0" y="3958980"/>
                </a:lnTo>
                <a:lnTo>
                  <a:pt x="0" y="0"/>
                </a:lnTo>
                <a:close/>
              </a:path>
            </a:pathLst>
          </a:custGeom>
          <a:blipFill>
            <a:blip r:embed="rId12" cstate="email">
              <a:extLst>
                <a:ext uri="{28A0092B-C50C-407E-A947-70E740481C1C}">
                  <a14:useLocalDpi xmlns:a14="http://schemas.microsoft.com/office/drawing/2010/main"/>
                </a:ext>
              </a:extLst>
            </a:blip>
            <a:stretch>
              <a:fillRect/>
            </a:stretch>
          </a:blipFill>
        </p:spPr>
      </p:sp>
      <p:sp>
        <p:nvSpPr>
          <p:cNvPr id="13" name="Freeform 13"/>
          <p:cNvSpPr/>
          <p:nvPr/>
        </p:nvSpPr>
        <p:spPr>
          <a:xfrm>
            <a:off x="8364867" y="3568350"/>
            <a:ext cx="3468704" cy="3277925"/>
          </a:xfrm>
          <a:custGeom>
            <a:avLst/>
            <a:gdLst/>
            <a:ahLst/>
            <a:cxnLst/>
            <a:rect l="l" t="t" r="r" b="b"/>
            <a:pathLst>
              <a:path w="5203056" h="4916888">
                <a:moveTo>
                  <a:pt x="0" y="0"/>
                </a:moveTo>
                <a:lnTo>
                  <a:pt x="5203056" y="0"/>
                </a:lnTo>
                <a:lnTo>
                  <a:pt x="5203056" y="4916888"/>
                </a:lnTo>
                <a:lnTo>
                  <a:pt x="0" y="4916888"/>
                </a:lnTo>
                <a:lnTo>
                  <a:pt x="0" y="0"/>
                </a:lnTo>
                <a:close/>
              </a:path>
            </a:pathLst>
          </a:custGeom>
          <a:blipFill>
            <a:blip r:embed="rId13" cstate="email">
              <a:extLst>
                <a:ext uri="{28A0092B-C50C-407E-A947-70E740481C1C}">
                  <a14:useLocalDpi xmlns:a14="http://schemas.microsoft.com/office/drawing/2010/main"/>
                </a:ext>
              </a:extLst>
            </a:blip>
            <a:stretch>
              <a:fillRect/>
            </a:stretch>
          </a:blipFill>
        </p:spPr>
      </p:sp>
      <p:sp>
        <p:nvSpPr>
          <p:cNvPr id="14" name="Freeform 14"/>
          <p:cNvSpPr/>
          <p:nvPr/>
        </p:nvSpPr>
        <p:spPr>
          <a:xfrm>
            <a:off x="3418121" y="2356440"/>
            <a:ext cx="3631189" cy="2423818"/>
          </a:xfrm>
          <a:custGeom>
            <a:avLst/>
            <a:gdLst/>
            <a:ahLst/>
            <a:cxnLst/>
            <a:rect l="l" t="t" r="r" b="b"/>
            <a:pathLst>
              <a:path w="5446783" h="3635727">
                <a:moveTo>
                  <a:pt x="0" y="0"/>
                </a:moveTo>
                <a:lnTo>
                  <a:pt x="5446783" y="0"/>
                </a:lnTo>
                <a:lnTo>
                  <a:pt x="5446783" y="3635728"/>
                </a:lnTo>
                <a:lnTo>
                  <a:pt x="0" y="3635728"/>
                </a:lnTo>
                <a:lnTo>
                  <a:pt x="0" y="0"/>
                </a:lnTo>
                <a:close/>
              </a:path>
            </a:pathLst>
          </a:custGeom>
          <a:blipFill>
            <a:blip r:embed="rId14" cstate="email">
              <a:extLst>
                <a:ext uri="{28A0092B-C50C-407E-A947-70E740481C1C}">
                  <a14:useLocalDpi xmlns:a14="http://schemas.microsoft.com/office/drawing/2010/main"/>
                </a:ext>
              </a:extLst>
            </a:blip>
            <a:stretch>
              <a:fillRect/>
            </a:stretch>
          </a:blipFill>
        </p:spPr>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BEEE7"/>
        </a:solidFill>
        <a:effectLst/>
      </p:bgPr>
    </p:bg>
    <p:spTree>
      <p:nvGrpSpPr>
        <p:cNvPr id="1" name=""/>
        <p:cNvGrpSpPr/>
        <p:nvPr/>
      </p:nvGrpSpPr>
      <p:grpSpPr>
        <a:xfrm>
          <a:off x="0" y="0"/>
          <a:ext cx="0" cy="0"/>
          <a:chOff x="0" y="0"/>
          <a:chExt cx="0" cy="0"/>
        </a:xfrm>
      </p:grpSpPr>
      <p:sp>
        <p:nvSpPr>
          <p:cNvPr id="2" name="Freeform 2"/>
          <p:cNvSpPr/>
          <p:nvPr/>
        </p:nvSpPr>
        <p:spPr>
          <a:xfrm>
            <a:off x="6027481" y="383060"/>
            <a:ext cx="5478719" cy="5124885"/>
          </a:xfrm>
          <a:custGeom>
            <a:avLst/>
            <a:gdLst/>
            <a:ahLst/>
            <a:cxnLst/>
            <a:rect l="l" t="t" r="r" b="b"/>
            <a:pathLst>
              <a:path w="8218079" h="7687328">
                <a:moveTo>
                  <a:pt x="0" y="0"/>
                </a:moveTo>
                <a:lnTo>
                  <a:pt x="8218079" y="0"/>
                </a:lnTo>
                <a:lnTo>
                  <a:pt x="8218079" y="7687328"/>
                </a:lnTo>
                <a:lnTo>
                  <a:pt x="0" y="7687328"/>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grpSp>
        <p:nvGrpSpPr>
          <p:cNvPr id="3" name="Group 3"/>
          <p:cNvGrpSpPr/>
          <p:nvPr/>
        </p:nvGrpSpPr>
        <p:grpSpPr>
          <a:xfrm>
            <a:off x="329333" y="890588"/>
            <a:ext cx="5447627" cy="4325696"/>
            <a:chOff x="0" y="409575"/>
            <a:chExt cx="10895255" cy="8651392"/>
          </a:xfrm>
        </p:grpSpPr>
        <p:sp>
          <p:nvSpPr>
            <p:cNvPr id="4" name="TextBox 4"/>
            <p:cNvSpPr txBox="1"/>
            <p:nvPr/>
          </p:nvSpPr>
          <p:spPr>
            <a:xfrm>
              <a:off x="0" y="409575"/>
              <a:ext cx="10895255" cy="3222036"/>
            </a:xfrm>
            <a:prstGeom prst="rect">
              <a:avLst/>
            </a:prstGeom>
          </p:spPr>
          <p:txBody>
            <a:bodyPr lIns="0" tIns="0" rIns="0" bIns="0" rtlCol="0" anchor="t">
              <a:spAutoFit/>
            </a:bodyPr>
            <a:lstStyle/>
            <a:p>
              <a:pPr algn="ctr" defTabSz="609630">
                <a:lnSpc>
                  <a:spcPts val="6164"/>
                </a:lnSpc>
                <a:buClrTx/>
              </a:pPr>
              <a:r>
                <a:rPr lang="en-US" sz="7518" kern="1200">
                  <a:latin typeface="Moontime"/>
                  <a:ea typeface="+mn-ea"/>
                  <a:cs typeface="+mn-cs"/>
                </a:rPr>
                <a:t>Contact InFormation</a:t>
              </a:r>
            </a:p>
          </p:txBody>
        </p:sp>
        <p:sp>
          <p:nvSpPr>
            <p:cNvPr id="5" name="TextBox 5"/>
            <p:cNvSpPr txBox="1"/>
            <p:nvPr/>
          </p:nvSpPr>
          <p:spPr>
            <a:xfrm>
              <a:off x="0" y="3015979"/>
              <a:ext cx="10895255" cy="6044988"/>
            </a:xfrm>
            <a:prstGeom prst="rect">
              <a:avLst/>
            </a:prstGeom>
          </p:spPr>
          <p:txBody>
            <a:bodyPr lIns="0" tIns="0" rIns="0" bIns="0" rtlCol="0" anchor="t">
              <a:spAutoFit/>
            </a:bodyPr>
            <a:lstStyle/>
            <a:p>
              <a:pPr algn="ctr" defTabSz="609630">
                <a:lnSpc>
                  <a:spcPts val="3424"/>
                </a:lnSpc>
                <a:buClrTx/>
              </a:pPr>
              <a:r>
                <a:rPr lang="en-US" sz="2717" kern="1200">
                  <a:latin typeface="EB Garamond Semi-Bold Italics"/>
                  <a:ea typeface="+mn-ea"/>
                  <a:cs typeface="+mn-cs"/>
                </a:rPr>
                <a:t>Email: Doulabean@gmail.com</a:t>
              </a:r>
            </a:p>
            <a:p>
              <a:pPr algn="ctr" defTabSz="609630">
                <a:lnSpc>
                  <a:spcPts val="3424"/>
                </a:lnSpc>
                <a:buClrTx/>
              </a:pPr>
              <a:r>
                <a:rPr lang="en-US" sz="2717" kern="1200">
                  <a:latin typeface="EB Garamond Semi-Bold Italics"/>
                  <a:ea typeface="+mn-ea"/>
                  <a:cs typeface="+mn-cs"/>
                </a:rPr>
                <a:t>Office: (618) 213-6800</a:t>
              </a:r>
            </a:p>
            <a:p>
              <a:pPr algn="ctr" defTabSz="609630">
                <a:lnSpc>
                  <a:spcPts val="3424"/>
                </a:lnSpc>
                <a:buClrTx/>
              </a:pPr>
              <a:r>
                <a:rPr lang="en-US" sz="2717" kern="1200">
                  <a:latin typeface="EB Garamond Semi-Bold Italics"/>
                  <a:ea typeface="+mn-ea"/>
                  <a:cs typeface="+mn-cs"/>
                </a:rPr>
                <a:t>Business Cell: 618-570-3169</a:t>
              </a:r>
            </a:p>
            <a:p>
              <a:pPr algn="ctr" defTabSz="609630">
                <a:lnSpc>
                  <a:spcPts val="3424"/>
                </a:lnSpc>
                <a:buClrTx/>
              </a:pPr>
              <a:r>
                <a:rPr lang="en-US" sz="2717" kern="1200">
                  <a:latin typeface="EB Garamond Semi-Bold Italics"/>
                  <a:ea typeface="+mn-ea"/>
                  <a:cs typeface="+mn-cs"/>
                </a:rPr>
                <a:t>Location: 6400 W. Main St </a:t>
              </a:r>
            </a:p>
            <a:p>
              <a:pPr algn="ctr" defTabSz="609630">
                <a:lnSpc>
                  <a:spcPts val="3424"/>
                </a:lnSpc>
                <a:buClrTx/>
              </a:pPr>
              <a:r>
                <a:rPr lang="en-US" sz="2717" kern="1200">
                  <a:latin typeface="EB Garamond Semi-Bold Italics"/>
                  <a:ea typeface="+mn-ea"/>
                  <a:cs typeface="+mn-cs"/>
                </a:rPr>
                <a:t>Suite 1D</a:t>
              </a:r>
            </a:p>
            <a:p>
              <a:pPr algn="ctr" defTabSz="609630">
                <a:lnSpc>
                  <a:spcPts val="3424"/>
                </a:lnSpc>
                <a:buClrTx/>
              </a:pPr>
              <a:r>
                <a:rPr lang="en-US" sz="2717" kern="1200">
                  <a:latin typeface="EB Garamond Semi-Bold Italics"/>
                  <a:ea typeface="+mn-ea"/>
                  <a:cs typeface="+mn-cs"/>
                </a:rPr>
                <a:t>Belleville, IL 62223</a:t>
              </a:r>
            </a:p>
            <a:p>
              <a:pPr algn="ctr" defTabSz="609630">
                <a:lnSpc>
                  <a:spcPts val="3424"/>
                </a:lnSpc>
                <a:buClrTx/>
              </a:pPr>
              <a:endParaRPr lang="en-US" sz="2717" kern="1200">
                <a:latin typeface="EB Garamond Semi-Bold Italics"/>
                <a:ea typeface="+mn-ea"/>
                <a:cs typeface="+mn-cs"/>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2677"/>
        <p:cNvGrpSpPr/>
        <p:nvPr/>
      </p:nvGrpSpPr>
      <p:grpSpPr>
        <a:xfrm>
          <a:off x="0" y="0"/>
          <a:ext cx="0" cy="0"/>
          <a:chOff x="0" y="0"/>
          <a:chExt cx="0" cy="0"/>
        </a:xfrm>
      </p:grpSpPr>
      <p:sp>
        <p:nvSpPr>
          <p:cNvPr id="12678" name="Google Shape;12678;p11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r>
              <a:rPr lang="en-US" dirty="0"/>
              <a:t>Team Sharing: NPQIC Hospital Team</a:t>
            </a:r>
            <a:endParaRPr dirty="0"/>
          </a:p>
        </p:txBody>
      </p:sp>
      <p:sp>
        <p:nvSpPr>
          <p:cNvPr id="3" name="Subtitle 2">
            <a:extLst>
              <a:ext uri="{FF2B5EF4-FFF2-40B4-BE49-F238E27FC236}">
                <a16:creationId xmlns:a16="http://schemas.microsoft.com/office/drawing/2014/main" id="{DE0868BC-6FB6-F831-2180-159CAF0E52FD}"/>
              </a:ext>
            </a:extLst>
          </p:cNvPr>
          <p:cNvSpPr>
            <a:spLocks noGrp="1"/>
          </p:cNvSpPr>
          <p:nvPr>
            <p:ph type="subTitle" idx="1"/>
          </p:nvPr>
        </p:nvSpPr>
        <p:spPr/>
        <p:txBody>
          <a:bodyPr/>
          <a:lstStyle/>
          <a:p>
            <a:endParaRPr lang="en-US"/>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93798" y="685584"/>
            <a:ext cx="5556762" cy="5715216"/>
          </a:xfrm>
          <a:prstGeom prst="rect">
            <a:avLst/>
          </a:prstGeom>
        </p:spPr>
      </p:pic>
      <p:pic>
        <p:nvPicPr>
          <p:cNvPr id="1026" name="Picture 2" descr="250754eb-ae70-4729-8c99-ce2822c8750e@bryanhealth"/>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672755" y="2197245"/>
            <a:ext cx="5929157" cy="332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47003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2913" y="136944"/>
            <a:ext cx="1975897" cy="2032241"/>
          </a:xfrm>
          <a:prstGeom prst="rect">
            <a:avLst/>
          </a:prstGeom>
        </p:spPr>
      </p:pic>
      <p:graphicFrame>
        <p:nvGraphicFramePr>
          <p:cNvPr id="2" name="Table 1"/>
          <p:cNvGraphicFramePr>
            <a:graphicFrameLocks noGrp="1"/>
          </p:cNvGraphicFramePr>
          <p:nvPr/>
        </p:nvGraphicFramePr>
        <p:xfrm>
          <a:off x="707366" y="2525163"/>
          <a:ext cx="10912416" cy="3840480"/>
        </p:xfrm>
        <a:graphic>
          <a:graphicData uri="http://schemas.openxmlformats.org/drawingml/2006/table">
            <a:tbl>
              <a:tblPr firstRow="1" bandRow="1">
                <a:tableStyleId>{BC89EF96-8CEA-46FF-86C4-4CE0E7609802}</a:tableStyleId>
              </a:tblPr>
              <a:tblGrid>
                <a:gridCol w="2372264">
                  <a:extLst>
                    <a:ext uri="{9D8B030D-6E8A-4147-A177-3AD203B41FA5}">
                      <a16:colId xmlns:a16="http://schemas.microsoft.com/office/drawing/2014/main" val="3232564896"/>
                    </a:ext>
                  </a:extLst>
                </a:gridCol>
                <a:gridCol w="2924355">
                  <a:extLst>
                    <a:ext uri="{9D8B030D-6E8A-4147-A177-3AD203B41FA5}">
                      <a16:colId xmlns:a16="http://schemas.microsoft.com/office/drawing/2014/main" val="3572389338"/>
                    </a:ext>
                  </a:extLst>
                </a:gridCol>
                <a:gridCol w="2943239">
                  <a:extLst>
                    <a:ext uri="{9D8B030D-6E8A-4147-A177-3AD203B41FA5}">
                      <a16:colId xmlns:a16="http://schemas.microsoft.com/office/drawing/2014/main" val="3289496612"/>
                    </a:ext>
                  </a:extLst>
                </a:gridCol>
                <a:gridCol w="2672558">
                  <a:extLst>
                    <a:ext uri="{9D8B030D-6E8A-4147-A177-3AD203B41FA5}">
                      <a16:colId xmlns:a16="http://schemas.microsoft.com/office/drawing/2014/main" val="1897096634"/>
                    </a:ext>
                  </a:extLst>
                </a:gridCol>
              </a:tblGrid>
              <a:tr h="370840">
                <a:tc>
                  <a:txBody>
                    <a:bodyPr/>
                    <a:lstStyle/>
                    <a:p>
                      <a:r>
                        <a:rPr lang="en-US" b="1" dirty="0"/>
                        <a:t>MFM </a:t>
                      </a:r>
                    </a:p>
                    <a:p>
                      <a:r>
                        <a:rPr lang="en-US" b="0" dirty="0"/>
                        <a:t>Dr. Ben Byers</a:t>
                      </a:r>
                    </a:p>
                  </a:txBody>
                  <a:tcPr/>
                </a:tc>
                <a:tc>
                  <a:txBody>
                    <a:bodyPr/>
                    <a:lstStyle/>
                    <a:p>
                      <a:r>
                        <a:rPr lang="en-US" b="1" dirty="0"/>
                        <a:t>Director </a:t>
                      </a:r>
                    </a:p>
                    <a:p>
                      <a:r>
                        <a:rPr lang="en-US" b="0" dirty="0"/>
                        <a:t>Alexa Lewis</a:t>
                      </a:r>
                    </a:p>
                  </a:txBody>
                  <a:tcPr/>
                </a:tc>
                <a:tc>
                  <a:txBody>
                    <a:bodyPr/>
                    <a:lstStyle/>
                    <a:p>
                      <a:r>
                        <a:rPr lang="en-US" b="1" dirty="0"/>
                        <a:t>Coordinator </a:t>
                      </a:r>
                    </a:p>
                    <a:p>
                      <a:r>
                        <a:rPr lang="en-US" b="0" dirty="0"/>
                        <a:t>Marisa Schaffer </a:t>
                      </a:r>
                    </a:p>
                  </a:txBody>
                  <a:tcPr/>
                </a:tc>
                <a:tc>
                  <a:txBody>
                    <a:bodyPr/>
                    <a:lstStyle/>
                    <a:p>
                      <a:r>
                        <a:rPr lang="en-US" b="1" dirty="0"/>
                        <a:t>Perinatal</a:t>
                      </a:r>
                      <a:r>
                        <a:rPr lang="en-US" b="1" baseline="0" dirty="0"/>
                        <a:t> Quality</a:t>
                      </a:r>
                    </a:p>
                    <a:p>
                      <a:r>
                        <a:rPr lang="en-US" b="0" baseline="0" dirty="0"/>
                        <a:t>Samantha Kenning</a:t>
                      </a:r>
                      <a:endParaRPr lang="en-US" b="0" dirty="0"/>
                    </a:p>
                  </a:txBody>
                  <a:tcPr/>
                </a:tc>
                <a:extLst>
                  <a:ext uri="{0D108BD9-81ED-4DB2-BD59-A6C34878D82A}">
                    <a16:rowId xmlns:a16="http://schemas.microsoft.com/office/drawing/2014/main" val="1832070618"/>
                  </a:ext>
                </a:extLst>
              </a:tr>
              <a:tr h="370840">
                <a:tc>
                  <a:txBody>
                    <a:bodyPr/>
                    <a:lstStyle/>
                    <a:p>
                      <a:r>
                        <a:rPr lang="en-US" b="1" dirty="0"/>
                        <a:t>BWCP Manager</a:t>
                      </a:r>
                    </a:p>
                    <a:p>
                      <a:r>
                        <a:rPr lang="en-US" dirty="0"/>
                        <a:t>Adrienne</a:t>
                      </a:r>
                      <a:r>
                        <a:rPr lang="en-US" baseline="0" dirty="0"/>
                        <a:t> Clark</a:t>
                      </a:r>
                      <a:endParaRPr lang="en-US" dirty="0"/>
                    </a:p>
                  </a:txBody>
                  <a:tcPr/>
                </a:tc>
                <a:tc>
                  <a:txBody>
                    <a:bodyPr/>
                    <a:lstStyle/>
                    <a:p>
                      <a:r>
                        <a:rPr lang="en-US" b="1" dirty="0"/>
                        <a:t>HIM</a:t>
                      </a:r>
                    </a:p>
                    <a:p>
                      <a:r>
                        <a:rPr lang="en-US" dirty="0"/>
                        <a:t>Robin Poole</a:t>
                      </a:r>
                    </a:p>
                  </a:txBody>
                  <a:tcPr/>
                </a:tc>
                <a:tc>
                  <a:txBody>
                    <a:bodyPr/>
                    <a:lstStyle/>
                    <a:p>
                      <a:r>
                        <a:rPr lang="en-US" sz="1600" b="1" dirty="0"/>
                        <a:t>Continuous</a:t>
                      </a:r>
                      <a:r>
                        <a:rPr lang="en-US" sz="1600" b="1" baseline="0" dirty="0"/>
                        <a:t> Improvement</a:t>
                      </a:r>
                      <a:r>
                        <a:rPr lang="en-US" sz="1600" b="1" dirty="0"/>
                        <a:t> </a:t>
                      </a:r>
                    </a:p>
                    <a:p>
                      <a:r>
                        <a:rPr lang="en-US" dirty="0"/>
                        <a:t>Genna Lehr</a:t>
                      </a:r>
                    </a:p>
                  </a:txBody>
                  <a:tcPr/>
                </a:tc>
                <a:tc>
                  <a:txBody>
                    <a:bodyPr/>
                    <a:lstStyle/>
                    <a:p>
                      <a:r>
                        <a:rPr lang="en-US" b="1" dirty="0"/>
                        <a:t>Advancement</a:t>
                      </a:r>
                    </a:p>
                    <a:p>
                      <a:r>
                        <a:rPr lang="en-US" sz="1600" dirty="0"/>
                        <a:t>Marissa</a:t>
                      </a:r>
                      <a:r>
                        <a:rPr lang="en-US" sz="1600" baseline="0" dirty="0"/>
                        <a:t> Damanhoury</a:t>
                      </a:r>
                      <a:endParaRPr lang="en-US" sz="1600" dirty="0"/>
                    </a:p>
                  </a:txBody>
                  <a:tcPr/>
                </a:tc>
                <a:extLst>
                  <a:ext uri="{0D108BD9-81ED-4DB2-BD59-A6C34878D82A}">
                    <a16:rowId xmlns:a16="http://schemas.microsoft.com/office/drawing/2014/main" val="1993413248"/>
                  </a:ext>
                </a:extLst>
              </a:tr>
              <a:tr h="370840">
                <a:tc>
                  <a:txBody>
                    <a:bodyPr/>
                    <a:lstStyle/>
                    <a:p>
                      <a:r>
                        <a:rPr lang="en-US" b="1" dirty="0"/>
                        <a:t>Social Work</a:t>
                      </a:r>
                    </a:p>
                    <a:p>
                      <a:r>
                        <a:rPr lang="en-US" dirty="0"/>
                        <a:t>Karina Adame</a:t>
                      </a:r>
                    </a:p>
                  </a:txBody>
                  <a:tcPr/>
                </a:tc>
                <a:tc>
                  <a:txBody>
                    <a:bodyPr/>
                    <a:lstStyle/>
                    <a:p>
                      <a:r>
                        <a:rPr lang="en-US" b="1" dirty="0"/>
                        <a:t>Epic Analyst</a:t>
                      </a:r>
                    </a:p>
                    <a:p>
                      <a:r>
                        <a:rPr lang="en-US" dirty="0"/>
                        <a:t>Wendy Tran / Dylan Bryant</a:t>
                      </a:r>
                    </a:p>
                  </a:txBody>
                  <a:tcPr/>
                </a:tc>
                <a:tc>
                  <a:txBody>
                    <a:bodyPr/>
                    <a:lstStyle/>
                    <a:p>
                      <a:r>
                        <a:rPr lang="en-US" b="1" dirty="0">
                          <a:solidFill>
                            <a:schemeClr val="tx1"/>
                          </a:solidFill>
                        </a:rPr>
                        <a:t>OBGYN</a:t>
                      </a:r>
                    </a:p>
                    <a:p>
                      <a:r>
                        <a:rPr lang="en-US" dirty="0">
                          <a:solidFill>
                            <a:schemeClr val="tx1"/>
                          </a:solidFill>
                        </a:rPr>
                        <a:t>Dr. Emily </a:t>
                      </a:r>
                      <a:r>
                        <a:rPr lang="en-US" dirty="0" err="1">
                          <a:solidFill>
                            <a:schemeClr val="tx1"/>
                          </a:solidFill>
                        </a:rPr>
                        <a:t>Neri</a:t>
                      </a:r>
                      <a:endParaRPr lang="en-US" dirty="0">
                        <a:solidFill>
                          <a:schemeClr val="tx1"/>
                        </a:solidFill>
                      </a:endParaRPr>
                    </a:p>
                  </a:txBody>
                  <a:tcPr/>
                </a:tc>
                <a:tc>
                  <a:txBody>
                    <a:bodyPr/>
                    <a:lstStyle/>
                    <a:p>
                      <a:r>
                        <a:rPr lang="en-US" b="1" dirty="0"/>
                        <a:t>Midwife</a:t>
                      </a:r>
                    </a:p>
                    <a:p>
                      <a:r>
                        <a:rPr lang="en-US" dirty="0">
                          <a:solidFill>
                            <a:schemeClr val="tx1"/>
                          </a:solidFill>
                        </a:rPr>
                        <a:t>Jill </a:t>
                      </a:r>
                      <a:r>
                        <a:rPr lang="en-US">
                          <a:solidFill>
                            <a:schemeClr val="tx1"/>
                          </a:solidFill>
                        </a:rPr>
                        <a:t>Dolberg</a:t>
                      </a:r>
                      <a:endParaRPr lang="en-US" dirty="0">
                        <a:solidFill>
                          <a:schemeClr val="tx1"/>
                        </a:solidFill>
                      </a:endParaRPr>
                    </a:p>
                  </a:txBody>
                  <a:tcPr/>
                </a:tc>
                <a:extLst>
                  <a:ext uri="{0D108BD9-81ED-4DB2-BD59-A6C34878D82A}">
                    <a16:rowId xmlns:a16="http://schemas.microsoft.com/office/drawing/2014/main" val="4044629603"/>
                  </a:ext>
                </a:extLst>
              </a:tr>
              <a:tr h="370840">
                <a:tc>
                  <a:txBody>
                    <a:bodyPr/>
                    <a:lstStyle/>
                    <a:p>
                      <a:r>
                        <a:rPr lang="en-US" b="1" dirty="0"/>
                        <a:t>Community Partner</a:t>
                      </a:r>
                    </a:p>
                    <a:p>
                      <a:r>
                        <a:rPr lang="en-US" dirty="0">
                          <a:solidFill>
                            <a:schemeClr val="tx1"/>
                          </a:solidFill>
                        </a:rPr>
                        <a:t>Jillian Boldt</a:t>
                      </a:r>
                    </a:p>
                  </a:txBody>
                  <a:tcPr/>
                </a:tc>
                <a:tc>
                  <a:txBody>
                    <a:bodyPr/>
                    <a:lstStyle/>
                    <a:p>
                      <a:r>
                        <a:rPr lang="en-US" b="1" dirty="0"/>
                        <a:t>Patient Representative</a:t>
                      </a:r>
                    </a:p>
                    <a:p>
                      <a:r>
                        <a:rPr lang="en-US" sz="1600" dirty="0">
                          <a:solidFill>
                            <a:schemeClr val="tx1"/>
                          </a:solidFill>
                        </a:rPr>
                        <a:t>Nyaduoth Gatkek</a:t>
                      </a:r>
                    </a:p>
                  </a:txBody>
                  <a:tcPr/>
                </a:tc>
                <a:tc>
                  <a:txBody>
                    <a:bodyPr/>
                    <a:lstStyle/>
                    <a:p>
                      <a:r>
                        <a:rPr lang="en-US" b="1" dirty="0"/>
                        <a:t>Anesthesia</a:t>
                      </a:r>
                    </a:p>
                    <a:p>
                      <a:r>
                        <a:rPr lang="en-US" dirty="0">
                          <a:solidFill>
                            <a:schemeClr val="tx1"/>
                          </a:solidFill>
                        </a:rPr>
                        <a:t>Dr. Matt Edwards</a:t>
                      </a:r>
                    </a:p>
                  </a:txBody>
                  <a:tcPr/>
                </a:tc>
                <a:tc>
                  <a:txBody>
                    <a:bodyPr/>
                    <a:lstStyle/>
                    <a:p>
                      <a:r>
                        <a:rPr lang="en-US" sz="1600" b="1" dirty="0"/>
                        <a:t>Pediatric &amp; WC Division Chair</a:t>
                      </a:r>
                    </a:p>
                    <a:p>
                      <a:r>
                        <a:rPr lang="en-US" dirty="0">
                          <a:solidFill>
                            <a:schemeClr val="tx1"/>
                          </a:solidFill>
                        </a:rPr>
                        <a:t>Dr. Craig Sitzman</a:t>
                      </a:r>
                    </a:p>
                  </a:txBody>
                  <a:tcPr/>
                </a:tc>
                <a:extLst>
                  <a:ext uri="{0D108BD9-81ED-4DB2-BD59-A6C34878D82A}">
                    <a16:rowId xmlns:a16="http://schemas.microsoft.com/office/drawing/2014/main" val="2865217861"/>
                  </a:ext>
                </a:extLst>
              </a:tr>
              <a:tr h="370840">
                <a:tc>
                  <a:txBody>
                    <a:bodyPr/>
                    <a:lstStyle/>
                    <a:p>
                      <a:r>
                        <a:rPr lang="en-US" b="1" dirty="0"/>
                        <a:t>LD Manager</a:t>
                      </a:r>
                    </a:p>
                    <a:p>
                      <a:r>
                        <a:rPr lang="en-US" b="0" dirty="0"/>
                        <a:t>Rachel</a:t>
                      </a:r>
                      <a:r>
                        <a:rPr lang="en-US" b="0" baseline="0" dirty="0"/>
                        <a:t> Romshek</a:t>
                      </a:r>
                      <a:endParaRPr lang="en-US" b="0" dirty="0"/>
                    </a:p>
                  </a:txBody>
                  <a:tcPr/>
                </a:tc>
                <a:tc>
                  <a:txBody>
                    <a:bodyPr/>
                    <a:lstStyle/>
                    <a:p>
                      <a:r>
                        <a:rPr lang="en-US" b="1" dirty="0"/>
                        <a:t>MB Manager</a:t>
                      </a:r>
                    </a:p>
                    <a:p>
                      <a:r>
                        <a:rPr lang="en-US" b="0" dirty="0"/>
                        <a:t>Danielle Wilkinson</a:t>
                      </a:r>
                    </a:p>
                  </a:txBody>
                  <a:tcPr/>
                </a:tc>
                <a:tc>
                  <a:txBody>
                    <a:bodyPr/>
                    <a:lstStyle/>
                    <a:p>
                      <a:r>
                        <a:rPr lang="en-US" b="1" dirty="0"/>
                        <a:t>NICU Interim Manager</a:t>
                      </a:r>
                    </a:p>
                    <a:p>
                      <a:r>
                        <a:rPr lang="en-US" b="0" dirty="0">
                          <a:solidFill>
                            <a:schemeClr val="tx1"/>
                          </a:solidFill>
                        </a:rPr>
                        <a:t>Kim</a:t>
                      </a:r>
                      <a:r>
                        <a:rPr lang="en-US" b="0" baseline="0" dirty="0">
                          <a:solidFill>
                            <a:schemeClr val="tx1"/>
                          </a:solidFill>
                        </a:rPr>
                        <a:t> Dierks</a:t>
                      </a:r>
                      <a:endParaRPr lang="en-US" b="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NP Lead</a:t>
                      </a:r>
                    </a:p>
                    <a:p>
                      <a:r>
                        <a:rPr lang="en-US" dirty="0">
                          <a:solidFill>
                            <a:schemeClr val="tx1"/>
                          </a:solidFill>
                        </a:rPr>
                        <a:t>Amy</a:t>
                      </a:r>
                      <a:r>
                        <a:rPr lang="en-US" baseline="0" dirty="0">
                          <a:solidFill>
                            <a:schemeClr val="tx1"/>
                          </a:solidFill>
                        </a:rPr>
                        <a:t> Termaat</a:t>
                      </a:r>
                      <a:endParaRPr lang="en-US" dirty="0">
                        <a:solidFill>
                          <a:schemeClr val="tx1"/>
                        </a:solidFill>
                      </a:endParaRPr>
                    </a:p>
                  </a:txBody>
                  <a:tcPr/>
                </a:tc>
                <a:extLst>
                  <a:ext uri="{0D108BD9-81ED-4DB2-BD59-A6C34878D82A}">
                    <a16:rowId xmlns:a16="http://schemas.microsoft.com/office/drawing/2014/main" val="974726434"/>
                  </a:ext>
                </a:extLst>
              </a:tr>
              <a:tr h="370840">
                <a:tc>
                  <a:txBody>
                    <a:bodyPr/>
                    <a:lstStyle/>
                    <a:p>
                      <a:r>
                        <a:rPr lang="en-US" b="1" dirty="0"/>
                        <a:t>Ad Hoc Pastoral Care</a:t>
                      </a:r>
                    </a:p>
                    <a:p>
                      <a:r>
                        <a:rPr lang="en-US" sz="1400" b="0" dirty="0"/>
                        <a:t>Barry</a:t>
                      </a:r>
                      <a:r>
                        <a:rPr lang="en-US" sz="1400" b="0" baseline="0" dirty="0"/>
                        <a:t> Metzger / Renee Meyer</a:t>
                      </a:r>
                      <a:endParaRPr lang="en-US" sz="1400" b="0" dirty="0"/>
                    </a:p>
                  </a:txBody>
                  <a:tcPr/>
                </a:tc>
                <a:tc>
                  <a:txBody>
                    <a:bodyPr/>
                    <a:lstStyle/>
                    <a:p>
                      <a:r>
                        <a:rPr lang="en-US" b="1" dirty="0"/>
                        <a:t>Ad</a:t>
                      </a:r>
                      <a:r>
                        <a:rPr lang="en-US" b="1" baseline="0" dirty="0"/>
                        <a:t> Hoc Legal</a:t>
                      </a:r>
                    </a:p>
                    <a:p>
                      <a:r>
                        <a:rPr lang="en-US" b="0" baseline="0" dirty="0"/>
                        <a:t>Allison </a:t>
                      </a:r>
                      <a:r>
                        <a:rPr lang="en-US" b="0" baseline="0" dirty="0" err="1"/>
                        <a:t>Kitzke</a:t>
                      </a:r>
                      <a:endParaRPr lang="en-US" b="0" dirty="0"/>
                    </a:p>
                  </a:txBody>
                  <a:tcPr/>
                </a:tc>
                <a:tc>
                  <a:txBody>
                    <a:bodyPr/>
                    <a:lstStyle/>
                    <a:p>
                      <a:r>
                        <a:rPr lang="en-US" b="1" dirty="0">
                          <a:solidFill>
                            <a:schemeClr val="tx1"/>
                          </a:solidFill>
                        </a:rPr>
                        <a:t>Pediatric manager</a:t>
                      </a:r>
                    </a:p>
                    <a:p>
                      <a:r>
                        <a:rPr lang="en-US" b="0" dirty="0">
                          <a:solidFill>
                            <a:schemeClr val="tx1"/>
                          </a:solidFill>
                        </a:rPr>
                        <a:t>Kim Dier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dirty="0">
                          <a:solidFill>
                            <a:schemeClr val="tx1"/>
                          </a:solidFill>
                        </a:rPr>
                        <a:t>Ad hoc items to NICU FC</a:t>
                      </a:r>
                    </a:p>
                    <a:p>
                      <a:endParaRPr lang="en-US" b="1" dirty="0">
                        <a:solidFill>
                          <a:schemeClr val="tx1"/>
                        </a:solidFill>
                      </a:endParaRPr>
                    </a:p>
                  </a:txBody>
                  <a:tcPr/>
                </a:tc>
                <a:extLst>
                  <a:ext uri="{0D108BD9-81ED-4DB2-BD59-A6C34878D82A}">
                    <a16:rowId xmlns:a16="http://schemas.microsoft.com/office/drawing/2014/main" val="3958678848"/>
                  </a:ext>
                </a:extLst>
              </a:tr>
            </a:tbl>
          </a:graphicData>
        </a:graphic>
      </p:graphicFrame>
      <p:sp>
        <p:nvSpPr>
          <p:cNvPr id="6" name="Rectangle 5"/>
          <p:cNvSpPr/>
          <p:nvPr/>
        </p:nvSpPr>
        <p:spPr>
          <a:xfrm>
            <a:off x="1724702" y="513048"/>
            <a:ext cx="9895080" cy="1200329"/>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panose="020F0502020204030204"/>
                <a:ea typeface="+mn-ea"/>
                <a:cs typeface="+mn-cs"/>
              </a:rPr>
              <a:t>Kick Off 12/19 with month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w="22225">
                  <a:solidFill>
                    <a:srgbClr val="ED7D31"/>
                  </a:solidFill>
                  <a:prstDash val="solid"/>
                </a:ln>
                <a:solidFill>
                  <a:srgbClr val="ED7D31">
                    <a:lumMod val="40000"/>
                    <a:lumOff val="60000"/>
                  </a:srgbClr>
                </a:solidFill>
                <a:effectLst/>
                <a:uLnTx/>
                <a:uFillTx/>
                <a:latin typeface="Calibri" panose="020F0502020204030204"/>
                <a:ea typeface="+mn-ea"/>
                <a:cs typeface="+mn-cs"/>
              </a:rPr>
              <a:t>zoom/in person meetings</a:t>
            </a:r>
          </a:p>
        </p:txBody>
      </p:sp>
    </p:spTree>
    <p:extLst>
      <p:ext uri="{BB962C8B-B14F-4D97-AF65-F5344CB8AC3E}">
        <p14:creationId xmlns:p14="http://schemas.microsoft.com/office/powerpoint/2010/main" val="43614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solidFill>
                  <a:schemeClr val="accent1">
                    <a:lumMod val="50000"/>
                  </a:schemeClr>
                </a:solidFill>
              </a:rPr>
              <a:t>Communal Agreement </a:t>
            </a:r>
          </a:p>
        </p:txBody>
      </p:sp>
      <p:sp>
        <p:nvSpPr>
          <p:cNvPr id="3" name="Content Placeholder 2"/>
          <p:cNvSpPr>
            <a:spLocks noGrp="1"/>
          </p:cNvSpPr>
          <p:nvPr>
            <p:ph sz="half" idx="2"/>
          </p:nvPr>
        </p:nvSpPr>
        <p:spPr/>
        <p:txBody>
          <a:bodyPr/>
          <a:lstStyle/>
          <a:p>
            <a:r>
              <a:rPr lang="en-US" dirty="0"/>
              <a:t>Honor confidentiality</a:t>
            </a:r>
          </a:p>
          <a:p>
            <a:r>
              <a:rPr lang="en-US" dirty="0"/>
              <a:t>Start by assuming good intention and listen to understand</a:t>
            </a:r>
          </a:p>
          <a:p>
            <a:r>
              <a:rPr lang="en-US" dirty="0"/>
              <a:t>Say engaged</a:t>
            </a:r>
          </a:p>
          <a:p>
            <a:r>
              <a:rPr lang="en-US" dirty="0"/>
              <a:t>Share story, state your opinion, ask questions</a:t>
            </a:r>
          </a:p>
          <a:p>
            <a:r>
              <a:rPr lang="en-US" dirty="0"/>
              <a:t>Approach with humility</a:t>
            </a:r>
          </a:p>
          <a:p>
            <a:r>
              <a:rPr lang="en-US" dirty="0"/>
              <a:t>Be respectful and kind</a:t>
            </a:r>
          </a:p>
          <a:p>
            <a:r>
              <a:rPr lang="en-US" dirty="0"/>
              <a:t>Test assumptions and inferences</a:t>
            </a:r>
          </a:p>
        </p:txBody>
      </p:sp>
      <p:pic>
        <p:nvPicPr>
          <p:cNvPr id="1026" name="Picture 2" descr="Co-creating community agreements in meetings - Drawing Change"/>
          <p:cNvPicPr>
            <a:picLocks noGrp="1" noChangeAspect="1" noChangeArrowheads="1"/>
          </p:cNvPicPr>
          <p:nvPr>
            <p:ph sz="half" idx="1"/>
          </p:nvPr>
        </p:nvPicPr>
        <p:blipFill>
          <a:blip r:embed="rId3" cstate="email">
            <a:extLst>
              <a:ext uri="{28A0092B-C50C-407E-A947-70E740481C1C}">
                <a14:useLocalDpi xmlns:a14="http://schemas.microsoft.com/office/drawing/2010/main"/>
              </a:ext>
            </a:extLst>
          </a:blip>
          <a:srcRect/>
          <a:stretch>
            <a:fillRect/>
          </a:stretch>
        </p:blipFill>
        <p:spPr bwMode="auto">
          <a:xfrm>
            <a:off x="1253331" y="1825625"/>
            <a:ext cx="4351338" cy="435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884421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a:extLst>
            <a:ext uri="{FF2B5EF4-FFF2-40B4-BE49-F238E27FC236}">
              <a16:creationId xmlns:a16="http://schemas.microsoft.com/office/drawing/2014/main" id="{AC85AA37-0DF0-577D-12F0-0C47C6130555}"/>
            </a:ext>
          </a:extLst>
        </p:cNvPr>
        <p:cNvGrpSpPr/>
        <p:nvPr/>
      </p:nvGrpSpPr>
      <p:grpSpPr>
        <a:xfrm>
          <a:off x="0" y="0"/>
          <a:ext cx="0" cy="0"/>
          <a:chOff x="0" y="0"/>
          <a:chExt cx="0" cy="0"/>
        </a:xfrm>
      </p:grpSpPr>
      <p:sp>
        <p:nvSpPr>
          <p:cNvPr id="6" name="Freeform 6">
            <a:extLst>
              <a:ext uri="{FF2B5EF4-FFF2-40B4-BE49-F238E27FC236}">
                <a16:creationId xmlns:a16="http://schemas.microsoft.com/office/drawing/2014/main" id="{1CC47398-47D1-3991-0095-85F08C7014B2}"/>
              </a:ext>
            </a:extLst>
          </p:cNvPr>
          <p:cNvSpPr/>
          <p:nvPr/>
        </p:nvSpPr>
        <p:spPr>
          <a:xfrm>
            <a:off x="5696651" y="218534"/>
            <a:ext cx="6152571" cy="2357797"/>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15" name="TextBox 15">
            <a:extLst>
              <a:ext uri="{FF2B5EF4-FFF2-40B4-BE49-F238E27FC236}">
                <a16:creationId xmlns:a16="http://schemas.microsoft.com/office/drawing/2014/main" id="{72552A16-8979-8328-044D-EB965134F322}"/>
              </a:ext>
            </a:extLst>
          </p:cNvPr>
          <p:cNvSpPr txBox="1"/>
          <p:nvPr/>
        </p:nvSpPr>
        <p:spPr>
          <a:xfrm>
            <a:off x="6762505" y="692602"/>
            <a:ext cx="4702289" cy="1404872"/>
          </a:xfrm>
          <a:prstGeom prst="rect">
            <a:avLst/>
          </a:prstGeom>
        </p:spPr>
        <p:txBody>
          <a:bodyPr lIns="0" tIns="0" rIns="0" bIns="0" rtlCol="0" anchor="t">
            <a:spAutoFit/>
          </a:bodyPr>
          <a:lstStyle/>
          <a:p>
            <a:pPr algn="ctr">
              <a:lnSpc>
                <a:spcPts val="3667"/>
              </a:lnSpc>
            </a:pPr>
            <a:r>
              <a:rPr lang="en-US" sz="2600" b="1">
                <a:solidFill>
                  <a:srgbClr val="144B90"/>
                </a:solidFill>
                <a:latin typeface="Prompt"/>
                <a:ea typeface="+mn-lt"/>
                <a:cs typeface="Prompt"/>
              </a:rPr>
              <a:t>Interested in Facilitating an ILPQC Face-to-Face </a:t>
            </a:r>
            <a:endParaRPr lang="en-US">
              <a:solidFill>
                <a:srgbClr val="000000"/>
              </a:solidFill>
              <a:latin typeface="Calibri"/>
              <a:ea typeface="+mn-lt"/>
              <a:cs typeface="Calibri"/>
            </a:endParaRPr>
          </a:p>
          <a:p>
            <a:pPr algn="ctr">
              <a:lnSpc>
                <a:spcPts val="3667"/>
              </a:lnSpc>
            </a:pPr>
            <a:r>
              <a:rPr lang="en-US" sz="2600" b="1">
                <a:solidFill>
                  <a:srgbClr val="144B90"/>
                </a:solidFill>
                <a:latin typeface="Prompt"/>
                <a:ea typeface="+mn-lt"/>
                <a:cs typeface="Prompt"/>
              </a:rPr>
              <a:t>Breakout Session?</a:t>
            </a:r>
            <a:endParaRPr lang="en-US">
              <a:ea typeface="Calibri"/>
              <a:cs typeface="Calibri"/>
            </a:endParaRPr>
          </a:p>
        </p:txBody>
      </p:sp>
      <p:sp>
        <p:nvSpPr>
          <p:cNvPr id="19" name="Freeform 6">
            <a:extLst>
              <a:ext uri="{FF2B5EF4-FFF2-40B4-BE49-F238E27FC236}">
                <a16:creationId xmlns:a16="http://schemas.microsoft.com/office/drawing/2014/main" id="{69B6B7F5-0814-52E5-DC91-550599718ADA}"/>
              </a:ext>
            </a:extLst>
          </p:cNvPr>
          <p:cNvSpPr/>
          <p:nvPr/>
        </p:nvSpPr>
        <p:spPr>
          <a:xfrm>
            <a:off x="5696650" y="4301703"/>
            <a:ext cx="6152571" cy="2357797"/>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sp>
      <p:sp>
        <p:nvSpPr>
          <p:cNvPr id="20" name="TextBox 19">
            <a:extLst>
              <a:ext uri="{FF2B5EF4-FFF2-40B4-BE49-F238E27FC236}">
                <a16:creationId xmlns:a16="http://schemas.microsoft.com/office/drawing/2014/main" id="{3FF70AE4-9AF0-75FE-8520-8A3427521F2B}"/>
              </a:ext>
            </a:extLst>
          </p:cNvPr>
          <p:cNvSpPr txBox="1"/>
          <p:nvPr/>
        </p:nvSpPr>
        <p:spPr>
          <a:xfrm>
            <a:off x="6938513" y="4638136"/>
            <a:ext cx="4180935"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600" b="1">
                <a:solidFill>
                  <a:srgbClr val="144B90"/>
                </a:solidFill>
                <a:latin typeface="Prompt"/>
                <a:cs typeface="Segoe UI"/>
              </a:rPr>
              <a:t>Interested in Volunteering on the Face-to-Face Planning Committee?</a:t>
            </a:r>
            <a:endParaRPr lang="en-US"/>
          </a:p>
        </p:txBody>
      </p:sp>
      <p:pic>
        <p:nvPicPr>
          <p:cNvPr id="21" name="Picture 20" descr="A poster with hands raised&#10;&#10;Description automatically generated">
            <a:extLst>
              <a:ext uri="{FF2B5EF4-FFF2-40B4-BE49-F238E27FC236}">
                <a16:creationId xmlns:a16="http://schemas.microsoft.com/office/drawing/2014/main" id="{4D872AB4-619D-ECAA-EBA3-1B41B67364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5942" y="135147"/>
            <a:ext cx="5062116" cy="6573327"/>
          </a:xfrm>
          <a:prstGeom prst="rect">
            <a:avLst/>
          </a:prstGeom>
        </p:spPr>
      </p:pic>
      <p:sp>
        <p:nvSpPr>
          <p:cNvPr id="2" name="Freeform 2">
            <a:extLst>
              <a:ext uri="{FF2B5EF4-FFF2-40B4-BE49-F238E27FC236}">
                <a16:creationId xmlns:a16="http://schemas.microsoft.com/office/drawing/2014/main" id="{2B173B5D-F90F-66F4-E5DE-807C02C7D380}"/>
              </a:ext>
            </a:extLst>
          </p:cNvPr>
          <p:cNvSpPr/>
          <p:nvPr/>
        </p:nvSpPr>
        <p:spPr>
          <a:xfrm>
            <a:off x="1796749" y="213135"/>
            <a:ext cx="1733828" cy="827039"/>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5" cstate="email">
              <a:extLst>
                <a:ext uri="{28A0092B-C50C-407E-A947-70E740481C1C}">
                  <a14:useLocalDpi xmlns:a14="http://schemas.microsoft.com/office/drawing/2010/main"/>
                </a:ext>
              </a:extLst>
            </a:blip>
            <a:stretch>
              <a:fillRect/>
            </a:stretch>
          </a:blipFill>
        </p:spPr>
      </p:sp>
      <p:sp>
        <p:nvSpPr>
          <p:cNvPr id="22" name="Double Wave 21">
            <a:extLst>
              <a:ext uri="{FF2B5EF4-FFF2-40B4-BE49-F238E27FC236}">
                <a16:creationId xmlns:a16="http://schemas.microsoft.com/office/drawing/2014/main" id="{8ABA3E72-0F12-C088-6AD1-F2AC98F861D2}"/>
              </a:ext>
            </a:extLst>
          </p:cNvPr>
          <p:cNvSpPr/>
          <p:nvPr/>
        </p:nvSpPr>
        <p:spPr>
          <a:xfrm>
            <a:off x="6288835" y="2843212"/>
            <a:ext cx="5449019" cy="1063924"/>
          </a:xfrm>
          <a:prstGeom prst="doubleWav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sz="2800" b="1">
                <a:solidFill>
                  <a:schemeClr val="tx2"/>
                </a:solidFill>
                <a:ea typeface="Calibri"/>
                <a:cs typeface="Calibri"/>
              </a:rPr>
              <a:t>Email</a:t>
            </a:r>
            <a:r>
              <a:rPr lang="en-US" sz="2800">
                <a:ea typeface="Calibri"/>
                <a:cs typeface="Calibri"/>
              </a:rPr>
              <a:t> </a:t>
            </a:r>
            <a:r>
              <a:rPr lang="en-US" sz="2800">
                <a:ea typeface="Calibri"/>
                <a:cs typeface="Calibri"/>
                <a:hlinkClick r:id="rId6"/>
              </a:rPr>
              <a:t>info@ilpqc.org</a:t>
            </a:r>
            <a:endParaRPr lang="en-US" sz="2800">
              <a:ea typeface="Calibri"/>
              <a:cs typeface="Calibri"/>
            </a:endParaRPr>
          </a:p>
        </p:txBody>
      </p:sp>
    </p:spTree>
    <p:extLst>
      <p:ext uri="{BB962C8B-B14F-4D97-AF65-F5344CB8AC3E}">
        <p14:creationId xmlns:p14="http://schemas.microsoft.com/office/powerpoint/2010/main" val="16902623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620527"/>
          </a:xfrm>
        </p:spPr>
        <p:txBody>
          <a:bodyPr>
            <a:normAutofit fontScale="90000"/>
          </a:bodyPr>
          <a:lstStyle/>
          <a:p>
            <a:pPr algn="ctr"/>
            <a:r>
              <a:rPr lang="en-US" sz="5400" b="1" dirty="0">
                <a:solidFill>
                  <a:schemeClr val="accent1">
                    <a:lumMod val="50000"/>
                  </a:schemeClr>
                </a:solidFill>
              </a:rPr>
              <a:t>Grounding moments</a:t>
            </a:r>
          </a:p>
        </p:txBody>
      </p:sp>
      <p:pic>
        <p:nvPicPr>
          <p:cNvPr id="1026" name="Picture 2" descr="Aftershock: Documentary Screening Arkansas Advocates for Children and  Families (AACF)"/>
          <p:cNvPicPr>
            <a:picLocks noGrp="1" noChangeAspect="1" noChangeArrowheads="1"/>
          </p:cNvPicPr>
          <p:nvPr>
            <p:ph sz="half" idx="1"/>
          </p:nvPr>
        </p:nvPicPr>
        <p:blipFill>
          <a:blip r:embed="rId3" cstate="email">
            <a:extLst>
              <a:ext uri="{28A0092B-C50C-407E-A947-70E740481C1C}">
                <a14:useLocalDpi xmlns:a14="http://schemas.microsoft.com/office/drawing/2010/main"/>
              </a:ext>
            </a:extLst>
          </a:blip>
          <a:stretch>
            <a:fillRect/>
          </a:stretch>
        </p:blipFill>
        <p:spPr bwMode="auto">
          <a:xfrm>
            <a:off x="1368138" y="1421864"/>
            <a:ext cx="2765836" cy="2765836"/>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7"/>
          <p:cNvSpPr>
            <a:spLocks noGrp="1"/>
          </p:cNvSpPr>
          <p:nvPr>
            <p:ph sz="half" idx="2"/>
          </p:nvPr>
        </p:nvSpPr>
        <p:spPr>
          <a:xfrm>
            <a:off x="5602183" y="1421864"/>
            <a:ext cx="5940633" cy="4943310"/>
          </a:xfrm>
        </p:spPr>
        <p:txBody>
          <a:bodyPr>
            <a:normAutofit lnSpcReduction="10000"/>
          </a:bodyPr>
          <a:lstStyle/>
          <a:p>
            <a:r>
              <a:rPr lang="en-US" b="1" dirty="0"/>
              <a:t>December: </a:t>
            </a:r>
            <a:r>
              <a:rPr lang="en-US" dirty="0"/>
              <a:t>Overview of BE why and goals</a:t>
            </a:r>
          </a:p>
          <a:p>
            <a:r>
              <a:rPr lang="en-US" b="1" dirty="0"/>
              <a:t>January: </a:t>
            </a:r>
            <a:r>
              <a:rPr lang="en-US" dirty="0"/>
              <a:t>‘I don’t see race’ and TED talk on privilege</a:t>
            </a:r>
          </a:p>
          <a:p>
            <a:r>
              <a:rPr lang="en-US" b="1" dirty="0"/>
              <a:t>February</a:t>
            </a:r>
            <a:r>
              <a:rPr lang="en-US" dirty="0"/>
              <a:t>: IAT implicit bias insights, review of IAT data, review of NPQIC Jan webinar slide</a:t>
            </a:r>
          </a:p>
          <a:p>
            <a:r>
              <a:rPr lang="en-US" b="1" dirty="0"/>
              <a:t>March: </a:t>
            </a:r>
            <a:r>
              <a:rPr lang="en-US" dirty="0"/>
              <a:t>Insights from Aftershock documentary, patient centered care vs. partnership of care, history/legacy of racism</a:t>
            </a:r>
          </a:p>
          <a:p>
            <a:r>
              <a:rPr lang="en-US" b="1" dirty="0"/>
              <a:t>April: </a:t>
            </a:r>
            <a:r>
              <a:rPr lang="en-US" dirty="0"/>
              <a:t>Review TMAH model of care</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4593" y="4507261"/>
            <a:ext cx="4825670" cy="1994480"/>
          </a:xfrm>
          <a:prstGeom prst="rect">
            <a:avLst/>
          </a:prstGeom>
        </p:spPr>
      </p:pic>
    </p:spTree>
    <p:extLst>
      <p:ext uri="{BB962C8B-B14F-4D97-AF65-F5344CB8AC3E}">
        <p14:creationId xmlns:p14="http://schemas.microsoft.com/office/powerpoint/2010/main" val="26801911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p:txBody>
      </p:sp>
      <p:graphicFrame>
        <p:nvGraphicFramePr>
          <p:cNvPr id="4" name="Table 3"/>
          <p:cNvGraphicFramePr>
            <a:graphicFrameLocks noGrp="1"/>
          </p:cNvGraphicFramePr>
          <p:nvPr/>
        </p:nvGraphicFramePr>
        <p:xfrm>
          <a:off x="838201" y="218363"/>
          <a:ext cx="10515599" cy="6541628"/>
        </p:xfrm>
        <a:graphic>
          <a:graphicData uri="http://schemas.openxmlformats.org/drawingml/2006/table">
            <a:tbl>
              <a:tblPr firstRow="1" bandRow="1">
                <a:tableStyleId>{5C22544A-7EE6-4342-B048-85BDC9FD1C3A}</a:tableStyleId>
              </a:tblPr>
              <a:tblGrid>
                <a:gridCol w="1251423">
                  <a:extLst>
                    <a:ext uri="{9D8B030D-6E8A-4147-A177-3AD203B41FA5}">
                      <a16:colId xmlns:a16="http://schemas.microsoft.com/office/drawing/2014/main" val="2512728311"/>
                    </a:ext>
                  </a:extLst>
                </a:gridCol>
                <a:gridCol w="9264176">
                  <a:extLst>
                    <a:ext uri="{9D8B030D-6E8A-4147-A177-3AD203B41FA5}">
                      <a16:colId xmlns:a16="http://schemas.microsoft.com/office/drawing/2014/main" val="3582905088"/>
                    </a:ext>
                  </a:extLst>
                </a:gridCol>
              </a:tblGrid>
              <a:tr h="655093">
                <a:tc gridSpan="2">
                  <a:txBody>
                    <a:bodyPr/>
                    <a:lstStyle/>
                    <a:p>
                      <a:pPr algn="ctr"/>
                      <a:r>
                        <a:rPr lang="en-US" sz="2400" dirty="0"/>
                        <a:t>TIME LINE REVIEW</a:t>
                      </a:r>
                    </a:p>
                  </a:txBody>
                  <a:tcPr/>
                </a:tc>
                <a:tc hMerge="1">
                  <a:txBody>
                    <a:bodyPr/>
                    <a:lstStyle/>
                    <a:p>
                      <a:endParaRPr lang="en-US" sz="2400" dirty="0"/>
                    </a:p>
                  </a:txBody>
                  <a:tcPr/>
                </a:tc>
                <a:extLst>
                  <a:ext uri="{0D108BD9-81ED-4DB2-BD59-A6C34878D82A}">
                    <a16:rowId xmlns:a16="http://schemas.microsoft.com/office/drawing/2014/main" val="2119931499"/>
                  </a:ext>
                </a:extLst>
              </a:tr>
              <a:tr h="948775">
                <a:tc>
                  <a:txBody>
                    <a:bodyPr/>
                    <a:lstStyle/>
                    <a:p>
                      <a:r>
                        <a:rPr lang="en-US" dirty="0"/>
                        <a:t>Q1</a:t>
                      </a:r>
                    </a:p>
                    <a:p>
                      <a:r>
                        <a:rPr lang="en-US" dirty="0"/>
                        <a:t>Data</a:t>
                      </a:r>
                      <a:r>
                        <a:rPr lang="en-US" baseline="0" dirty="0"/>
                        <a:t> / Plan</a:t>
                      </a:r>
                      <a:endParaRPr lang="en-US" dirty="0"/>
                    </a:p>
                  </a:txBody>
                  <a:tcPr/>
                </a:tc>
                <a:tc>
                  <a:txBody>
                    <a:bodyPr/>
                    <a:lstStyle/>
                    <a:p>
                      <a:pPr marL="285750" indent="-285750">
                        <a:buFont typeface="Arial" panose="020B0604020202020204" pitchFamily="34" charset="0"/>
                        <a:buChar char="•"/>
                      </a:pPr>
                      <a:r>
                        <a:rPr lang="en-US" dirty="0"/>
                        <a:t>Implement</a:t>
                      </a:r>
                      <a:r>
                        <a:rPr lang="en-US" baseline="0" dirty="0"/>
                        <a:t> PREM tool survey</a:t>
                      </a:r>
                    </a:p>
                    <a:p>
                      <a:pPr marL="285750" indent="-285750">
                        <a:buFont typeface="Arial" panose="020B0604020202020204" pitchFamily="34" charset="0"/>
                        <a:buChar char="•"/>
                      </a:pPr>
                      <a:r>
                        <a:rPr lang="en-US" baseline="0" dirty="0"/>
                        <a:t>Gather baseline data via Epic and request EMR edits to stratify data</a:t>
                      </a:r>
                    </a:p>
                    <a:p>
                      <a:pPr marL="285750" indent="-285750">
                        <a:buFont typeface="Arial" panose="020B0604020202020204" pitchFamily="34" charset="0"/>
                        <a:buChar char="•"/>
                      </a:pPr>
                      <a:r>
                        <a:rPr lang="en-US" baseline="0" dirty="0"/>
                        <a:t>Gather baseline qualitative data from community partners and patients</a:t>
                      </a:r>
                      <a:endParaRPr lang="en-US" dirty="0"/>
                    </a:p>
                  </a:txBody>
                  <a:tcPr/>
                </a:tc>
                <a:extLst>
                  <a:ext uri="{0D108BD9-81ED-4DB2-BD59-A6C34878D82A}">
                    <a16:rowId xmlns:a16="http://schemas.microsoft.com/office/drawing/2014/main" val="2810720667"/>
                  </a:ext>
                </a:extLst>
              </a:tr>
              <a:tr h="1403121">
                <a:tc>
                  <a:txBody>
                    <a:bodyPr/>
                    <a:lstStyle/>
                    <a:p>
                      <a:r>
                        <a:rPr lang="en-US" dirty="0"/>
                        <a:t>Q2</a:t>
                      </a:r>
                    </a:p>
                    <a:p>
                      <a:r>
                        <a:rPr lang="en-US" dirty="0"/>
                        <a:t>Pilot / Do</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Evaluate data (EMR, PREM and Qualitative)</a:t>
                      </a:r>
                    </a:p>
                    <a:p>
                      <a:pPr marL="285750" indent="-285750">
                        <a:buFont typeface="Arial" panose="020B0604020202020204" pitchFamily="34" charset="0"/>
                        <a:buChar char="•"/>
                      </a:pPr>
                      <a:r>
                        <a:rPr lang="en-US" dirty="0"/>
                        <a:t>LD pilot</a:t>
                      </a:r>
                      <a:r>
                        <a:rPr lang="en-US" baseline="0" dirty="0"/>
                        <a:t> </a:t>
                      </a:r>
                      <a:r>
                        <a:rPr lang="en-US" dirty="0"/>
                        <a:t>admit education on respectful</a:t>
                      </a:r>
                      <a:r>
                        <a:rPr lang="en-US" baseline="0" dirty="0"/>
                        <a:t> care and birth preferences discussion</a:t>
                      </a:r>
                    </a:p>
                    <a:p>
                      <a:pPr marL="285750" indent="-285750">
                        <a:buFont typeface="Arial" panose="020B0604020202020204" pitchFamily="34" charset="0"/>
                        <a:buChar char="•"/>
                      </a:pPr>
                      <a:r>
                        <a:rPr lang="en-US" baseline="0" dirty="0"/>
                        <a:t>MB evaluate options for equitable education on early warning sign education tools &amp; teach back methods</a:t>
                      </a:r>
                    </a:p>
                    <a:p>
                      <a:pPr marL="285750" indent="-285750">
                        <a:buFont typeface="Arial" panose="020B0604020202020204" pitchFamily="34" charset="0"/>
                        <a:buChar char="•"/>
                      </a:pPr>
                      <a:r>
                        <a:rPr lang="en-US" baseline="0" dirty="0"/>
                        <a:t>WC multi-disciplinary Harvard bias self assessment</a:t>
                      </a:r>
                    </a:p>
                    <a:p>
                      <a:pPr marL="285750" indent="-285750">
                        <a:buFont typeface="Arial" panose="020B0604020202020204" pitchFamily="34" charset="0"/>
                        <a:buChar char="•"/>
                      </a:pPr>
                      <a:r>
                        <a:rPr lang="en-US" baseline="0" dirty="0"/>
                        <a:t>Spring doula lunch</a:t>
                      </a:r>
                    </a:p>
                  </a:txBody>
                  <a:tcPr/>
                </a:tc>
                <a:extLst>
                  <a:ext uri="{0D108BD9-81ED-4DB2-BD59-A6C34878D82A}">
                    <a16:rowId xmlns:a16="http://schemas.microsoft.com/office/drawing/2014/main" val="2010736229"/>
                  </a:ext>
                </a:extLst>
              </a:tr>
              <a:tr h="862444">
                <a:tc>
                  <a:txBody>
                    <a:bodyPr/>
                    <a:lstStyle/>
                    <a:p>
                      <a:r>
                        <a:rPr lang="en-US" dirty="0"/>
                        <a:t>Q3</a:t>
                      </a:r>
                    </a:p>
                    <a:p>
                      <a:endParaRPr lang="en-US" dirty="0"/>
                    </a:p>
                    <a:p>
                      <a:r>
                        <a:rPr lang="en-US" dirty="0"/>
                        <a:t>Educate/ Study</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Evaluate data (EMR, PREM and Qualitat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MB pilot equitable education on early warning sign education tools and teach back method</a:t>
                      </a:r>
                    </a:p>
                    <a:p>
                      <a:pPr marL="285750" indent="-285750">
                        <a:buFont typeface="Arial" panose="020B0604020202020204" pitchFamily="34" charset="0"/>
                        <a:buChar char="•"/>
                      </a:pPr>
                      <a:r>
                        <a:rPr lang="en-US" baseline="0" dirty="0"/>
                        <a:t>Launch multi-disciplinary education on bias, respectful care, and trauma informed care. Include doula friendly education</a:t>
                      </a:r>
                    </a:p>
                    <a:p>
                      <a:pPr marL="285750" indent="-285750">
                        <a:buFont typeface="Arial" panose="020B0604020202020204" pitchFamily="34" charset="0"/>
                        <a:buChar char="•"/>
                      </a:pPr>
                      <a:r>
                        <a:rPr lang="en-US" baseline="0" dirty="0"/>
                        <a:t>Publish Doula procedure</a:t>
                      </a:r>
                    </a:p>
                  </a:txBody>
                  <a:tcPr/>
                </a:tc>
                <a:extLst>
                  <a:ext uri="{0D108BD9-81ED-4DB2-BD59-A6C34878D82A}">
                    <a16:rowId xmlns:a16="http://schemas.microsoft.com/office/drawing/2014/main" val="988072613"/>
                  </a:ext>
                </a:extLst>
              </a:tr>
              <a:tr h="1079325">
                <a:tc>
                  <a:txBody>
                    <a:bodyPr/>
                    <a:lstStyle/>
                    <a:p>
                      <a:r>
                        <a:rPr lang="en-US" dirty="0"/>
                        <a:t>Q4</a:t>
                      </a:r>
                    </a:p>
                    <a:p>
                      <a:endParaRPr lang="en-US" dirty="0"/>
                    </a:p>
                    <a:p>
                      <a:r>
                        <a:rPr lang="en-US" dirty="0"/>
                        <a:t>Re Evaluate and Act</a:t>
                      </a:r>
                    </a:p>
                  </a:txBody>
                  <a:tcPr/>
                </a:tc>
                <a:tc>
                  <a:txBody>
                    <a:bodyPr/>
                    <a:lstStyle/>
                    <a:p>
                      <a:pPr marL="285750" indent="-285750">
                        <a:buFont typeface="Arial" panose="020B0604020202020204" pitchFamily="34" charset="0"/>
                        <a:buChar char="•"/>
                      </a:pPr>
                      <a:r>
                        <a:rPr lang="en-US" baseline="0" dirty="0"/>
                        <a:t>Evaluate data (EMR, PREM and Qualitative)</a:t>
                      </a:r>
                    </a:p>
                    <a:p>
                      <a:pPr marL="285750" indent="-285750">
                        <a:buFont typeface="Arial" panose="020B0604020202020204" pitchFamily="34" charset="0"/>
                        <a:buChar char="•"/>
                      </a:pPr>
                      <a:r>
                        <a:rPr lang="en-US" baseline="0" dirty="0"/>
                        <a:t>LD implement admit respectful care and birth preferences discussion</a:t>
                      </a:r>
                    </a:p>
                    <a:p>
                      <a:pPr marL="285750" indent="-285750">
                        <a:buFont typeface="Arial" panose="020B0604020202020204" pitchFamily="34" charset="0"/>
                        <a:buChar char="•"/>
                      </a:pPr>
                      <a:r>
                        <a:rPr lang="en-US" baseline="0" dirty="0"/>
                        <a:t>MB implement equitable early warning signs education tools &amp; teach back method</a:t>
                      </a:r>
                    </a:p>
                    <a:p>
                      <a:pPr marL="285750" indent="-285750">
                        <a:buFont typeface="Arial" panose="020B0604020202020204" pitchFamily="34" charset="0"/>
                        <a:buChar char="•"/>
                      </a:pPr>
                      <a:r>
                        <a:rPr lang="en-US" baseline="0" dirty="0"/>
                        <a:t>Winter doula lunch</a:t>
                      </a:r>
                    </a:p>
                    <a:p>
                      <a:pPr marL="285750" indent="-285750">
                        <a:buFont typeface="Arial" panose="020B0604020202020204" pitchFamily="34" charset="0"/>
                        <a:buChar char="•"/>
                      </a:pPr>
                      <a:r>
                        <a:rPr lang="en-US" baseline="0" dirty="0"/>
                        <a:t>Develop plan for team and patient debrief standardization</a:t>
                      </a:r>
                    </a:p>
                    <a:p>
                      <a:pPr marL="285750" indent="-285750">
                        <a:buFont typeface="Arial" panose="020B0604020202020204" pitchFamily="34" charset="0"/>
                        <a:buChar char="•"/>
                      </a:pPr>
                      <a:r>
                        <a:rPr lang="en-US" baseline="0" dirty="0"/>
                        <a:t>Finalize plan for ongoing education</a:t>
                      </a:r>
                    </a:p>
                  </a:txBody>
                  <a:tcPr/>
                </a:tc>
                <a:extLst>
                  <a:ext uri="{0D108BD9-81ED-4DB2-BD59-A6C34878D82A}">
                    <a16:rowId xmlns:a16="http://schemas.microsoft.com/office/drawing/2014/main" val="2052294668"/>
                  </a:ext>
                </a:extLst>
              </a:tr>
            </a:tbl>
          </a:graphicData>
        </a:graphic>
      </p:graphicFrame>
    </p:spTree>
    <p:extLst>
      <p:ext uri="{BB962C8B-B14F-4D97-AF65-F5344CB8AC3E}">
        <p14:creationId xmlns:p14="http://schemas.microsoft.com/office/powerpoint/2010/main" val="22225441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530229" y="325787"/>
          <a:ext cx="11697418" cy="6443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rot="20483476">
            <a:off x="104046" y="1114784"/>
            <a:ext cx="6345904"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6600">
                  <a:solidFill>
                    <a:srgbClr val="ED7D31"/>
                  </a:solidFill>
                  <a:prstDash val="solid"/>
                </a:ln>
                <a:solidFill>
                  <a:srgbClr val="FFFFFF"/>
                </a:solidFill>
                <a:effectLst>
                  <a:outerShdw dist="38100" dir="2700000" algn="tl" rotWithShape="0">
                    <a:srgbClr val="ED7D31"/>
                  </a:outerShdw>
                </a:effectLst>
                <a:uLnTx/>
                <a:uFillTx/>
                <a:latin typeface="Calibri" panose="020F0502020204030204"/>
                <a:ea typeface="+mn-ea"/>
                <a:cs typeface="+mn-cs"/>
              </a:rPr>
              <a:t>Workgroup Updates! </a:t>
            </a:r>
          </a:p>
        </p:txBody>
      </p:sp>
      <p:sp>
        <p:nvSpPr>
          <p:cNvPr id="3" name="Right Arrow 2">
            <a:extLst>
              <a:ext uri="{FF2B5EF4-FFF2-40B4-BE49-F238E27FC236}">
                <a16:creationId xmlns:a16="http://schemas.microsoft.com/office/drawing/2014/main" id="{B0555C42-2386-9C10-D1E4-E2EFC723E670}"/>
              </a:ext>
            </a:extLst>
          </p:cNvPr>
          <p:cNvSpPr/>
          <p:nvPr/>
        </p:nvSpPr>
        <p:spPr>
          <a:xfrm rot="6257837">
            <a:off x="11132457" y="1465942"/>
            <a:ext cx="769258" cy="4499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06125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chemeClr val="accent1">
                    <a:lumMod val="75000"/>
                  </a:schemeClr>
                </a:solidFill>
              </a:rPr>
              <a:t>WORKGROUP MEMBERS</a:t>
            </a:r>
            <a:endParaRPr lang="en-US" b="1" dirty="0"/>
          </a:p>
        </p:txBody>
      </p:sp>
      <p:graphicFrame>
        <p:nvGraphicFramePr>
          <p:cNvPr id="4" name="Content Placeholder 3"/>
          <p:cNvGraphicFramePr>
            <a:graphicFrameLocks noGrp="1"/>
          </p:cNvGraphicFramePr>
          <p:nvPr>
            <p:ph idx="1"/>
          </p:nvPr>
        </p:nvGraphicFramePr>
        <p:xfrm>
          <a:off x="457200" y="1380226"/>
          <a:ext cx="11300604" cy="51844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ight Arrow 2">
            <a:extLst>
              <a:ext uri="{FF2B5EF4-FFF2-40B4-BE49-F238E27FC236}">
                <a16:creationId xmlns:a16="http://schemas.microsoft.com/office/drawing/2014/main" id="{3844B3E3-B839-5710-1533-E488ED805A8D}"/>
              </a:ext>
            </a:extLst>
          </p:cNvPr>
          <p:cNvSpPr/>
          <p:nvPr/>
        </p:nvSpPr>
        <p:spPr>
          <a:xfrm rot="3438685">
            <a:off x="2815771" y="1132114"/>
            <a:ext cx="769258" cy="4499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58597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solidFill>
                  <a:schemeClr val="accent1">
                    <a:lumMod val="75000"/>
                  </a:schemeClr>
                </a:solidFill>
              </a:rPr>
              <a:t>WORKGROUP GOALS</a:t>
            </a:r>
            <a:endParaRPr lang="en-US" b="1" dirty="0"/>
          </a:p>
        </p:txBody>
      </p:sp>
      <p:graphicFrame>
        <p:nvGraphicFramePr>
          <p:cNvPr id="4" name="Content Placeholder 3"/>
          <p:cNvGraphicFramePr>
            <a:graphicFrameLocks noGrp="1"/>
          </p:cNvGraphicFramePr>
          <p:nvPr>
            <p:ph idx="1"/>
          </p:nvPr>
        </p:nvGraphicFramePr>
        <p:xfrm>
          <a:off x="457200" y="1380226"/>
          <a:ext cx="11300604" cy="51844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ight Arrow 2">
            <a:extLst>
              <a:ext uri="{FF2B5EF4-FFF2-40B4-BE49-F238E27FC236}">
                <a16:creationId xmlns:a16="http://schemas.microsoft.com/office/drawing/2014/main" id="{08C5C302-F988-3BA1-9331-494A09BD6D7F}"/>
              </a:ext>
            </a:extLst>
          </p:cNvPr>
          <p:cNvSpPr/>
          <p:nvPr/>
        </p:nvSpPr>
        <p:spPr>
          <a:xfrm rot="3438685">
            <a:off x="2670628" y="798498"/>
            <a:ext cx="769258" cy="44994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5030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itle 2"/>
          <p:cNvSpPr>
            <a:spLocks noGrp="1"/>
          </p:cNvSpPr>
          <p:nvPr>
            <p:ph type="title"/>
          </p:nvPr>
        </p:nvSpPr>
        <p:spPr>
          <a:xfrm>
            <a:off x="881146" y="458777"/>
            <a:ext cx="6230815" cy="776168"/>
          </a:xfrm>
        </p:spPr>
        <p:txBody>
          <a:bodyPr/>
          <a:lstStyle/>
          <a:p>
            <a:pPr fontAlgn="ctr"/>
            <a:r>
              <a:rPr lang="en-US" sz="2800" dirty="0"/>
              <a:t>Data and EMR</a:t>
            </a:r>
            <a:endParaRPr lang="en-US" sz="1400" dirty="0"/>
          </a:p>
        </p:txBody>
      </p:sp>
      <p:graphicFrame>
        <p:nvGraphicFramePr>
          <p:cNvPr id="3" name="Content Placeholder 2"/>
          <p:cNvGraphicFramePr>
            <a:graphicFrameLocks noGrp="1"/>
          </p:cNvGraphicFramePr>
          <p:nvPr>
            <p:ph idx="1"/>
          </p:nvPr>
        </p:nvGraphicFramePr>
        <p:xfrm>
          <a:off x="881146" y="1609768"/>
          <a:ext cx="10382598" cy="2537533"/>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460854">
                <a:tc>
                  <a:txBody>
                    <a:bodyPr/>
                    <a:lstStyle/>
                    <a:p>
                      <a:r>
                        <a:rPr lang="en-US" sz="2000" dirty="0">
                          <a:solidFill>
                            <a:schemeClr val="bg1"/>
                          </a:solidFill>
                        </a:rPr>
                        <a:t>Completed</a:t>
                      </a:r>
                      <a:endParaRPr lang="en-US" sz="2000" b="0" i="1" dirty="0">
                        <a:solidFill>
                          <a:schemeClr val="bg1"/>
                        </a:solidFill>
                      </a:endParaRPr>
                    </a:p>
                  </a:txBody>
                  <a:tcPr/>
                </a:tc>
                <a:tc>
                  <a:txBody>
                    <a:bodyPr/>
                    <a:lstStyle/>
                    <a:p>
                      <a:r>
                        <a:rPr lang="en-US" dirty="0">
                          <a:solidFill>
                            <a:schemeClr val="bg1"/>
                          </a:solidFill>
                        </a:rPr>
                        <a:t>Commitments with dates</a:t>
                      </a:r>
                      <a:endParaRPr lang="en-US" sz="1400" i="1" dirty="0">
                        <a:solidFill>
                          <a:schemeClr val="bg1"/>
                        </a:solidFill>
                      </a:endParaRPr>
                    </a:p>
                  </a:txBody>
                  <a:tcPr/>
                </a:tc>
                <a:extLst>
                  <a:ext uri="{0D108BD9-81ED-4DB2-BD59-A6C34878D82A}">
                    <a16:rowId xmlns:a16="http://schemas.microsoft.com/office/drawing/2014/main" val="10000"/>
                  </a:ext>
                </a:extLst>
              </a:tr>
              <a:tr h="2076679">
                <a:tc>
                  <a:txBody>
                    <a:bodyPr/>
                    <a:lstStyle/>
                    <a:p>
                      <a:pPr marL="171450" lvl="0" indent="-171450">
                        <a:buFont typeface="Arial" panose="020B0604020202020204" pitchFamily="34" charset="0"/>
                        <a:buChar char="•"/>
                      </a:pPr>
                      <a:r>
                        <a:rPr lang="en-US" sz="1600" kern="1200" dirty="0">
                          <a:solidFill>
                            <a:schemeClr val="tx1"/>
                          </a:solidFill>
                          <a:effectLst/>
                          <a:latin typeface="+mn-lt"/>
                          <a:ea typeface="+mn-ea"/>
                          <a:cs typeface="+mn-cs"/>
                        </a:rPr>
                        <a:t>Baseline data for BE done</a:t>
                      </a:r>
                      <a:r>
                        <a:rPr lang="en-US" sz="1600" kern="1200" baseline="0" dirty="0">
                          <a:solidFill>
                            <a:schemeClr val="tx1"/>
                          </a:solidFill>
                          <a:effectLst/>
                          <a:latin typeface="+mn-lt"/>
                          <a:ea typeface="+mn-ea"/>
                          <a:cs typeface="+mn-cs"/>
                        </a:rPr>
                        <a:t> in Redcap!</a:t>
                      </a:r>
                      <a:endParaRPr lang="en-US" sz="16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600" kern="1200" dirty="0">
                          <a:solidFill>
                            <a:schemeClr val="tx1"/>
                          </a:solidFill>
                          <a:effectLst/>
                          <a:latin typeface="+mn-lt"/>
                          <a:ea typeface="+mn-ea"/>
                          <a:cs typeface="+mn-cs"/>
                        </a:rPr>
                        <a:t>Data</a:t>
                      </a:r>
                      <a:r>
                        <a:rPr lang="en-US" sz="1600" kern="1200" baseline="0" dirty="0">
                          <a:solidFill>
                            <a:schemeClr val="tx1"/>
                          </a:solidFill>
                          <a:effectLst/>
                          <a:latin typeface="+mn-lt"/>
                          <a:ea typeface="+mn-ea"/>
                          <a:cs typeface="+mn-cs"/>
                        </a:rPr>
                        <a:t> stratified for R/E related to maternal hypertension, preterm birth, SMM.</a:t>
                      </a:r>
                    </a:p>
                    <a:p>
                      <a:pPr marL="171450" lvl="0" indent="-171450">
                        <a:buFont typeface="Arial" panose="020B0604020202020204" pitchFamily="34" charset="0"/>
                        <a:buChar char="•"/>
                      </a:pPr>
                      <a:r>
                        <a:rPr lang="en-US" sz="1600" kern="1200" baseline="0" dirty="0">
                          <a:solidFill>
                            <a:schemeClr val="tx1"/>
                          </a:solidFill>
                          <a:effectLst/>
                          <a:latin typeface="+mn-lt"/>
                          <a:ea typeface="+mn-ea"/>
                          <a:cs typeface="+mn-cs"/>
                        </a:rPr>
                        <a:t>PDSA to increase R/E/Payer entry into EMR</a:t>
                      </a:r>
                    </a:p>
                    <a:p>
                      <a:pPr marL="628650" lvl="1" indent="-171450">
                        <a:buFont typeface="Arial" panose="020B0604020202020204" pitchFamily="34" charset="0"/>
                        <a:buChar char="•"/>
                      </a:pPr>
                      <a:r>
                        <a:rPr lang="en-US" sz="1100" kern="1200" dirty="0">
                          <a:solidFill>
                            <a:schemeClr val="tx1"/>
                          </a:solidFill>
                          <a:effectLst/>
                          <a:latin typeface="+mn-lt"/>
                          <a:ea typeface="+mn-ea"/>
                          <a:cs typeface="+mn-cs"/>
                        </a:rPr>
                        <a:t>Go and See</a:t>
                      </a:r>
                      <a:r>
                        <a:rPr lang="en-US" sz="1100" kern="1200" baseline="0" dirty="0">
                          <a:solidFill>
                            <a:schemeClr val="tx1"/>
                          </a:solidFill>
                          <a:effectLst/>
                          <a:latin typeface="+mn-lt"/>
                          <a:ea typeface="+mn-ea"/>
                          <a:cs typeface="+mn-cs"/>
                        </a:rPr>
                        <a:t> with birth clerks</a:t>
                      </a:r>
                    </a:p>
                    <a:p>
                      <a:pPr marL="628650" lvl="1" indent="-171450">
                        <a:buFont typeface="Arial" panose="020B0604020202020204" pitchFamily="34" charset="0"/>
                        <a:buChar char="•"/>
                      </a:pPr>
                      <a:r>
                        <a:rPr lang="en-US" sz="1100" kern="1200" baseline="0" dirty="0">
                          <a:solidFill>
                            <a:schemeClr val="tx1"/>
                          </a:solidFill>
                          <a:effectLst/>
                          <a:latin typeface="+mn-lt"/>
                          <a:ea typeface="+mn-ea"/>
                          <a:cs typeface="+mn-cs"/>
                        </a:rPr>
                        <a:t>Process evaluation with registrars, now come to round and complete these elements</a:t>
                      </a:r>
                    </a:p>
                    <a:p>
                      <a:pPr marL="457200" lvl="1" indent="0">
                        <a:buFont typeface="Arial" panose="020B0604020202020204" pitchFamily="34" charset="0"/>
                        <a:buNone/>
                      </a:pPr>
                      <a:endParaRPr lang="en-US" sz="1100" kern="1200" dirty="0">
                        <a:solidFill>
                          <a:schemeClr val="tx1"/>
                        </a:solidFill>
                        <a:effectLst/>
                        <a:latin typeface="+mn-lt"/>
                        <a:ea typeface="+mn-ea"/>
                        <a:cs typeface="+mn-cs"/>
                      </a:endParaRPr>
                    </a:p>
                  </a:txBody>
                  <a:tcPr/>
                </a:tc>
                <a:tc>
                  <a:txBody>
                    <a:bodyPr/>
                    <a:lstStyle/>
                    <a:p>
                      <a:pPr marL="171450" indent="-171450" algn="l" defTabSz="457200" rtl="0" eaLnBrk="1" latinLnBrk="0" hangingPunct="1">
                        <a:buFont typeface="Arial" panose="020B0604020202020204" pitchFamily="34" charset="0"/>
                        <a:buChar char="•"/>
                      </a:pPr>
                      <a:r>
                        <a:rPr lang="en-US" sz="1800" kern="1200" dirty="0">
                          <a:solidFill>
                            <a:schemeClr val="tx1"/>
                          </a:solidFill>
                          <a:effectLst/>
                          <a:latin typeface="+mn-lt"/>
                          <a:ea typeface="+mn-ea"/>
                          <a:cs typeface="+mn-cs"/>
                        </a:rPr>
                        <a:t>TBD Doula and Payer data</a:t>
                      </a:r>
                    </a:p>
                  </a:txBody>
                  <a:tcPr/>
                </a:tc>
                <a:extLst>
                  <a:ext uri="{0D108BD9-81ED-4DB2-BD59-A6C34878D82A}">
                    <a16:rowId xmlns:a16="http://schemas.microsoft.com/office/drawing/2014/main" val="10001"/>
                  </a:ext>
                </a:extLst>
              </a:tr>
            </a:tbl>
          </a:graphicData>
        </a:graphic>
      </p:graphicFrame>
      <p:graphicFrame>
        <p:nvGraphicFramePr>
          <p:cNvPr id="6" name="Content Placeholder 2"/>
          <p:cNvGraphicFramePr>
            <a:graphicFrameLocks/>
          </p:cNvGraphicFramePr>
          <p:nvPr/>
        </p:nvGraphicFramePr>
        <p:xfrm>
          <a:off x="881146" y="4366953"/>
          <a:ext cx="10382598" cy="1382659"/>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370840">
                <a:tc>
                  <a:txBody>
                    <a:bodyPr/>
                    <a:lstStyle/>
                    <a:p>
                      <a:r>
                        <a:rPr lang="en-US" sz="2000" dirty="0">
                          <a:solidFill>
                            <a:schemeClr val="bg1"/>
                          </a:solidFill>
                        </a:rPr>
                        <a:t>Concerns</a:t>
                      </a:r>
                    </a:p>
                  </a:txBody>
                  <a:tcPr/>
                </a:tc>
                <a:tc>
                  <a:txBody>
                    <a:bodyPr/>
                    <a:lstStyle/>
                    <a:p>
                      <a:r>
                        <a:rPr lang="en-US" dirty="0">
                          <a:solidFill>
                            <a:schemeClr val="bg1"/>
                          </a:solidFill>
                        </a:rPr>
                        <a:t>Celebrations</a:t>
                      </a:r>
                    </a:p>
                  </a:txBody>
                  <a:tcPr/>
                </a:tc>
                <a:extLst>
                  <a:ext uri="{0D108BD9-81ED-4DB2-BD59-A6C34878D82A}">
                    <a16:rowId xmlns:a16="http://schemas.microsoft.com/office/drawing/2014/main" val="10000"/>
                  </a:ext>
                </a:extLst>
              </a:tr>
              <a:tr h="986419">
                <a:tc>
                  <a:txBody>
                    <a:bodyPr/>
                    <a:lstStyle/>
                    <a:p>
                      <a:pPr marL="171450" lvl="0" indent="-171450">
                        <a:buFont typeface="Arial" panose="020B0604020202020204" pitchFamily="34" charset="0"/>
                        <a:buChar char="•"/>
                      </a:pPr>
                      <a:r>
                        <a:rPr lang="en-US" sz="1800" kern="1200" dirty="0">
                          <a:solidFill>
                            <a:schemeClr val="tx1"/>
                          </a:solidFill>
                          <a:effectLst/>
                          <a:latin typeface="Calibri" panose="020F0502020204030204" pitchFamily="34" charset="0"/>
                          <a:ea typeface="Calibri" panose="020F0502020204030204" pitchFamily="34" charset="0"/>
                          <a:cs typeface="+mn-cs"/>
                        </a:rPr>
                        <a:t>Report delays for Doula data and payer data,</a:t>
                      </a:r>
                      <a:r>
                        <a:rPr lang="en-US" sz="1800" kern="1200" baseline="0" dirty="0">
                          <a:solidFill>
                            <a:schemeClr val="tx1"/>
                          </a:solidFill>
                          <a:effectLst/>
                          <a:latin typeface="Calibri" panose="020F0502020204030204" pitchFamily="34" charset="0"/>
                          <a:ea typeface="Calibri" panose="020F0502020204030204" pitchFamily="34" charset="0"/>
                          <a:cs typeface="+mn-cs"/>
                        </a:rPr>
                        <a:t> due to resources</a:t>
                      </a:r>
                    </a:p>
                    <a:p>
                      <a:pPr marL="171450" lvl="0" indent="-171450">
                        <a:buFont typeface="Arial" panose="020B0604020202020204" pitchFamily="34" charset="0"/>
                        <a:buChar char="•"/>
                      </a:pPr>
                      <a:endParaRPr lang="en-US" sz="1800" kern="1200" dirty="0">
                        <a:solidFill>
                          <a:schemeClr val="tx1"/>
                        </a:solidFill>
                        <a:effectLst/>
                        <a:latin typeface="Calibri" panose="020F0502020204030204" pitchFamily="34" charset="0"/>
                        <a:ea typeface="Calibri" panose="020F0502020204030204" pitchFamily="34" charset="0"/>
                        <a:cs typeface="+mn-cs"/>
                      </a:endParaRPr>
                    </a:p>
                  </a:txBody>
                  <a:tcPr/>
                </a:tc>
                <a:tc>
                  <a:txBody>
                    <a:bodyPr/>
                    <a:lstStyle/>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Reviewed R/E</a:t>
                      </a:r>
                      <a:r>
                        <a:rPr lang="en-US" sz="1800" kern="1200" baseline="0" dirty="0">
                          <a:solidFill>
                            <a:schemeClr val="tx1"/>
                          </a:solidFill>
                          <a:effectLst/>
                          <a:latin typeface="+mn-lt"/>
                          <a:ea typeface="+mn-ea"/>
                          <a:cs typeface="+mn-cs"/>
                        </a:rPr>
                        <a:t> data at Perinatal Quality and BE steering teams</a:t>
                      </a:r>
                      <a:endParaRPr lang="en-US" sz="1800" kern="1200" dirty="0">
                        <a:solidFill>
                          <a:schemeClr val="tx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graphicFrame>
        <p:nvGraphicFramePr>
          <p:cNvPr id="10" name="Content Placeholder 2"/>
          <p:cNvGraphicFramePr>
            <a:graphicFrameLocks/>
          </p:cNvGraphicFramePr>
          <p:nvPr/>
        </p:nvGraphicFramePr>
        <p:xfrm>
          <a:off x="10019831" y="187806"/>
          <a:ext cx="1243913" cy="1059798"/>
        </p:xfrm>
        <a:graphic>
          <a:graphicData uri="http://schemas.openxmlformats.org/drawingml/2006/table">
            <a:tbl>
              <a:tblPr firstRow="1" bandRow="1">
                <a:tableStyleId>{5A111915-BE36-4E01-A7E5-04B1672EAD32}</a:tableStyleId>
              </a:tblPr>
              <a:tblGrid>
                <a:gridCol w="334899">
                  <a:extLst>
                    <a:ext uri="{9D8B030D-6E8A-4147-A177-3AD203B41FA5}">
                      <a16:colId xmlns:a16="http://schemas.microsoft.com/office/drawing/2014/main" val="20000"/>
                    </a:ext>
                  </a:extLst>
                </a:gridCol>
                <a:gridCol w="909014">
                  <a:extLst>
                    <a:ext uri="{9D8B030D-6E8A-4147-A177-3AD203B41FA5}">
                      <a16:colId xmlns:a16="http://schemas.microsoft.com/office/drawing/2014/main" val="20001"/>
                    </a:ext>
                  </a:extLst>
                </a:gridCol>
              </a:tblGrid>
              <a:tr h="214458">
                <a:tc gridSpan="2">
                  <a:txBody>
                    <a:bodyPr/>
                    <a:lstStyle/>
                    <a:p>
                      <a:pPr algn="ctr"/>
                      <a:r>
                        <a:rPr lang="en-US" sz="1000" dirty="0">
                          <a:solidFill>
                            <a:schemeClr val="tx2"/>
                          </a:solidFill>
                        </a:rPr>
                        <a:t>Status Legend*</a:t>
                      </a:r>
                    </a:p>
                  </a:txBody>
                  <a:tcPr>
                    <a:noFill/>
                  </a:tcPr>
                </a:tc>
                <a:tc hMerge="1">
                  <a:txBody>
                    <a:bodyPr/>
                    <a:lstStyle/>
                    <a:p>
                      <a:endParaRPr lang="en-US" sz="1050" dirty="0">
                        <a:solidFill>
                          <a:schemeClr val="tx2"/>
                        </a:solidFill>
                      </a:endParaRPr>
                    </a:p>
                  </a:txBody>
                  <a:tcPr/>
                </a:tc>
                <a:extLst>
                  <a:ext uri="{0D108BD9-81ED-4DB2-BD59-A6C34878D82A}">
                    <a16:rowId xmlns:a16="http://schemas.microsoft.com/office/drawing/2014/main" val="10000"/>
                  </a:ext>
                </a:extLst>
              </a:tr>
              <a:tr h="271986">
                <a:tc>
                  <a:txBody>
                    <a:bodyPr/>
                    <a:lstStyle/>
                    <a:p>
                      <a:pPr marL="0" indent="0">
                        <a:buFontTx/>
                        <a:buNone/>
                      </a:pPr>
                      <a:endParaRPr lang="en-US" sz="800" dirty="0"/>
                    </a:p>
                  </a:txBody>
                  <a:tcPr>
                    <a:solidFill>
                      <a:srgbClr val="FFFF00"/>
                    </a:solidFill>
                  </a:tcPr>
                </a:tc>
                <a:tc>
                  <a:txBody>
                    <a:bodyPr/>
                    <a:lstStyle/>
                    <a:p>
                      <a:pPr marL="0" indent="0">
                        <a:buFontTx/>
                        <a:buNone/>
                      </a:pPr>
                      <a:r>
                        <a:rPr lang="en-US" sz="800" dirty="0"/>
                        <a:t>Ongoing</a:t>
                      </a:r>
                    </a:p>
                  </a:txBody>
                  <a:tcPr/>
                </a:tc>
                <a:extLst>
                  <a:ext uri="{0D108BD9-81ED-4DB2-BD59-A6C34878D82A}">
                    <a16:rowId xmlns:a16="http://schemas.microsoft.com/office/drawing/2014/main" val="10001"/>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Caution</a:t>
                      </a:r>
                    </a:p>
                  </a:txBody>
                  <a:tcPr/>
                </a:tc>
                <a:extLst>
                  <a:ext uri="{0D108BD9-81ED-4DB2-BD59-A6C34878D82A}">
                    <a16:rowId xmlns:a16="http://schemas.microsoft.com/office/drawing/2014/main" val="10002"/>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At Risk</a:t>
                      </a:r>
                    </a:p>
                  </a:txBody>
                  <a:tcPr/>
                </a:tc>
                <a:extLst>
                  <a:ext uri="{0D108BD9-81ED-4DB2-BD59-A6C34878D82A}">
                    <a16:rowId xmlns:a16="http://schemas.microsoft.com/office/drawing/2014/main" val="10003"/>
                  </a:ext>
                </a:extLst>
              </a:tr>
            </a:tbl>
          </a:graphicData>
        </a:graphic>
      </p:graphicFrame>
      <p:sp>
        <p:nvSpPr>
          <p:cNvPr id="8" name="TextBox 7"/>
          <p:cNvSpPr txBox="1"/>
          <p:nvPr/>
        </p:nvSpPr>
        <p:spPr>
          <a:xfrm>
            <a:off x="9390462" y="1247604"/>
            <a:ext cx="202010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 Delete coloring in boxes that do not apply</a:t>
            </a:r>
          </a:p>
        </p:txBody>
      </p:sp>
      <p:sp>
        <p:nvSpPr>
          <p:cNvPr id="2" name="TextBox 1"/>
          <p:cNvSpPr txBox="1"/>
          <p:nvPr/>
        </p:nvSpPr>
        <p:spPr>
          <a:xfrm rot="16200000">
            <a:off x="-2188226" y="2747729"/>
            <a:ext cx="5128055"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E6E6"/>
                </a:solidFill>
                <a:effectLst/>
                <a:uLnTx/>
                <a:uFillTx/>
                <a:latin typeface="Calibri" panose="020F0502020204030204"/>
                <a:ea typeface="+mn-ea"/>
                <a:cs typeface="+mn-cs"/>
              </a:rPr>
              <a:t>Leader: Abby Rech/Denise Moeschen  Senior Leader Sponsor: Vail, Dr. Trapp </a:t>
            </a:r>
          </a:p>
        </p:txBody>
      </p:sp>
    </p:spTree>
    <p:extLst>
      <p:ext uri="{BB962C8B-B14F-4D97-AF65-F5344CB8AC3E}">
        <p14:creationId xmlns:p14="http://schemas.microsoft.com/office/powerpoint/2010/main" val="15450561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itle 2"/>
          <p:cNvSpPr>
            <a:spLocks noGrp="1"/>
          </p:cNvSpPr>
          <p:nvPr>
            <p:ph type="title"/>
          </p:nvPr>
        </p:nvSpPr>
        <p:spPr>
          <a:xfrm>
            <a:off x="881146" y="458777"/>
            <a:ext cx="6230815" cy="776168"/>
          </a:xfrm>
        </p:spPr>
        <p:txBody>
          <a:bodyPr/>
          <a:lstStyle/>
          <a:p>
            <a:pPr fontAlgn="ctr"/>
            <a:r>
              <a:rPr lang="en-US" sz="2800" dirty="0"/>
              <a:t>Doula Friendly</a:t>
            </a:r>
            <a:endParaRPr lang="en-US" sz="1400" dirty="0"/>
          </a:p>
        </p:txBody>
      </p:sp>
      <p:graphicFrame>
        <p:nvGraphicFramePr>
          <p:cNvPr id="3" name="Content Placeholder 2"/>
          <p:cNvGraphicFramePr>
            <a:graphicFrameLocks noGrp="1"/>
          </p:cNvGraphicFramePr>
          <p:nvPr>
            <p:ph idx="1"/>
          </p:nvPr>
        </p:nvGraphicFramePr>
        <p:xfrm>
          <a:off x="881146" y="1609768"/>
          <a:ext cx="10382598" cy="2541114"/>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460854">
                <a:tc>
                  <a:txBody>
                    <a:bodyPr/>
                    <a:lstStyle/>
                    <a:p>
                      <a:r>
                        <a:rPr lang="en-US" sz="2400" dirty="0">
                          <a:solidFill>
                            <a:schemeClr val="bg1"/>
                          </a:solidFill>
                        </a:rPr>
                        <a:t>Completed</a:t>
                      </a:r>
                      <a:endParaRPr lang="en-US" sz="2400" b="0" i="1" dirty="0">
                        <a:solidFill>
                          <a:schemeClr val="bg1"/>
                        </a:solidFill>
                      </a:endParaRPr>
                    </a:p>
                  </a:txBody>
                  <a:tcPr/>
                </a:tc>
                <a:tc>
                  <a:txBody>
                    <a:bodyPr/>
                    <a:lstStyle/>
                    <a:p>
                      <a:r>
                        <a:rPr lang="en-US" dirty="0">
                          <a:solidFill>
                            <a:schemeClr val="bg1"/>
                          </a:solidFill>
                        </a:rPr>
                        <a:t>Commitments with dates</a:t>
                      </a:r>
                      <a:endParaRPr lang="en-US" sz="1400" i="1" dirty="0">
                        <a:solidFill>
                          <a:schemeClr val="bg1"/>
                        </a:solidFill>
                      </a:endParaRPr>
                    </a:p>
                  </a:txBody>
                  <a:tcPr/>
                </a:tc>
                <a:extLst>
                  <a:ext uri="{0D108BD9-81ED-4DB2-BD59-A6C34878D82A}">
                    <a16:rowId xmlns:a16="http://schemas.microsoft.com/office/drawing/2014/main" val="10000"/>
                  </a:ext>
                </a:extLst>
              </a:tr>
              <a:tr h="2076679">
                <a:tc>
                  <a:txBody>
                    <a:bodyPr/>
                    <a:lstStyle/>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Aug 2023 doula lunch for insight</a:t>
                      </a:r>
                    </a:p>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Pathway discussion</a:t>
                      </a:r>
                      <a:r>
                        <a:rPr lang="en-US" sz="1800" kern="1200" baseline="0" dirty="0">
                          <a:solidFill>
                            <a:schemeClr val="tx1"/>
                          </a:solidFill>
                          <a:effectLst/>
                          <a:latin typeface="+mn-lt"/>
                          <a:ea typeface="+mn-ea"/>
                          <a:cs typeface="+mn-cs"/>
                        </a:rPr>
                        <a:t> with community doulas, BMC nursing leaders, anesthesia and senior leaders</a:t>
                      </a:r>
                    </a:p>
                    <a:p>
                      <a:pPr marL="628650" lvl="1" indent="-171450">
                        <a:buFont typeface="Arial" panose="020B0604020202020204" pitchFamily="34" charset="0"/>
                        <a:buChar char="•"/>
                      </a:pPr>
                      <a:r>
                        <a:rPr lang="en-US" sz="1800" kern="1200" baseline="0" dirty="0">
                          <a:solidFill>
                            <a:schemeClr val="tx1"/>
                          </a:solidFill>
                          <a:effectLst/>
                          <a:latin typeface="+mn-lt"/>
                          <a:ea typeface="+mn-ea"/>
                          <a:cs typeface="+mn-cs"/>
                        </a:rPr>
                        <a:t>SBAR</a:t>
                      </a:r>
                    </a:p>
                    <a:p>
                      <a:pPr marL="628650" lvl="1" indent="-171450">
                        <a:buFont typeface="Arial" panose="020B0604020202020204" pitchFamily="34" charset="0"/>
                        <a:buChar char="•"/>
                      </a:pPr>
                      <a:r>
                        <a:rPr lang="en-US" sz="1800" kern="1200" baseline="0" dirty="0">
                          <a:solidFill>
                            <a:schemeClr val="tx1"/>
                          </a:solidFill>
                          <a:effectLst/>
                          <a:latin typeface="+mn-lt"/>
                          <a:ea typeface="+mn-ea"/>
                          <a:cs typeface="+mn-cs"/>
                        </a:rPr>
                        <a:t>Acknowledgment form</a:t>
                      </a:r>
                    </a:p>
                    <a:p>
                      <a:pPr marL="171450" lvl="0" indent="-171450">
                        <a:buFont typeface="Arial" panose="020B0604020202020204" pitchFamily="34" charset="0"/>
                        <a:buChar char="•"/>
                      </a:pPr>
                      <a:r>
                        <a:rPr lang="en-US" sz="1800" kern="1200" baseline="0" dirty="0">
                          <a:solidFill>
                            <a:schemeClr val="tx1"/>
                          </a:solidFill>
                          <a:effectLst/>
                          <a:latin typeface="+mn-lt"/>
                          <a:ea typeface="+mn-ea"/>
                          <a:cs typeface="+mn-cs"/>
                        </a:rPr>
                        <a:t>Doula field added to PP screens </a:t>
                      </a:r>
                      <a:r>
                        <a:rPr lang="en-US" sz="1050" kern="1200" baseline="0" dirty="0">
                          <a:solidFill>
                            <a:schemeClr val="tx1"/>
                          </a:solidFill>
                          <a:effectLst/>
                          <a:latin typeface="+mn-lt"/>
                          <a:ea typeface="+mn-ea"/>
                          <a:cs typeface="+mn-cs"/>
                        </a:rPr>
                        <a:t>(was in LD delivery summary already)</a:t>
                      </a:r>
                    </a:p>
                    <a:p>
                      <a:pPr marL="171450" lvl="0" indent="-171450">
                        <a:buFont typeface="Arial" panose="020B0604020202020204" pitchFamily="34" charset="0"/>
                        <a:buChar char="•"/>
                      </a:pPr>
                      <a:endParaRPr lang="en-US" sz="1200" kern="1200" baseline="0" dirty="0">
                        <a:solidFill>
                          <a:schemeClr val="tx1"/>
                        </a:solidFill>
                        <a:effectLst/>
                        <a:latin typeface="+mn-lt"/>
                        <a:ea typeface="+mn-ea"/>
                        <a:cs typeface="+mn-cs"/>
                      </a:endParaRPr>
                    </a:p>
                  </a:txBody>
                  <a:tcPr/>
                </a:tc>
                <a:tc>
                  <a:txBody>
                    <a:bodyPr/>
                    <a:lstStyle/>
                    <a:p>
                      <a:pPr marL="171450" indent="-171450" algn="l" defTabSz="457200" rtl="0" eaLnBrk="1" latinLnBrk="0" hangingPunct="1">
                        <a:buFont typeface="Arial" panose="020B0604020202020204" pitchFamily="34" charset="0"/>
                        <a:buChar char="•"/>
                      </a:pPr>
                      <a:r>
                        <a:rPr lang="en-US" sz="1800" kern="1200" dirty="0">
                          <a:solidFill>
                            <a:schemeClr val="tx1"/>
                          </a:solidFill>
                          <a:effectLst/>
                          <a:latin typeface="+mn-lt"/>
                          <a:ea typeface="+mn-ea"/>
                          <a:cs typeface="+mn-cs"/>
                        </a:rPr>
                        <a:t>May community doula lunch </a:t>
                      </a:r>
                    </a:p>
                  </a:txBody>
                  <a:tcPr/>
                </a:tc>
                <a:extLst>
                  <a:ext uri="{0D108BD9-81ED-4DB2-BD59-A6C34878D82A}">
                    <a16:rowId xmlns:a16="http://schemas.microsoft.com/office/drawing/2014/main" val="10001"/>
                  </a:ext>
                </a:extLst>
              </a:tr>
            </a:tbl>
          </a:graphicData>
        </a:graphic>
      </p:graphicFrame>
      <p:graphicFrame>
        <p:nvGraphicFramePr>
          <p:cNvPr id="6" name="Content Placeholder 2"/>
          <p:cNvGraphicFramePr>
            <a:graphicFrameLocks/>
          </p:cNvGraphicFramePr>
          <p:nvPr/>
        </p:nvGraphicFramePr>
        <p:xfrm>
          <a:off x="881146" y="4366953"/>
          <a:ext cx="10382598" cy="1382659"/>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370840">
                <a:tc>
                  <a:txBody>
                    <a:bodyPr/>
                    <a:lstStyle/>
                    <a:p>
                      <a:r>
                        <a:rPr lang="en-US" sz="2000" dirty="0">
                          <a:solidFill>
                            <a:schemeClr val="bg1"/>
                          </a:solidFill>
                        </a:rPr>
                        <a:t>Concerns</a:t>
                      </a:r>
                    </a:p>
                  </a:txBody>
                  <a:tcPr/>
                </a:tc>
                <a:tc>
                  <a:txBody>
                    <a:bodyPr/>
                    <a:lstStyle/>
                    <a:p>
                      <a:r>
                        <a:rPr lang="en-US" dirty="0">
                          <a:solidFill>
                            <a:schemeClr val="bg1"/>
                          </a:solidFill>
                        </a:rPr>
                        <a:t>Celebrations</a:t>
                      </a:r>
                    </a:p>
                  </a:txBody>
                  <a:tcPr/>
                </a:tc>
                <a:extLst>
                  <a:ext uri="{0D108BD9-81ED-4DB2-BD59-A6C34878D82A}">
                    <a16:rowId xmlns:a16="http://schemas.microsoft.com/office/drawing/2014/main" val="10000"/>
                  </a:ext>
                </a:extLst>
              </a:tr>
              <a:tr h="986419">
                <a:tc>
                  <a:txBody>
                    <a:bodyPr/>
                    <a:lstStyle/>
                    <a:p>
                      <a:pPr marL="171450" lvl="0" indent="-171450">
                        <a:buFont typeface="Arial" panose="020B0604020202020204" pitchFamily="34" charset="0"/>
                        <a:buChar char="•"/>
                      </a:pPr>
                      <a:r>
                        <a:rPr lang="en-US" sz="1800" kern="1200" dirty="0">
                          <a:solidFill>
                            <a:schemeClr val="tx1"/>
                          </a:solidFill>
                          <a:effectLst/>
                          <a:latin typeface="Calibri" panose="020F0502020204030204" pitchFamily="34" charset="0"/>
                          <a:ea typeface="Calibri" panose="020F0502020204030204" pitchFamily="34" charset="0"/>
                          <a:cs typeface="+mn-cs"/>
                        </a:rPr>
                        <a:t>Doula report delays</a:t>
                      </a:r>
                    </a:p>
                  </a:txBody>
                  <a:tcPr/>
                </a:tc>
                <a:tc>
                  <a:txBody>
                    <a:bodyPr/>
                    <a:lstStyle/>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Collaboration amongst</a:t>
                      </a:r>
                      <a:r>
                        <a:rPr lang="en-US" sz="1800" kern="1200" baseline="0" dirty="0">
                          <a:solidFill>
                            <a:schemeClr val="tx1"/>
                          </a:solidFill>
                          <a:effectLst/>
                          <a:latin typeface="+mn-lt"/>
                          <a:ea typeface="+mn-ea"/>
                          <a:cs typeface="+mn-cs"/>
                        </a:rPr>
                        <a:t> those involved in pathway development was amazing</a:t>
                      </a:r>
                      <a:endParaRPr lang="en-US" sz="1800" kern="1200" dirty="0">
                        <a:solidFill>
                          <a:schemeClr val="tx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graphicFrame>
        <p:nvGraphicFramePr>
          <p:cNvPr id="10" name="Content Placeholder 2"/>
          <p:cNvGraphicFramePr>
            <a:graphicFrameLocks/>
          </p:cNvGraphicFramePr>
          <p:nvPr/>
        </p:nvGraphicFramePr>
        <p:xfrm>
          <a:off x="10019831" y="187806"/>
          <a:ext cx="1243913" cy="1059798"/>
        </p:xfrm>
        <a:graphic>
          <a:graphicData uri="http://schemas.openxmlformats.org/drawingml/2006/table">
            <a:tbl>
              <a:tblPr firstRow="1" bandRow="1">
                <a:tableStyleId>{5A111915-BE36-4E01-A7E5-04B1672EAD32}</a:tableStyleId>
              </a:tblPr>
              <a:tblGrid>
                <a:gridCol w="334899">
                  <a:extLst>
                    <a:ext uri="{9D8B030D-6E8A-4147-A177-3AD203B41FA5}">
                      <a16:colId xmlns:a16="http://schemas.microsoft.com/office/drawing/2014/main" val="20000"/>
                    </a:ext>
                  </a:extLst>
                </a:gridCol>
                <a:gridCol w="909014">
                  <a:extLst>
                    <a:ext uri="{9D8B030D-6E8A-4147-A177-3AD203B41FA5}">
                      <a16:colId xmlns:a16="http://schemas.microsoft.com/office/drawing/2014/main" val="20001"/>
                    </a:ext>
                  </a:extLst>
                </a:gridCol>
              </a:tblGrid>
              <a:tr h="214458">
                <a:tc gridSpan="2">
                  <a:txBody>
                    <a:bodyPr/>
                    <a:lstStyle/>
                    <a:p>
                      <a:pPr algn="ctr"/>
                      <a:r>
                        <a:rPr lang="en-US" sz="1000" dirty="0">
                          <a:solidFill>
                            <a:schemeClr val="tx2"/>
                          </a:solidFill>
                        </a:rPr>
                        <a:t>Status Legend*</a:t>
                      </a:r>
                    </a:p>
                  </a:txBody>
                  <a:tcPr>
                    <a:noFill/>
                  </a:tcPr>
                </a:tc>
                <a:tc hMerge="1">
                  <a:txBody>
                    <a:bodyPr/>
                    <a:lstStyle/>
                    <a:p>
                      <a:endParaRPr lang="en-US" sz="1050" dirty="0">
                        <a:solidFill>
                          <a:schemeClr val="tx2"/>
                        </a:solidFill>
                      </a:endParaRPr>
                    </a:p>
                  </a:txBody>
                  <a:tcPr/>
                </a:tc>
                <a:extLst>
                  <a:ext uri="{0D108BD9-81ED-4DB2-BD59-A6C34878D82A}">
                    <a16:rowId xmlns:a16="http://schemas.microsoft.com/office/drawing/2014/main" val="10000"/>
                  </a:ext>
                </a:extLst>
              </a:tr>
              <a:tr h="271986">
                <a:tc>
                  <a:txBody>
                    <a:bodyPr/>
                    <a:lstStyle/>
                    <a:p>
                      <a:pPr marL="0" indent="0">
                        <a:buFontTx/>
                        <a:buNone/>
                      </a:pPr>
                      <a:endParaRPr lang="en-US" sz="800" dirty="0"/>
                    </a:p>
                  </a:txBody>
                  <a:tcPr>
                    <a:solidFill>
                      <a:srgbClr val="FFFF00"/>
                    </a:solidFill>
                  </a:tcPr>
                </a:tc>
                <a:tc>
                  <a:txBody>
                    <a:bodyPr/>
                    <a:lstStyle/>
                    <a:p>
                      <a:pPr marL="0" indent="0">
                        <a:buFontTx/>
                        <a:buNone/>
                      </a:pPr>
                      <a:r>
                        <a:rPr lang="en-US" sz="800" dirty="0"/>
                        <a:t>Ongoing</a:t>
                      </a:r>
                    </a:p>
                  </a:txBody>
                  <a:tcPr/>
                </a:tc>
                <a:extLst>
                  <a:ext uri="{0D108BD9-81ED-4DB2-BD59-A6C34878D82A}">
                    <a16:rowId xmlns:a16="http://schemas.microsoft.com/office/drawing/2014/main" val="10001"/>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Caution</a:t>
                      </a:r>
                    </a:p>
                  </a:txBody>
                  <a:tcPr/>
                </a:tc>
                <a:extLst>
                  <a:ext uri="{0D108BD9-81ED-4DB2-BD59-A6C34878D82A}">
                    <a16:rowId xmlns:a16="http://schemas.microsoft.com/office/drawing/2014/main" val="10002"/>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At Risk</a:t>
                      </a:r>
                    </a:p>
                  </a:txBody>
                  <a:tcPr/>
                </a:tc>
                <a:extLst>
                  <a:ext uri="{0D108BD9-81ED-4DB2-BD59-A6C34878D82A}">
                    <a16:rowId xmlns:a16="http://schemas.microsoft.com/office/drawing/2014/main" val="10003"/>
                  </a:ext>
                </a:extLst>
              </a:tr>
            </a:tbl>
          </a:graphicData>
        </a:graphic>
      </p:graphicFrame>
      <p:sp>
        <p:nvSpPr>
          <p:cNvPr id="8" name="TextBox 7"/>
          <p:cNvSpPr txBox="1"/>
          <p:nvPr/>
        </p:nvSpPr>
        <p:spPr>
          <a:xfrm>
            <a:off x="9390462" y="1247604"/>
            <a:ext cx="202010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 Delete coloring in boxes that do not apply</a:t>
            </a:r>
          </a:p>
        </p:txBody>
      </p:sp>
      <p:sp>
        <p:nvSpPr>
          <p:cNvPr id="2" name="TextBox 1"/>
          <p:cNvSpPr txBox="1"/>
          <p:nvPr/>
        </p:nvSpPr>
        <p:spPr>
          <a:xfrm rot="16200000">
            <a:off x="-2188226" y="2747729"/>
            <a:ext cx="5128055"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E6E6"/>
                </a:solidFill>
                <a:effectLst/>
                <a:uLnTx/>
                <a:uFillTx/>
                <a:latin typeface="Calibri" panose="020F0502020204030204"/>
                <a:ea typeface="+mn-ea"/>
                <a:cs typeface="+mn-cs"/>
              </a:rPr>
              <a:t>Leader: Abby Rech/Denise Moeschen  Senior Leader Sponsor: Vail, Dr. Trapp </a:t>
            </a:r>
          </a:p>
        </p:txBody>
      </p:sp>
    </p:spTree>
    <p:extLst>
      <p:ext uri="{BB962C8B-B14F-4D97-AF65-F5344CB8AC3E}">
        <p14:creationId xmlns:p14="http://schemas.microsoft.com/office/powerpoint/2010/main" val="35658716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552450"/>
          </a:xfrm>
        </p:spPr>
        <p:txBody>
          <a:bodyPr>
            <a:normAutofit fontScale="90000"/>
          </a:bodyPr>
          <a:lstStyle/>
          <a:p>
            <a:r>
              <a:rPr lang="en-US" dirty="0"/>
              <a:t>Respectful Care &amp; Birthing Options </a:t>
            </a:r>
          </a:p>
        </p:txBody>
      </p:sp>
      <p:graphicFrame>
        <p:nvGraphicFramePr>
          <p:cNvPr id="4" name="Object 3"/>
          <p:cNvGraphicFramePr>
            <a:graphicFrameLocks noChangeAspect="1"/>
          </p:cNvGraphicFramePr>
          <p:nvPr/>
        </p:nvGraphicFramePr>
        <p:xfrm>
          <a:off x="9233665" y="1231326"/>
          <a:ext cx="5916669" cy="3828501"/>
        </p:xfrm>
        <a:graphic>
          <a:graphicData uri="http://schemas.openxmlformats.org/presentationml/2006/ole">
            <mc:AlternateContent xmlns:mc="http://schemas.openxmlformats.org/markup-compatibility/2006">
              <mc:Choice xmlns:v="urn:schemas-microsoft-com:vml" Requires="v">
                <p:oleObj name="Acrobat Document" r:id="rId2" imgW="11658312" imgH="7543672" progId="Acrobat.Document.DC">
                  <p:embed/>
                </p:oleObj>
              </mc:Choice>
              <mc:Fallback>
                <p:oleObj name="Acrobat Document" r:id="rId2" imgW="11658312" imgH="7543672" progId="Acrobat.Document.DC">
                  <p:embed/>
                  <p:pic>
                    <p:nvPicPr>
                      <p:cNvPr id="4" name="Object 3"/>
                      <p:cNvPicPr/>
                      <p:nvPr/>
                    </p:nvPicPr>
                    <p:blipFill>
                      <a:blip r:embed="rId3"/>
                      <a:stretch>
                        <a:fillRect/>
                      </a:stretch>
                    </p:blipFill>
                    <p:spPr>
                      <a:xfrm>
                        <a:off x="9233665" y="1231326"/>
                        <a:ext cx="5916669" cy="3828501"/>
                      </a:xfrm>
                      <a:prstGeom prst="rect">
                        <a:avLst/>
                      </a:prstGeom>
                    </p:spPr>
                  </p:pic>
                </p:oleObj>
              </mc:Fallback>
            </mc:AlternateContent>
          </a:graphicData>
        </a:graphic>
      </p:graphicFrame>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03545" y="1389888"/>
            <a:ext cx="5686443" cy="3621171"/>
          </a:xfrm>
          <a:prstGeom prst="rect">
            <a:avLst/>
          </a:prstGeom>
        </p:spPr>
      </p:pic>
      <p:graphicFrame>
        <p:nvGraphicFramePr>
          <p:cNvPr id="6" name="Object 5"/>
          <p:cNvGraphicFramePr>
            <a:graphicFrameLocks noChangeAspect="1"/>
          </p:cNvGraphicFramePr>
          <p:nvPr/>
        </p:nvGraphicFramePr>
        <p:xfrm>
          <a:off x="-4017325" y="917723"/>
          <a:ext cx="7720870" cy="4995946"/>
        </p:xfrm>
        <a:graphic>
          <a:graphicData uri="http://schemas.openxmlformats.org/presentationml/2006/ole">
            <mc:AlternateContent xmlns:mc="http://schemas.openxmlformats.org/markup-compatibility/2006">
              <mc:Choice xmlns:v="urn:schemas-microsoft-com:vml" Requires="v">
                <p:oleObj name="Acrobat Document" r:id="rId5" imgW="11658312" imgH="7543672" progId="Acrobat.Document.DC">
                  <p:embed/>
                </p:oleObj>
              </mc:Choice>
              <mc:Fallback>
                <p:oleObj name="Acrobat Document" r:id="rId5" imgW="11658312" imgH="7543672" progId="Acrobat.Document.DC">
                  <p:embed/>
                  <p:pic>
                    <p:nvPicPr>
                      <p:cNvPr id="6" name="Object 5"/>
                      <p:cNvPicPr/>
                      <p:nvPr/>
                    </p:nvPicPr>
                    <p:blipFill>
                      <a:blip r:embed="rId3"/>
                      <a:stretch>
                        <a:fillRect/>
                      </a:stretch>
                    </p:blipFill>
                    <p:spPr>
                      <a:xfrm>
                        <a:off x="-4017325" y="917723"/>
                        <a:ext cx="7720870" cy="4995946"/>
                      </a:xfrm>
                      <a:prstGeom prst="rect">
                        <a:avLst/>
                      </a:prstGeom>
                    </p:spPr>
                  </p:pic>
                </p:oleObj>
              </mc:Fallback>
            </mc:AlternateContent>
          </a:graphicData>
        </a:graphic>
      </p:graphicFrame>
    </p:spTree>
    <p:extLst>
      <p:ext uri="{BB962C8B-B14F-4D97-AF65-F5344CB8AC3E}">
        <p14:creationId xmlns:p14="http://schemas.microsoft.com/office/powerpoint/2010/main" val="5723647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itle 2"/>
          <p:cNvSpPr>
            <a:spLocks noGrp="1"/>
          </p:cNvSpPr>
          <p:nvPr>
            <p:ph type="title"/>
          </p:nvPr>
        </p:nvSpPr>
        <p:spPr>
          <a:xfrm>
            <a:off x="881146" y="458777"/>
            <a:ext cx="6230815" cy="776168"/>
          </a:xfrm>
        </p:spPr>
        <p:txBody>
          <a:bodyPr/>
          <a:lstStyle/>
          <a:p>
            <a:pPr fontAlgn="ctr"/>
            <a:r>
              <a:rPr lang="en-US" sz="2800" dirty="0"/>
              <a:t>Community Collaboration</a:t>
            </a:r>
            <a:endParaRPr lang="en-US" sz="1400" dirty="0"/>
          </a:p>
        </p:txBody>
      </p:sp>
      <p:graphicFrame>
        <p:nvGraphicFramePr>
          <p:cNvPr id="3" name="Content Placeholder 2"/>
          <p:cNvGraphicFramePr>
            <a:graphicFrameLocks noGrp="1"/>
          </p:cNvGraphicFramePr>
          <p:nvPr>
            <p:ph idx="1"/>
          </p:nvPr>
        </p:nvGraphicFramePr>
        <p:xfrm>
          <a:off x="881146" y="1609768"/>
          <a:ext cx="10382598" cy="2537533"/>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460854">
                <a:tc>
                  <a:txBody>
                    <a:bodyPr/>
                    <a:lstStyle/>
                    <a:p>
                      <a:r>
                        <a:rPr lang="en-US" sz="2000" dirty="0">
                          <a:solidFill>
                            <a:schemeClr val="bg1"/>
                          </a:solidFill>
                        </a:rPr>
                        <a:t>Completed</a:t>
                      </a:r>
                      <a:endParaRPr lang="en-US" sz="2000" b="0" i="1" dirty="0">
                        <a:solidFill>
                          <a:schemeClr val="bg1"/>
                        </a:solidFill>
                      </a:endParaRPr>
                    </a:p>
                  </a:txBody>
                  <a:tcPr/>
                </a:tc>
                <a:tc>
                  <a:txBody>
                    <a:bodyPr/>
                    <a:lstStyle/>
                    <a:p>
                      <a:r>
                        <a:rPr lang="en-US" dirty="0">
                          <a:solidFill>
                            <a:schemeClr val="bg1"/>
                          </a:solidFill>
                        </a:rPr>
                        <a:t>Commitments with dates</a:t>
                      </a:r>
                      <a:endParaRPr lang="en-US" sz="1400" i="1" dirty="0">
                        <a:solidFill>
                          <a:schemeClr val="bg1"/>
                        </a:solidFill>
                      </a:endParaRPr>
                    </a:p>
                  </a:txBody>
                  <a:tcPr/>
                </a:tc>
                <a:extLst>
                  <a:ext uri="{0D108BD9-81ED-4DB2-BD59-A6C34878D82A}">
                    <a16:rowId xmlns:a16="http://schemas.microsoft.com/office/drawing/2014/main" val="10000"/>
                  </a:ext>
                </a:extLst>
              </a:tr>
              <a:tr h="2076679">
                <a:tc>
                  <a:txBody>
                    <a:bodyPr/>
                    <a:lstStyle/>
                    <a:p>
                      <a:pPr marL="171450" lvl="0" indent="-171450">
                        <a:buFont typeface="Arial" panose="020B0604020202020204" pitchFamily="34" charset="0"/>
                        <a:buChar char="•"/>
                      </a:pPr>
                      <a:r>
                        <a:rPr lang="en-US" sz="1800" kern="1200" dirty="0">
                          <a:solidFill>
                            <a:schemeClr val="tx1"/>
                          </a:solidFill>
                          <a:effectLst/>
                          <a:latin typeface="+mn-lt"/>
                          <a:ea typeface="+mn-ea"/>
                          <a:cs typeface="+mn-cs"/>
                        </a:rPr>
                        <a:t>BMC</a:t>
                      </a:r>
                      <a:r>
                        <a:rPr lang="en-US" sz="1800" kern="1200" baseline="0" dirty="0">
                          <a:solidFill>
                            <a:schemeClr val="tx1"/>
                          </a:solidFill>
                          <a:effectLst/>
                          <a:latin typeface="+mn-lt"/>
                          <a:ea typeface="+mn-ea"/>
                          <a:cs typeface="+mn-cs"/>
                        </a:rPr>
                        <a:t> email with website link for community partner insight, partnerships and patient stories</a:t>
                      </a:r>
                    </a:p>
                    <a:p>
                      <a:pPr marL="457200" lvl="1" indent="0">
                        <a:buFont typeface="Arial" panose="020B0604020202020204" pitchFamily="34" charset="0"/>
                        <a:buNone/>
                      </a:pPr>
                      <a:r>
                        <a:rPr lang="en-US" sz="1600" dirty="0">
                          <a:hlinkClick r:id="rId3"/>
                        </a:rPr>
                        <a:t>NPQIC Birth Equity Initiative | Lincoln, NE | Bryan Health</a:t>
                      </a:r>
                      <a:endParaRPr lang="en-US" sz="1600" kern="1200" baseline="0" dirty="0">
                        <a:solidFill>
                          <a:schemeClr val="tx1"/>
                        </a:solidFill>
                        <a:effectLst/>
                        <a:latin typeface="+mn-lt"/>
                        <a:ea typeface="+mn-ea"/>
                        <a:cs typeface="+mn-cs"/>
                      </a:endParaRPr>
                    </a:p>
                    <a:p>
                      <a:pPr marL="171450" lvl="0" indent="-171450">
                        <a:buFont typeface="Arial" panose="020B0604020202020204" pitchFamily="34" charset="0"/>
                        <a:buChar char="•"/>
                      </a:pPr>
                      <a:r>
                        <a:rPr lang="en-US" sz="1800" kern="1200" baseline="0" dirty="0">
                          <a:solidFill>
                            <a:schemeClr val="tx1"/>
                          </a:solidFill>
                          <a:effectLst/>
                          <a:latin typeface="+mn-lt"/>
                          <a:ea typeface="+mn-ea"/>
                          <a:cs typeface="+mn-cs"/>
                        </a:rPr>
                        <a:t>BMC-UNMC nursing student collaboration on debrief processes</a:t>
                      </a:r>
                      <a:endParaRPr lang="en-US" sz="1000" kern="1200" dirty="0">
                        <a:solidFill>
                          <a:schemeClr val="tx1"/>
                        </a:solidFill>
                        <a:effectLst/>
                        <a:latin typeface="+mn-lt"/>
                        <a:ea typeface="+mn-ea"/>
                        <a:cs typeface="+mn-cs"/>
                      </a:endParaRPr>
                    </a:p>
                  </a:txBody>
                  <a:tcPr/>
                </a:tc>
                <a:tc>
                  <a:txBody>
                    <a:bodyPr/>
                    <a:lstStyle/>
                    <a:p>
                      <a:pPr marL="171450" indent="-171450" algn="l" defTabSz="457200" rtl="0" eaLnBrk="1" latinLnBrk="0" hangingPunct="1">
                        <a:buFont typeface="Arial" panose="020B0604020202020204" pitchFamily="34" charset="0"/>
                        <a:buChar char="•"/>
                      </a:pPr>
                      <a:r>
                        <a:rPr lang="en-US" sz="1400" kern="1200" dirty="0">
                          <a:solidFill>
                            <a:schemeClr val="tx1"/>
                          </a:solidFill>
                          <a:effectLst/>
                          <a:latin typeface="+mn-lt"/>
                          <a:ea typeface="+mn-ea"/>
                          <a:cs typeface="+mn-cs"/>
                        </a:rPr>
                        <a:t>Summer 2024 meeting</a:t>
                      </a:r>
                      <a:r>
                        <a:rPr lang="en-US" sz="1400" kern="1200" baseline="0" dirty="0">
                          <a:solidFill>
                            <a:schemeClr val="tx1"/>
                          </a:solidFill>
                          <a:effectLst/>
                          <a:latin typeface="+mn-lt"/>
                          <a:ea typeface="+mn-ea"/>
                          <a:cs typeface="+mn-cs"/>
                        </a:rPr>
                        <a:t> with community partners</a:t>
                      </a:r>
                      <a:endParaRPr lang="en-US" sz="1400" kern="1200" dirty="0">
                        <a:solidFill>
                          <a:schemeClr val="tx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graphicFrame>
        <p:nvGraphicFramePr>
          <p:cNvPr id="6" name="Content Placeholder 2"/>
          <p:cNvGraphicFramePr>
            <a:graphicFrameLocks/>
          </p:cNvGraphicFramePr>
          <p:nvPr/>
        </p:nvGraphicFramePr>
        <p:xfrm>
          <a:off x="881146" y="4366953"/>
          <a:ext cx="10382598" cy="1382659"/>
        </p:xfrm>
        <a:graphic>
          <a:graphicData uri="http://schemas.openxmlformats.org/drawingml/2006/table">
            <a:tbl>
              <a:tblPr firstRow="1" bandRow="1">
                <a:tableStyleId>{5A111915-BE36-4E01-A7E5-04B1672EAD32}</a:tableStyleId>
              </a:tblPr>
              <a:tblGrid>
                <a:gridCol w="5191299">
                  <a:extLst>
                    <a:ext uri="{9D8B030D-6E8A-4147-A177-3AD203B41FA5}">
                      <a16:colId xmlns:a16="http://schemas.microsoft.com/office/drawing/2014/main" val="20000"/>
                    </a:ext>
                  </a:extLst>
                </a:gridCol>
                <a:gridCol w="5191299">
                  <a:extLst>
                    <a:ext uri="{9D8B030D-6E8A-4147-A177-3AD203B41FA5}">
                      <a16:colId xmlns:a16="http://schemas.microsoft.com/office/drawing/2014/main" val="20001"/>
                    </a:ext>
                  </a:extLst>
                </a:gridCol>
              </a:tblGrid>
              <a:tr h="370840">
                <a:tc>
                  <a:txBody>
                    <a:bodyPr/>
                    <a:lstStyle/>
                    <a:p>
                      <a:r>
                        <a:rPr lang="en-US" sz="2000" dirty="0">
                          <a:solidFill>
                            <a:schemeClr val="bg1"/>
                          </a:solidFill>
                        </a:rPr>
                        <a:t>Concerns</a:t>
                      </a:r>
                    </a:p>
                  </a:txBody>
                  <a:tcPr/>
                </a:tc>
                <a:tc>
                  <a:txBody>
                    <a:bodyPr/>
                    <a:lstStyle/>
                    <a:p>
                      <a:r>
                        <a:rPr lang="en-US" dirty="0">
                          <a:solidFill>
                            <a:schemeClr val="bg1"/>
                          </a:solidFill>
                        </a:rPr>
                        <a:t>Celebrations</a:t>
                      </a:r>
                    </a:p>
                  </a:txBody>
                  <a:tcPr/>
                </a:tc>
                <a:extLst>
                  <a:ext uri="{0D108BD9-81ED-4DB2-BD59-A6C34878D82A}">
                    <a16:rowId xmlns:a16="http://schemas.microsoft.com/office/drawing/2014/main" val="10000"/>
                  </a:ext>
                </a:extLst>
              </a:tr>
              <a:tr h="986419">
                <a:tc>
                  <a:txBody>
                    <a:bodyPr/>
                    <a:lstStyle/>
                    <a:p>
                      <a:pPr marL="171450" lvl="0" indent="-171450">
                        <a:buFont typeface="Arial" panose="020B0604020202020204" pitchFamily="34" charset="0"/>
                        <a:buChar char="•"/>
                      </a:pPr>
                      <a:endParaRPr lang="en-US" sz="1200" kern="1200" dirty="0">
                        <a:solidFill>
                          <a:schemeClr val="tx1"/>
                        </a:solidFill>
                        <a:effectLst/>
                        <a:latin typeface="Calibri" panose="020F0502020204030204" pitchFamily="34" charset="0"/>
                        <a:ea typeface="Calibri" panose="020F0502020204030204" pitchFamily="34" charset="0"/>
                        <a:cs typeface="+mn-cs"/>
                      </a:endParaRPr>
                    </a:p>
                  </a:txBody>
                  <a:tcPr/>
                </a:tc>
                <a:tc>
                  <a:txBody>
                    <a:bodyPr/>
                    <a:lstStyle/>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txBody>
                  <a:tcPr/>
                </a:tc>
                <a:extLst>
                  <a:ext uri="{0D108BD9-81ED-4DB2-BD59-A6C34878D82A}">
                    <a16:rowId xmlns:a16="http://schemas.microsoft.com/office/drawing/2014/main" val="10001"/>
                  </a:ext>
                </a:extLst>
              </a:tr>
            </a:tbl>
          </a:graphicData>
        </a:graphic>
      </p:graphicFrame>
      <p:graphicFrame>
        <p:nvGraphicFramePr>
          <p:cNvPr id="10" name="Content Placeholder 2"/>
          <p:cNvGraphicFramePr>
            <a:graphicFrameLocks/>
          </p:cNvGraphicFramePr>
          <p:nvPr/>
        </p:nvGraphicFramePr>
        <p:xfrm>
          <a:off x="10019831" y="187806"/>
          <a:ext cx="1243913" cy="1059798"/>
        </p:xfrm>
        <a:graphic>
          <a:graphicData uri="http://schemas.openxmlformats.org/drawingml/2006/table">
            <a:tbl>
              <a:tblPr firstRow="1" bandRow="1">
                <a:tableStyleId>{5A111915-BE36-4E01-A7E5-04B1672EAD32}</a:tableStyleId>
              </a:tblPr>
              <a:tblGrid>
                <a:gridCol w="334899">
                  <a:extLst>
                    <a:ext uri="{9D8B030D-6E8A-4147-A177-3AD203B41FA5}">
                      <a16:colId xmlns:a16="http://schemas.microsoft.com/office/drawing/2014/main" val="20000"/>
                    </a:ext>
                  </a:extLst>
                </a:gridCol>
                <a:gridCol w="909014">
                  <a:extLst>
                    <a:ext uri="{9D8B030D-6E8A-4147-A177-3AD203B41FA5}">
                      <a16:colId xmlns:a16="http://schemas.microsoft.com/office/drawing/2014/main" val="20001"/>
                    </a:ext>
                  </a:extLst>
                </a:gridCol>
              </a:tblGrid>
              <a:tr h="214458">
                <a:tc gridSpan="2">
                  <a:txBody>
                    <a:bodyPr/>
                    <a:lstStyle/>
                    <a:p>
                      <a:pPr algn="ctr"/>
                      <a:r>
                        <a:rPr lang="en-US" sz="1000" dirty="0">
                          <a:solidFill>
                            <a:schemeClr val="tx2"/>
                          </a:solidFill>
                        </a:rPr>
                        <a:t>Status Legend*</a:t>
                      </a:r>
                    </a:p>
                  </a:txBody>
                  <a:tcPr>
                    <a:noFill/>
                  </a:tcPr>
                </a:tc>
                <a:tc hMerge="1">
                  <a:txBody>
                    <a:bodyPr/>
                    <a:lstStyle/>
                    <a:p>
                      <a:endParaRPr lang="en-US" sz="1050" dirty="0">
                        <a:solidFill>
                          <a:schemeClr val="tx2"/>
                        </a:solidFill>
                      </a:endParaRPr>
                    </a:p>
                  </a:txBody>
                  <a:tcPr/>
                </a:tc>
                <a:extLst>
                  <a:ext uri="{0D108BD9-81ED-4DB2-BD59-A6C34878D82A}">
                    <a16:rowId xmlns:a16="http://schemas.microsoft.com/office/drawing/2014/main" val="10000"/>
                  </a:ext>
                </a:extLst>
              </a:tr>
              <a:tr h="271986">
                <a:tc>
                  <a:txBody>
                    <a:bodyPr/>
                    <a:lstStyle/>
                    <a:p>
                      <a:pPr marL="0" indent="0">
                        <a:buFontTx/>
                        <a:buNone/>
                      </a:pPr>
                      <a:endParaRPr lang="en-US" sz="800" dirty="0"/>
                    </a:p>
                  </a:txBody>
                  <a:tcPr>
                    <a:solidFill>
                      <a:srgbClr val="FFFF00"/>
                    </a:solidFill>
                  </a:tcPr>
                </a:tc>
                <a:tc>
                  <a:txBody>
                    <a:bodyPr/>
                    <a:lstStyle/>
                    <a:p>
                      <a:pPr marL="0" indent="0">
                        <a:buFontTx/>
                        <a:buNone/>
                      </a:pPr>
                      <a:r>
                        <a:rPr lang="en-US" sz="800" dirty="0"/>
                        <a:t>Ongoing</a:t>
                      </a:r>
                    </a:p>
                  </a:txBody>
                  <a:tcPr/>
                </a:tc>
                <a:extLst>
                  <a:ext uri="{0D108BD9-81ED-4DB2-BD59-A6C34878D82A}">
                    <a16:rowId xmlns:a16="http://schemas.microsoft.com/office/drawing/2014/main" val="10001"/>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Caution</a:t>
                      </a:r>
                    </a:p>
                  </a:txBody>
                  <a:tcPr/>
                </a:tc>
                <a:extLst>
                  <a:ext uri="{0D108BD9-81ED-4DB2-BD59-A6C34878D82A}">
                    <a16:rowId xmlns:a16="http://schemas.microsoft.com/office/drawing/2014/main" val="10002"/>
                  </a:ext>
                </a:extLst>
              </a:tr>
              <a:tr h="271986">
                <a:tc>
                  <a:txBody>
                    <a:bodyPr/>
                    <a:lstStyle/>
                    <a:p>
                      <a:pPr marL="0" indent="0">
                        <a:buFontTx/>
                        <a:buNone/>
                      </a:pPr>
                      <a:endParaRPr lang="en-US" sz="800" dirty="0"/>
                    </a:p>
                  </a:txBody>
                  <a:tcPr>
                    <a:noFill/>
                  </a:tcPr>
                </a:tc>
                <a:tc>
                  <a:txBody>
                    <a:bodyPr/>
                    <a:lstStyle/>
                    <a:p>
                      <a:pPr marL="0" indent="0">
                        <a:buFontTx/>
                        <a:buNone/>
                      </a:pPr>
                      <a:r>
                        <a:rPr lang="en-US" sz="800" dirty="0"/>
                        <a:t>At Risk</a:t>
                      </a:r>
                    </a:p>
                  </a:txBody>
                  <a:tcPr/>
                </a:tc>
                <a:extLst>
                  <a:ext uri="{0D108BD9-81ED-4DB2-BD59-A6C34878D82A}">
                    <a16:rowId xmlns:a16="http://schemas.microsoft.com/office/drawing/2014/main" val="10003"/>
                  </a:ext>
                </a:extLst>
              </a:tr>
            </a:tbl>
          </a:graphicData>
        </a:graphic>
      </p:graphicFrame>
      <p:sp>
        <p:nvSpPr>
          <p:cNvPr id="8" name="TextBox 7"/>
          <p:cNvSpPr txBox="1"/>
          <p:nvPr/>
        </p:nvSpPr>
        <p:spPr>
          <a:xfrm>
            <a:off x="9390462" y="1247604"/>
            <a:ext cx="202010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 Delete coloring in boxes that do not apply</a:t>
            </a:r>
          </a:p>
        </p:txBody>
      </p:sp>
      <p:sp>
        <p:nvSpPr>
          <p:cNvPr id="2" name="TextBox 1"/>
          <p:cNvSpPr txBox="1"/>
          <p:nvPr/>
        </p:nvSpPr>
        <p:spPr>
          <a:xfrm rot="16200000">
            <a:off x="-2188226" y="2747729"/>
            <a:ext cx="5128055" cy="261610"/>
          </a:xfrm>
          <a:prstGeom prst="rect">
            <a:avLst/>
          </a:prstGeom>
          <a:solidFill>
            <a:schemeClr val="tx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E7E6E6"/>
                </a:solidFill>
                <a:effectLst/>
                <a:uLnTx/>
                <a:uFillTx/>
                <a:latin typeface="Calibri" panose="020F0502020204030204"/>
                <a:ea typeface="+mn-ea"/>
                <a:cs typeface="+mn-cs"/>
              </a:rPr>
              <a:t>Leader: Abby Rech/Denise Moeschen  Senior Leader Sponsor: Vail, Dr. Trapp </a:t>
            </a:r>
          </a:p>
        </p:txBody>
      </p:sp>
    </p:spTree>
    <p:extLst>
      <p:ext uri="{BB962C8B-B14F-4D97-AF65-F5344CB8AC3E}">
        <p14:creationId xmlns:p14="http://schemas.microsoft.com/office/powerpoint/2010/main" val="28499480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F6DE8-237C-FF1A-9989-C1264A5B0A6F}"/>
              </a:ext>
            </a:extLst>
          </p:cNvPr>
          <p:cNvSpPr>
            <a:spLocks noGrp="1"/>
          </p:cNvSpPr>
          <p:nvPr>
            <p:ph type="title"/>
          </p:nvPr>
        </p:nvSpPr>
        <p:spPr/>
        <p:txBody>
          <a:bodyPr/>
          <a:lstStyle/>
          <a:p>
            <a:r>
              <a:rPr lang="en-US" dirty="0"/>
              <a:t>Summary of Events</a:t>
            </a:r>
          </a:p>
        </p:txBody>
      </p:sp>
      <p:sp>
        <p:nvSpPr>
          <p:cNvPr id="3" name="Content Placeholder 2">
            <a:extLst>
              <a:ext uri="{FF2B5EF4-FFF2-40B4-BE49-F238E27FC236}">
                <a16:creationId xmlns:a16="http://schemas.microsoft.com/office/drawing/2014/main" id="{975F3EDB-277E-7472-5D47-F977C4979F33}"/>
              </a:ext>
            </a:extLst>
          </p:cNvPr>
          <p:cNvSpPr>
            <a:spLocks noGrp="1"/>
          </p:cNvSpPr>
          <p:nvPr>
            <p:ph idx="1"/>
          </p:nvPr>
        </p:nvSpPr>
        <p:spPr/>
        <p:txBody>
          <a:bodyPr/>
          <a:lstStyle/>
          <a:p>
            <a:r>
              <a:rPr lang="en-US" dirty="0"/>
              <a:t>Summer 2023: received insight from doulas on challenges remaining with clients in OR during C Sections</a:t>
            </a:r>
          </a:p>
          <a:p>
            <a:r>
              <a:rPr lang="en-US" dirty="0"/>
              <a:t>August 2023: lunch with doulas to gather more insights. Senior leadership engaged. OB and nursing support doulas in C Sections; much resistance from anesthesia</a:t>
            </a:r>
          </a:p>
          <a:p>
            <a:r>
              <a:rPr lang="en-US" dirty="0"/>
              <a:t>December 2023: launched Birth Equity initiative. Subgroup on doulas began meeting (nursing leaders, anesthesia and doulas). Created a pathway (and updated draft procedures) to meet the needs of those involved and ensure safety of all, including doula acknowledgement of role in C Section</a:t>
            </a:r>
          </a:p>
        </p:txBody>
      </p:sp>
    </p:spTree>
    <p:extLst>
      <p:ext uri="{BB962C8B-B14F-4D97-AF65-F5344CB8AC3E}">
        <p14:creationId xmlns:p14="http://schemas.microsoft.com/office/powerpoint/2010/main" val="1989662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p:cNvGrpSpPr/>
        <p:nvPr/>
      </p:nvGrpSpPr>
      <p:grpSpPr>
        <a:xfrm>
          <a:off x="0" y="0"/>
          <a:ext cx="0" cy="0"/>
          <a:chOff x="0" y="0"/>
          <a:chExt cx="0" cy="0"/>
        </a:xfrm>
      </p:grpSpPr>
      <p:grpSp>
        <p:nvGrpSpPr>
          <p:cNvPr id="2" name="Group 2"/>
          <p:cNvGrpSpPr/>
          <p:nvPr/>
        </p:nvGrpSpPr>
        <p:grpSpPr>
          <a:xfrm>
            <a:off x="755252" y="-42351"/>
            <a:ext cx="8647912" cy="6941844"/>
            <a:chOff x="0" y="0"/>
            <a:chExt cx="1149350" cy="1149350"/>
          </a:xfrm>
        </p:grpSpPr>
        <p:sp>
          <p:nvSpPr>
            <p:cNvPr id="3" name="Freeform 3"/>
            <p:cNvSpPr/>
            <p:nvPr/>
          </p:nvSpPr>
          <p:spPr>
            <a:xfrm>
              <a:off x="0" y="0"/>
              <a:ext cx="9478270" cy="7608388"/>
            </a:xfrm>
            <a:custGeom>
              <a:avLst/>
              <a:gdLst/>
              <a:ahLst/>
              <a:cxnLst/>
              <a:rect l="l" t="t" r="r" b="b"/>
              <a:pathLst>
                <a:path w="9478270" h="7608388">
                  <a:moveTo>
                    <a:pt x="9478270" y="84071"/>
                  </a:moveTo>
                  <a:lnTo>
                    <a:pt x="9478270" y="0"/>
                  </a:lnTo>
                  <a:lnTo>
                    <a:pt x="52366" y="0"/>
                  </a:lnTo>
                  <a:lnTo>
                    <a:pt x="52366" y="42035"/>
                  </a:lnTo>
                  <a:lnTo>
                    <a:pt x="0" y="42035"/>
                  </a:lnTo>
                  <a:lnTo>
                    <a:pt x="0" y="7608388"/>
                  </a:lnTo>
                  <a:lnTo>
                    <a:pt x="104732" y="7608388"/>
                  </a:lnTo>
                  <a:lnTo>
                    <a:pt x="104732" y="6137152"/>
                  </a:lnTo>
                  <a:lnTo>
                    <a:pt x="1885181" y="6137152"/>
                  </a:lnTo>
                  <a:lnTo>
                    <a:pt x="1885181" y="7608388"/>
                  </a:lnTo>
                  <a:lnTo>
                    <a:pt x="1989913" y="7608388"/>
                  </a:lnTo>
                  <a:lnTo>
                    <a:pt x="1989913" y="6137152"/>
                  </a:lnTo>
                  <a:lnTo>
                    <a:pt x="3770362" y="6137152"/>
                  </a:lnTo>
                  <a:lnTo>
                    <a:pt x="3770362" y="7608388"/>
                  </a:lnTo>
                  <a:lnTo>
                    <a:pt x="3875094" y="7608388"/>
                  </a:lnTo>
                  <a:lnTo>
                    <a:pt x="3875094" y="6137152"/>
                  </a:lnTo>
                  <a:lnTo>
                    <a:pt x="5655542" y="6137152"/>
                  </a:lnTo>
                  <a:lnTo>
                    <a:pt x="5655542" y="7608388"/>
                  </a:lnTo>
                  <a:lnTo>
                    <a:pt x="5760275" y="7608388"/>
                  </a:lnTo>
                  <a:lnTo>
                    <a:pt x="5760275" y="6137152"/>
                  </a:lnTo>
                  <a:lnTo>
                    <a:pt x="7540723" y="6137152"/>
                  </a:lnTo>
                  <a:lnTo>
                    <a:pt x="7540723" y="7608388"/>
                  </a:lnTo>
                  <a:lnTo>
                    <a:pt x="7645456" y="7608388"/>
                  </a:lnTo>
                  <a:lnTo>
                    <a:pt x="7645456" y="6137152"/>
                  </a:lnTo>
                  <a:lnTo>
                    <a:pt x="9478270" y="6137152"/>
                  </a:lnTo>
                  <a:lnTo>
                    <a:pt x="9478270" y="6053082"/>
                  </a:lnTo>
                  <a:lnTo>
                    <a:pt x="7645456" y="6053082"/>
                  </a:lnTo>
                  <a:lnTo>
                    <a:pt x="7645456" y="4623882"/>
                  </a:lnTo>
                  <a:lnTo>
                    <a:pt x="9478270" y="4623882"/>
                  </a:lnTo>
                  <a:lnTo>
                    <a:pt x="9478270" y="4539811"/>
                  </a:lnTo>
                  <a:lnTo>
                    <a:pt x="7645456" y="4539811"/>
                  </a:lnTo>
                  <a:lnTo>
                    <a:pt x="7645456" y="3110611"/>
                  </a:lnTo>
                  <a:lnTo>
                    <a:pt x="9478270" y="3110611"/>
                  </a:lnTo>
                  <a:lnTo>
                    <a:pt x="9478270" y="3026541"/>
                  </a:lnTo>
                  <a:lnTo>
                    <a:pt x="7645456" y="3026541"/>
                  </a:lnTo>
                  <a:lnTo>
                    <a:pt x="7645456" y="1597341"/>
                  </a:lnTo>
                  <a:lnTo>
                    <a:pt x="9478270" y="1597341"/>
                  </a:lnTo>
                  <a:lnTo>
                    <a:pt x="9478270" y="1513270"/>
                  </a:lnTo>
                  <a:lnTo>
                    <a:pt x="7645456" y="1513270"/>
                  </a:lnTo>
                  <a:lnTo>
                    <a:pt x="7645456" y="84071"/>
                  </a:lnTo>
                  <a:lnTo>
                    <a:pt x="9478270" y="84071"/>
                  </a:lnTo>
                  <a:close/>
                  <a:moveTo>
                    <a:pt x="1989913" y="1513270"/>
                  </a:moveTo>
                  <a:lnTo>
                    <a:pt x="1989913" y="84071"/>
                  </a:lnTo>
                  <a:lnTo>
                    <a:pt x="3770362" y="84071"/>
                  </a:lnTo>
                  <a:lnTo>
                    <a:pt x="3770362" y="1513270"/>
                  </a:lnTo>
                  <a:lnTo>
                    <a:pt x="1989913" y="1513270"/>
                  </a:lnTo>
                  <a:close/>
                  <a:moveTo>
                    <a:pt x="3770362" y="1597341"/>
                  </a:moveTo>
                  <a:lnTo>
                    <a:pt x="3770362" y="3026541"/>
                  </a:lnTo>
                  <a:lnTo>
                    <a:pt x="1989913" y="3026541"/>
                  </a:lnTo>
                  <a:lnTo>
                    <a:pt x="1989913" y="1597341"/>
                  </a:lnTo>
                  <a:lnTo>
                    <a:pt x="3770362" y="1597341"/>
                  </a:lnTo>
                  <a:close/>
                  <a:moveTo>
                    <a:pt x="1885181" y="1513270"/>
                  </a:moveTo>
                  <a:lnTo>
                    <a:pt x="104732" y="1513270"/>
                  </a:lnTo>
                  <a:lnTo>
                    <a:pt x="104732" y="84071"/>
                  </a:lnTo>
                  <a:lnTo>
                    <a:pt x="1885181" y="84071"/>
                  </a:lnTo>
                  <a:lnTo>
                    <a:pt x="1885181" y="1513270"/>
                  </a:lnTo>
                  <a:close/>
                  <a:moveTo>
                    <a:pt x="1885181" y="1597341"/>
                  </a:moveTo>
                  <a:lnTo>
                    <a:pt x="1885181" y="3026541"/>
                  </a:lnTo>
                  <a:lnTo>
                    <a:pt x="104732" y="3026541"/>
                  </a:lnTo>
                  <a:lnTo>
                    <a:pt x="104732" y="1597341"/>
                  </a:lnTo>
                  <a:lnTo>
                    <a:pt x="1885181" y="1597341"/>
                  </a:lnTo>
                  <a:close/>
                  <a:moveTo>
                    <a:pt x="1885181" y="3110611"/>
                  </a:moveTo>
                  <a:lnTo>
                    <a:pt x="1885181" y="4539811"/>
                  </a:lnTo>
                  <a:lnTo>
                    <a:pt x="104732" y="4539811"/>
                  </a:lnTo>
                  <a:lnTo>
                    <a:pt x="104732" y="3110611"/>
                  </a:lnTo>
                  <a:lnTo>
                    <a:pt x="1885181" y="3110611"/>
                  </a:lnTo>
                  <a:close/>
                  <a:moveTo>
                    <a:pt x="1989913" y="3110611"/>
                  </a:moveTo>
                  <a:lnTo>
                    <a:pt x="3770362" y="3110611"/>
                  </a:lnTo>
                  <a:lnTo>
                    <a:pt x="3770362" y="4539811"/>
                  </a:lnTo>
                  <a:lnTo>
                    <a:pt x="1989913" y="4539811"/>
                  </a:lnTo>
                  <a:lnTo>
                    <a:pt x="1989913" y="3110611"/>
                  </a:lnTo>
                  <a:close/>
                  <a:moveTo>
                    <a:pt x="3875094" y="3110611"/>
                  </a:moveTo>
                  <a:lnTo>
                    <a:pt x="5655542" y="3110611"/>
                  </a:lnTo>
                  <a:lnTo>
                    <a:pt x="5655542" y="4539811"/>
                  </a:lnTo>
                  <a:lnTo>
                    <a:pt x="3875094" y="4539811"/>
                  </a:lnTo>
                  <a:lnTo>
                    <a:pt x="3875094" y="3110611"/>
                  </a:lnTo>
                  <a:close/>
                  <a:moveTo>
                    <a:pt x="3875094" y="3026541"/>
                  </a:moveTo>
                  <a:lnTo>
                    <a:pt x="3875094" y="1597341"/>
                  </a:lnTo>
                  <a:lnTo>
                    <a:pt x="5655542" y="1597341"/>
                  </a:lnTo>
                  <a:lnTo>
                    <a:pt x="5655542" y="3026541"/>
                  </a:lnTo>
                  <a:lnTo>
                    <a:pt x="3875094" y="3026541"/>
                  </a:lnTo>
                  <a:close/>
                  <a:moveTo>
                    <a:pt x="3875094" y="1513270"/>
                  </a:moveTo>
                  <a:lnTo>
                    <a:pt x="3875094" y="84071"/>
                  </a:lnTo>
                  <a:lnTo>
                    <a:pt x="5655542" y="84071"/>
                  </a:lnTo>
                  <a:lnTo>
                    <a:pt x="5655542" y="1513270"/>
                  </a:lnTo>
                  <a:lnTo>
                    <a:pt x="3875094" y="1513270"/>
                  </a:lnTo>
                  <a:close/>
                  <a:moveTo>
                    <a:pt x="104732" y="6053082"/>
                  </a:moveTo>
                  <a:lnTo>
                    <a:pt x="104732" y="4623882"/>
                  </a:lnTo>
                  <a:lnTo>
                    <a:pt x="1885181" y="4623882"/>
                  </a:lnTo>
                  <a:lnTo>
                    <a:pt x="1885181" y="6053082"/>
                  </a:lnTo>
                  <a:lnTo>
                    <a:pt x="104732" y="6053082"/>
                  </a:lnTo>
                  <a:close/>
                  <a:moveTo>
                    <a:pt x="1989913" y="6053082"/>
                  </a:moveTo>
                  <a:lnTo>
                    <a:pt x="1989913" y="4623882"/>
                  </a:lnTo>
                  <a:lnTo>
                    <a:pt x="3770362" y="4623882"/>
                  </a:lnTo>
                  <a:lnTo>
                    <a:pt x="3770362" y="6053082"/>
                  </a:lnTo>
                  <a:lnTo>
                    <a:pt x="1989913" y="6053082"/>
                  </a:lnTo>
                  <a:close/>
                  <a:moveTo>
                    <a:pt x="3875094" y="6053082"/>
                  </a:moveTo>
                  <a:lnTo>
                    <a:pt x="3875094" y="4623882"/>
                  </a:lnTo>
                  <a:lnTo>
                    <a:pt x="5655542" y="4623882"/>
                  </a:lnTo>
                  <a:lnTo>
                    <a:pt x="5655542" y="6053082"/>
                  </a:lnTo>
                  <a:lnTo>
                    <a:pt x="3875094" y="6053082"/>
                  </a:lnTo>
                  <a:close/>
                  <a:moveTo>
                    <a:pt x="7540723" y="6053082"/>
                  </a:moveTo>
                  <a:lnTo>
                    <a:pt x="5760275" y="6053082"/>
                  </a:lnTo>
                  <a:lnTo>
                    <a:pt x="5760275" y="4623882"/>
                  </a:lnTo>
                  <a:lnTo>
                    <a:pt x="7540723" y="4623882"/>
                  </a:lnTo>
                  <a:lnTo>
                    <a:pt x="7540723" y="6053082"/>
                  </a:lnTo>
                  <a:close/>
                  <a:moveTo>
                    <a:pt x="7540723" y="4539811"/>
                  </a:moveTo>
                  <a:lnTo>
                    <a:pt x="5760275" y="4539811"/>
                  </a:lnTo>
                  <a:lnTo>
                    <a:pt x="5760275" y="3110611"/>
                  </a:lnTo>
                  <a:lnTo>
                    <a:pt x="7540723" y="3110611"/>
                  </a:lnTo>
                  <a:lnTo>
                    <a:pt x="7540723" y="4539811"/>
                  </a:lnTo>
                  <a:close/>
                  <a:moveTo>
                    <a:pt x="7540723" y="3026541"/>
                  </a:moveTo>
                  <a:lnTo>
                    <a:pt x="5760275" y="3026541"/>
                  </a:lnTo>
                  <a:lnTo>
                    <a:pt x="5760275" y="1597341"/>
                  </a:lnTo>
                  <a:lnTo>
                    <a:pt x="7540723" y="1597341"/>
                  </a:lnTo>
                  <a:lnTo>
                    <a:pt x="7540723" y="3026541"/>
                  </a:lnTo>
                  <a:close/>
                  <a:moveTo>
                    <a:pt x="7540723" y="1513270"/>
                  </a:moveTo>
                  <a:lnTo>
                    <a:pt x="5760275" y="1513270"/>
                  </a:lnTo>
                  <a:lnTo>
                    <a:pt x="5760275" y="84071"/>
                  </a:lnTo>
                  <a:lnTo>
                    <a:pt x="7540723" y="84071"/>
                  </a:lnTo>
                  <a:lnTo>
                    <a:pt x="7540723" y="1513270"/>
                  </a:lnTo>
                  <a:close/>
                </a:path>
              </a:pathLst>
            </a:custGeom>
            <a:solidFill>
              <a:srgbClr val="FF5757">
                <a:alpha val="19608"/>
              </a:srgbClr>
            </a:solidFill>
          </p:spPr>
        </p:sp>
      </p:grpSp>
      <p:grpSp>
        <p:nvGrpSpPr>
          <p:cNvPr id="4" name="Group 4"/>
          <p:cNvGrpSpPr>
            <a:grpSpLocks noChangeAspect="1"/>
          </p:cNvGrpSpPr>
          <p:nvPr/>
        </p:nvGrpSpPr>
        <p:grpSpPr>
          <a:xfrm>
            <a:off x="2206229" y="2120342"/>
            <a:ext cx="2529988" cy="3892648"/>
            <a:chOff x="0" y="0"/>
            <a:chExt cx="4128770" cy="6352540"/>
          </a:xfrm>
        </p:grpSpPr>
        <p:sp>
          <p:nvSpPr>
            <p:cNvPr id="5" name="Freeform 5"/>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6" name="Freeform 6"/>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7" name="Freeform 7"/>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8" name="Freeform 8"/>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9" name="Freeform 9"/>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0" name="Freeform 10"/>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sp>
        <p:sp>
          <p:nvSpPr>
            <p:cNvPr id="11" name="Freeform 11"/>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12" name="Group 12"/>
          <p:cNvGrpSpPr>
            <a:grpSpLocks noChangeAspect="1"/>
          </p:cNvGrpSpPr>
          <p:nvPr/>
        </p:nvGrpSpPr>
        <p:grpSpPr>
          <a:xfrm>
            <a:off x="4838982" y="2120342"/>
            <a:ext cx="2529988" cy="3892648"/>
            <a:chOff x="0" y="0"/>
            <a:chExt cx="4128770" cy="6352540"/>
          </a:xfrm>
        </p:grpSpPr>
        <p:sp>
          <p:nvSpPr>
            <p:cNvPr id="13" name="Freeform 13"/>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14" name="Freeform 14"/>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5" name="Freeform 15"/>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16" name="Freeform 16"/>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7" name="Freeform 17"/>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18" name="Freeform 18"/>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sp>
        <p:sp>
          <p:nvSpPr>
            <p:cNvPr id="19" name="Freeform 19"/>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20" name="Group 20"/>
          <p:cNvGrpSpPr>
            <a:grpSpLocks noChangeAspect="1"/>
          </p:cNvGrpSpPr>
          <p:nvPr/>
        </p:nvGrpSpPr>
        <p:grpSpPr>
          <a:xfrm>
            <a:off x="7516090" y="2094079"/>
            <a:ext cx="2529988" cy="3892648"/>
            <a:chOff x="0" y="0"/>
            <a:chExt cx="4128770" cy="6352540"/>
          </a:xfrm>
        </p:grpSpPr>
        <p:sp>
          <p:nvSpPr>
            <p:cNvPr id="21" name="Freeform 21"/>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sp>
        <p:sp>
          <p:nvSpPr>
            <p:cNvPr id="22" name="Freeform 22"/>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3" name="Freeform 23"/>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sp>
        <p:sp>
          <p:nvSpPr>
            <p:cNvPr id="24" name="Freeform 24"/>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5" name="Freeform 25"/>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sp>
        <p:sp>
          <p:nvSpPr>
            <p:cNvPr id="26" name="Freeform 26"/>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sp>
        <p:sp>
          <p:nvSpPr>
            <p:cNvPr id="27" name="Freeform 27"/>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sp>
      </p:grpSp>
      <p:grpSp>
        <p:nvGrpSpPr>
          <p:cNvPr id="28" name="Group 28"/>
          <p:cNvGrpSpPr>
            <a:grpSpLocks noChangeAspect="1"/>
          </p:cNvGrpSpPr>
          <p:nvPr/>
        </p:nvGrpSpPr>
        <p:grpSpPr>
          <a:xfrm>
            <a:off x="4079933" y="424713"/>
            <a:ext cx="4040136" cy="1455300"/>
            <a:chOff x="0" y="0"/>
            <a:chExt cx="18938240" cy="6350000"/>
          </a:xfrm>
        </p:grpSpPr>
        <p:sp>
          <p:nvSpPr>
            <p:cNvPr id="29" name="Freeform 29"/>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sp>
        <p:sp>
          <p:nvSpPr>
            <p:cNvPr id="30" name="Freeform 30"/>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sp>
        <p:sp>
          <p:nvSpPr>
            <p:cNvPr id="31" name="Freeform 31"/>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sp>
        <p:sp>
          <p:nvSpPr>
            <p:cNvPr id="32" name="Freeform 32"/>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sp>
      </p:grpSp>
      <p:grpSp>
        <p:nvGrpSpPr>
          <p:cNvPr id="33" name="Group 33"/>
          <p:cNvGrpSpPr/>
          <p:nvPr/>
        </p:nvGrpSpPr>
        <p:grpSpPr>
          <a:xfrm>
            <a:off x="2205136" y="5698528"/>
            <a:ext cx="2531080" cy="652530"/>
            <a:chOff x="0" y="0"/>
            <a:chExt cx="40419286" cy="10420374"/>
          </a:xfrm>
        </p:grpSpPr>
        <p:sp>
          <p:nvSpPr>
            <p:cNvPr id="34" name="Freeform 34"/>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35" name="Freeform 35"/>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grpSp>
        <p:nvGrpSpPr>
          <p:cNvPr id="36" name="Group 36"/>
          <p:cNvGrpSpPr/>
          <p:nvPr/>
        </p:nvGrpSpPr>
        <p:grpSpPr>
          <a:xfrm>
            <a:off x="4838435" y="5698528"/>
            <a:ext cx="2531080" cy="652530"/>
            <a:chOff x="0" y="0"/>
            <a:chExt cx="40419286" cy="10420374"/>
          </a:xfrm>
        </p:grpSpPr>
        <p:sp>
          <p:nvSpPr>
            <p:cNvPr id="37" name="Freeform 37"/>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38" name="Freeform 38"/>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grpSp>
        <p:nvGrpSpPr>
          <p:cNvPr id="39" name="Group 39"/>
          <p:cNvGrpSpPr/>
          <p:nvPr/>
        </p:nvGrpSpPr>
        <p:grpSpPr>
          <a:xfrm>
            <a:off x="7516975" y="5697332"/>
            <a:ext cx="2540045" cy="652530"/>
            <a:chOff x="0" y="0"/>
            <a:chExt cx="40419286" cy="10420374"/>
          </a:xfrm>
        </p:grpSpPr>
        <p:sp>
          <p:nvSpPr>
            <p:cNvPr id="40" name="Freeform 40"/>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sp>
        <p:sp>
          <p:nvSpPr>
            <p:cNvPr id="41" name="Freeform 41"/>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sp>
      </p:grpSp>
      <p:sp>
        <p:nvSpPr>
          <p:cNvPr id="42" name="Freeform 42"/>
          <p:cNvSpPr/>
          <p:nvPr/>
        </p:nvSpPr>
        <p:spPr>
          <a:xfrm>
            <a:off x="1603691" y="527665"/>
            <a:ext cx="1073750" cy="462558"/>
          </a:xfrm>
          <a:custGeom>
            <a:avLst/>
            <a:gdLst/>
            <a:ahLst/>
            <a:cxnLst/>
            <a:rect l="l" t="t" r="r" b="b"/>
            <a:pathLst>
              <a:path w="1127438" h="485686">
                <a:moveTo>
                  <a:pt x="0" y="0"/>
                </a:moveTo>
                <a:lnTo>
                  <a:pt x="1127438" y="0"/>
                </a:lnTo>
                <a:lnTo>
                  <a:pt x="1127438" y="485686"/>
                </a:lnTo>
                <a:lnTo>
                  <a:pt x="0" y="485686"/>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sp>
      <p:grpSp>
        <p:nvGrpSpPr>
          <p:cNvPr id="44" name="Group 44"/>
          <p:cNvGrpSpPr/>
          <p:nvPr/>
        </p:nvGrpSpPr>
        <p:grpSpPr>
          <a:xfrm>
            <a:off x="4212578" y="782219"/>
            <a:ext cx="3774844" cy="1040524"/>
            <a:chOff x="0" y="57149"/>
            <a:chExt cx="5284782" cy="1456734"/>
          </a:xfrm>
        </p:grpSpPr>
        <p:sp>
          <p:nvSpPr>
            <p:cNvPr id="45" name="TextBox 45"/>
            <p:cNvSpPr txBox="1"/>
            <p:nvPr/>
          </p:nvSpPr>
          <p:spPr>
            <a:xfrm>
              <a:off x="0" y="951395"/>
              <a:ext cx="5284782" cy="562488"/>
            </a:xfrm>
            <a:prstGeom prst="rect">
              <a:avLst/>
            </a:prstGeom>
          </p:spPr>
          <p:txBody>
            <a:bodyPr lIns="0" tIns="0" rIns="0" bIns="0" rtlCol="0" anchor="t">
              <a:spAutoFit/>
            </a:bodyPr>
            <a:lstStyle/>
            <a:p>
              <a:pPr algn="ctr">
                <a:lnSpc>
                  <a:spcPts val="1599"/>
                </a:lnSpc>
              </a:pPr>
              <a:r>
                <a:rPr lang="en-US" sz="1300">
                  <a:solidFill>
                    <a:srgbClr val="1B1464"/>
                  </a:solidFill>
                  <a:latin typeface="HK Grotesk"/>
                </a:rPr>
                <a:t>Share the great work that </a:t>
              </a:r>
              <a:endParaRPr lang="en-US"/>
            </a:p>
            <a:p>
              <a:pPr algn="ctr">
                <a:lnSpc>
                  <a:spcPts val="1599"/>
                </a:lnSpc>
              </a:pPr>
              <a:r>
                <a:rPr lang="en-US" sz="1300">
                  <a:solidFill>
                    <a:srgbClr val="1B1464"/>
                  </a:solidFill>
                  <a:latin typeface="HK Grotesk"/>
                </a:rPr>
                <a:t>your OB teams are doing! </a:t>
              </a:r>
              <a:endParaRPr lang="en-US"/>
            </a:p>
          </p:txBody>
        </p:sp>
        <p:sp>
          <p:nvSpPr>
            <p:cNvPr id="46" name="TextBox 46"/>
            <p:cNvSpPr txBox="1"/>
            <p:nvPr/>
          </p:nvSpPr>
          <p:spPr>
            <a:xfrm>
              <a:off x="0" y="57149"/>
              <a:ext cx="5284782" cy="946606"/>
            </a:xfrm>
            <a:prstGeom prst="rect">
              <a:avLst/>
            </a:prstGeom>
          </p:spPr>
          <p:txBody>
            <a:bodyPr lIns="0" tIns="0" rIns="0" bIns="0" rtlCol="0" anchor="t">
              <a:spAutoFit/>
            </a:bodyPr>
            <a:lstStyle/>
            <a:p>
              <a:pPr algn="ctr">
                <a:lnSpc>
                  <a:spcPts val="2537"/>
                </a:lnSpc>
              </a:pPr>
              <a:r>
                <a:rPr lang="en-US" sz="3400">
                  <a:solidFill>
                    <a:srgbClr val="1B1464"/>
                  </a:solidFill>
                  <a:latin typeface="TAN Tangkiwood"/>
                </a:rPr>
                <a:t>2024 F2F OB Storyboards</a:t>
              </a:r>
            </a:p>
          </p:txBody>
        </p:sp>
      </p:grpSp>
      <p:sp>
        <p:nvSpPr>
          <p:cNvPr id="47" name="TextBox 47"/>
          <p:cNvSpPr txBox="1"/>
          <p:nvPr/>
        </p:nvSpPr>
        <p:spPr>
          <a:xfrm>
            <a:off x="2309031" y="5820685"/>
            <a:ext cx="2323291" cy="404150"/>
          </a:xfrm>
          <a:prstGeom prst="rect">
            <a:avLst/>
          </a:prstGeom>
        </p:spPr>
        <p:txBody>
          <a:bodyPr wrap="square" lIns="0" tIns="0" rIns="0" bIns="0" rtlCol="0" anchor="t">
            <a:spAutoFit/>
          </a:bodyPr>
          <a:lstStyle/>
          <a:p>
            <a:pPr algn="ctr">
              <a:lnSpc>
                <a:spcPts val="1599"/>
              </a:lnSpc>
              <a:spcBef>
                <a:spcPct val="0"/>
              </a:spcBef>
            </a:pPr>
            <a:r>
              <a:rPr lang="en-US" sz="1300" b="1">
                <a:solidFill>
                  <a:srgbClr val="1B1464"/>
                </a:solidFill>
                <a:ea typeface="+mn-lt"/>
                <a:cs typeface="+mn-lt"/>
              </a:rPr>
              <a:t>Introduce your hospital and PVB, BE, and QI teams</a:t>
            </a:r>
            <a:endParaRPr lang="en-US">
              <a:ea typeface="+mn-lt"/>
              <a:cs typeface="+mn-lt"/>
            </a:endParaRPr>
          </a:p>
        </p:txBody>
      </p:sp>
      <p:sp>
        <p:nvSpPr>
          <p:cNvPr id="48" name="TextBox 48"/>
          <p:cNvSpPr txBox="1"/>
          <p:nvPr/>
        </p:nvSpPr>
        <p:spPr>
          <a:xfrm>
            <a:off x="4837376" y="5762183"/>
            <a:ext cx="2559683" cy="492314"/>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PVB Journey </a:t>
            </a:r>
            <a:endParaRPr lang="en-US"/>
          </a:p>
          <a:p>
            <a:pPr algn="ctr">
              <a:lnSpc>
                <a:spcPts val="1256"/>
              </a:lnSpc>
              <a:spcBef>
                <a:spcPct val="0"/>
              </a:spcBef>
            </a:pPr>
            <a:r>
              <a:rPr lang="en-US" sz="1000" b="1">
                <a:solidFill>
                  <a:srgbClr val="1B1464"/>
                </a:solidFill>
                <a:latin typeface="HK Grotesk Bold"/>
              </a:rPr>
              <a:t>Sustainability Teams</a:t>
            </a:r>
          </a:p>
          <a:p>
            <a:pPr algn="ctr">
              <a:lnSpc>
                <a:spcPts val="1256"/>
              </a:lnSpc>
              <a:spcBef>
                <a:spcPct val="0"/>
              </a:spcBef>
            </a:pPr>
            <a:r>
              <a:rPr lang="en-US" sz="1000" b="1">
                <a:solidFill>
                  <a:srgbClr val="1B1464"/>
                </a:solidFill>
                <a:latin typeface="HK Grotesk Bold"/>
              </a:rPr>
              <a:t>Coaching Teams</a:t>
            </a:r>
          </a:p>
        </p:txBody>
      </p:sp>
      <p:sp>
        <p:nvSpPr>
          <p:cNvPr id="49" name="TextBox 49"/>
          <p:cNvSpPr txBox="1"/>
          <p:nvPr/>
        </p:nvSpPr>
        <p:spPr>
          <a:xfrm>
            <a:off x="7573013" y="5764079"/>
            <a:ext cx="2423185" cy="492314"/>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Birth Equity Journey</a:t>
            </a:r>
            <a:endParaRPr lang="en-US"/>
          </a:p>
          <a:p>
            <a:pPr algn="ctr">
              <a:lnSpc>
                <a:spcPts val="1256"/>
              </a:lnSpc>
              <a:spcBef>
                <a:spcPct val="0"/>
              </a:spcBef>
            </a:pPr>
            <a:r>
              <a:rPr lang="en-US" sz="1000" b="1">
                <a:solidFill>
                  <a:srgbClr val="1B1464"/>
                </a:solidFill>
                <a:latin typeface="HK Grotesk Bold"/>
              </a:rPr>
              <a:t>Successes and Opportunities</a:t>
            </a:r>
          </a:p>
          <a:p>
            <a:pPr algn="ctr">
              <a:lnSpc>
                <a:spcPts val="1256"/>
              </a:lnSpc>
              <a:spcBef>
                <a:spcPct val="0"/>
              </a:spcBef>
            </a:pPr>
            <a:r>
              <a:rPr lang="en-US" sz="1000" b="1">
                <a:solidFill>
                  <a:srgbClr val="1B1464"/>
                </a:solidFill>
                <a:latin typeface="HK Grotesk Bold"/>
              </a:rPr>
              <a:t>Engaging Patient Partners &amp; RC Breakfasts</a:t>
            </a:r>
          </a:p>
        </p:txBody>
      </p:sp>
      <p:pic>
        <p:nvPicPr>
          <p:cNvPr id="51" name="Picture 50" descr="A logo with black text&#10;&#10;Description automatically generated">
            <a:extLst>
              <a:ext uri="{FF2B5EF4-FFF2-40B4-BE49-F238E27FC236}">
                <a16:creationId xmlns:a16="http://schemas.microsoft.com/office/drawing/2014/main" id="{71B05762-4A76-D29F-133E-F13A5499E9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9336" y="2393740"/>
            <a:ext cx="1788723" cy="963463"/>
          </a:xfrm>
          <a:prstGeom prst="rect">
            <a:avLst/>
          </a:prstGeom>
        </p:spPr>
      </p:pic>
      <p:pic>
        <p:nvPicPr>
          <p:cNvPr id="52" name="Picture 51" descr="A map with a red star&#10;&#10;Description automatically generated">
            <a:extLst>
              <a:ext uri="{FF2B5EF4-FFF2-40B4-BE49-F238E27FC236}">
                <a16:creationId xmlns:a16="http://schemas.microsoft.com/office/drawing/2014/main" id="{FF9C82C7-C243-8E0C-A242-7926AA63AC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94753" y="3419386"/>
            <a:ext cx="1754758" cy="1097533"/>
          </a:xfrm>
          <a:prstGeom prst="rect">
            <a:avLst/>
          </a:prstGeom>
        </p:spPr>
      </p:pic>
      <p:sp>
        <p:nvSpPr>
          <p:cNvPr id="43" name="Freeform 43"/>
          <p:cNvSpPr/>
          <p:nvPr/>
        </p:nvSpPr>
        <p:spPr>
          <a:xfrm>
            <a:off x="4000161" y="2758638"/>
            <a:ext cx="4377972" cy="3113488"/>
          </a:xfrm>
          <a:custGeom>
            <a:avLst/>
            <a:gdLst/>
            <a:ahLst/>
            <a:cxnLst/>
            <a:rect l="l" t="t" r="r" b="b"/>
            <a:pathLst>
              <a:path w="1260606" h="1170788">
                <a:moveTo>
                  <a:pt x="0" y="0"/>
                </a:moveTo>
                <a:lnTo>
                  <a:pt x="1260605" y="0"/>
                </a:lnTo>
                <a:lnTo>
                  <a:pt x="1260605" y="1170787"/>
                </a:lnTo>
                <a:lnTo>
                  <a:pt x="0" y="1170787"/>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sp>
      <p:sp>
        <p:nvSpPr>
          <p:cNvPr id="50" name="TextBox 50"/>
          <p:cNvSpPr txBox="1"/>
          <p:nvPr/>
        </p:nvSpPr>
        <p:spPr>
          <a:xfrm>
            <a:off x="4834047" y="3004894"/>
            <a:ext cx="2594329" cy="323871"/>
          </a:xfrm>
          <a:prstGeom prst="rect">
            <a:avLst/>
          </a:prstGeom>
        </p:spPr>
        <p:txBody>
          <a:bodyPr wrap="square" lIns="0" tIns="0" rIns="0" bIns="0" rtlCol="0" anchor="t">
            <a:spAutoFit/>
          </a:bodyPr>
          <a:lstStyle/>
          <a:p>
            <a:pPr algn="ctr">
              <a:lnSpc>
                <a:spcPts val="1333"/>
              </a:lnSpc>
            </a:pPr>
            <a:r>
              <a:rPr lang="en-US" sz="950" b="1">
                <a:solidFill>
                  <a:srgbClr val="FF0000"/>
                </a:solidFill>
                <a:latin typeface="Canva Sans Bold"/>
              </a:rPr>
              <a:t>Storyboard templates c</a:t>
            </a:r>
            <a:r>
              <a:rPr lang="en-US" sz="950" b="1" i="1">
                <a:solidFill>
                  <a:srgbClr val="FF0000"/>
                </a:solidFill>
                <a:latin typeface="Canva Sans Bold"/>
              </a:rPr>
              <a:t>oming soon</a:t>
            </a:r>
            <a:r>
              <a:rPr lang="en-US" sz="950" b="1">
                <a:solidFill>
                  <a:srgbClr val="FF0000"/>
                </a:solidFill>
                <a:latin typeface="Canva Sans Bold"/>
              </a:rPr>
              <a:t> on event webpage</a:t>
            </a:r>
          </a:p>
        </p:txBody>
      </p:sp>
    </p:spTree>
    <p:extLst>
      <p:ext uri="{BB962C8B-B14F-4D97-AF65-F5344CB8AC3E}">
        <p14:creationId xmlns:p14="http://schemas.microsoft.com/office/powerpoint/2010/main" val="23763629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20E2F-E79E-F7ED-3045-501EAAB13F51}"/>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45F84607-EC98-1759-1038-D685CC729605}"/>
              </a:ext>
            </a:extLst>
          </p:cNvPr>
          <p:cNvSpPr>
            <a:spLocks noGrp="1"/>
          </p:cNvSpPr>
          <p:nvPr>
            <p:ph idx="1"/>
          </p:nvPr>
        </p:nvSpPr>
        <p:spPr/>
        <p:txBody>
          <a:bodyPr/>
          <a:lstStyle/>
          <a:p>
            <a:r>
              <a:rPr lang="en-US" dirty="0"/>
              <a:t>Senior leaders, L&amp;D leaders and anesthesiologists on the doula subgroup bringing the plan to anesthesia division in April. </a:t>
            </a:r>
          </a:p>
          <a:p>
            <a:r>
              <a:rPr lang="en-US" dirty="0"/>
              <a:t>From there we will move forward with another doula lunch for final touches and then roll this out!</a:t>
            </a:r>
          </a:p>
          <a:p>
            <a:endParaRPr lang="en-US" dirty="0"/>
          </a:p>
          <a:p>
            <a:r>
              <a:rPr lang="en-US" dirty="0"/>
              <a:t>Many conversations have taken place to get the team to this point, and it was escalated up to CNO/CEO for support.</a:t>
            </a:r>
          </a:p>
        </p:txBody>
      </p:sp>
    </p:spTree>
    <p:extLst>
      <p:ext uri="{BB962C8B-B14F-4D97-AF65-F5344CB8AC3E}">
        <p14:creationId xmlns:p14="http://schemas.microsoft.com/office/powerpoint/2010/main" val="33393193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829AA-E47C-C8BD-28F0-2C47682CBA0B}"/>
              </a:ext>
            </a:extLst>
          </p:cNvPr>
          <p:cNvSpPr>
            <a:spLocks noGrp="1"/>
          </p:cNvSpPr>
          <p:nvPr>
            <p:ph type="title"/>
          </p:nvPr>
        </p:nvSpPr>
        <p:spPr>
          <a:xfrm>
            <a:off x="207579" y="-115724"/>
            <a:ext cx="10972800" cy="1325563"/>
          </a:xfrm>
        </p:spPr>
        <p:txBody>
          <a:bodyPr/>
          <a:lstStyle/>
          <a:p>
            <a:r>
              <a:rPr lang="en-US" dirty="0"/>
              <a:t>Nebraska Doula Collaboration Policy</a:t>
            </a:r>
          </a:p>
        </p:txBody>
      </p:sp>
      <p:sp>
        <p:nvSpPr>
          <p:cNvPr id="3" name="Text Placeholder 2">
            <a:extLst>
              <a:ext uri="{FF2B5EF4-FFF2-40B4-BE49-F238E27FC236}">
                <a16:creationId xmlns:a16="http://schemas.microsoft.com/office/drawing/2014/main" id="{675AE008-FADB-EB9E-507D-6EA237460C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9DDC2A5-4090-0EFD-D44B-E1F1F9A3E56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1</a:t>
            </a:fld>
            <a:endParaRPr lang="en-US"/>
          </a:p>
        </p:txBody>
      </p:sp>
      <p:pic>
        <p:nvPicPr>
          <p:cNvPr id="6" name="Picture 5">
            <a:extLst>
              <a:ext uri="{FF2B5EF4-FFF2-40B4-BE49-F238E27FC236}">
                <a16:creationId xmlns:a16="http://schemas.microsoft.com/office/drawing/2014/main" id="{973ECC9F-4E15-1446-2E8F-E5D77AA784C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86683" y="1048768"/>
            <a:ext cx="9686572" cy="5809232"/>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102142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D8B3F-0C43-5BD1-3678-BFAB14848F90}"/>
              </a:ext>
            </a:extLst>
          </p:cNvPr>
          <p:cNvSpPr>
            <a:spLocks noGrp="1"/>
          </p:cNvSpPr>
          <p:nvPr>
            <p:ph type="title"/>
          </p:nvPr>
        </p:nvSpPr>
        <p:spPr>
          <a:xfrm>
            <a:off x="0" y="319137"/>
            <a:ext cx="2250831" cy="1325563"/>
          </a:xfrm>
        </p:spPr>
        <p:txBody>
          <a:bodyPr/>
          <a:lstStyle/>
          <a:p>
            <a:r>
              <a:rPr lang="en-US" dirty="0"/>
              <a:t>NYCDA Resources</a:t>
            </a:r>
          </a:p>
        </p:txBody>
      </p:sp>
      <p:sp>
        <p:nvSpPr>
          <p:cNvPr id="3" name="Text Placeholder 2">
            <a:extLst>
              <a:ext uri="{FF2B5EF4-FFF2-40B4-BE49-F238E27FC236}">
                <a16:creationId xmlns:a16="http://schemas.microsoft.com/office/drawing/2014/main" id="{8AD6852E-0430-A94E-4BE7-6F338C7C78A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863F71F-14AB-7489-3DCB-838CCCDFC05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2</a:t>
            </a:fld>
            <a:endParaRPr lang="en-US"/>
          </a:p>
        </p:txBody>
      </p:sp>
      <p:pic>
        <p:nvPicPr>
          <p:cNvPr id="6" name="Picture 5">
            <a:extLst>
              <a:ext uri="{FF2B5EF4-FFF2-40B4-BE49-F238E27FC236}">
                <a16:creationId xmlns:a16="http://schemas.microsoft.com/office/drawing/2014/main" id="{52664B36-310C-B8BC-810B-4FB2E3B0D98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55479" y="140037"/>
            <a:ext cx="5229407" cy="65814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368CD998-3B18-D643-09DD-53AB51BA2D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3492" y="384586"/>
            <a:ext cx="5089171" cy="633688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36304651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2683"/>
        <p:cNvGrpSpPr/>
        <p:nvPr/>
      </p:nvGrpSpPr>
      <p:grpSpPr>
        <a:xfrm>
          <a:off x="0" y="0"/>
          <a:ext cx="0" cy="0"/>
          <a:chOff x="0" y="0"/>
          <a:chExt cx="0" cy="0"/>
        </a:xfrm>
      </p:grpSpPr>
      <p:sp>
        <p:nvSpPr>
          <p:cNvPr id="12684" name="Google Shape;12684;p36"/>
          <p:cNvSpPr txBox="1">
            <a:spLocks noGrp="1"/>
          </p:cNvSpPr>
          <p:nvPr>
            <p:ph type="title"/>
          </p:nvPr>
        </p:nvSpPr>
        <p:spPr>
          <a:xfrm>
            <a:off x="1413310" y="1022009"/>
            <a:ext cx="10270945"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Additional Resources / Announcements</a:t>
            </a:r>
            <a:endParaRPr/>
          </a:p>
        </p:txBody>
      </p:sp>
      <p:sp>
        <p:nvSpPr>
          <p:cNvPr id="12685" name="Google Shape;12685;p36"/>
          <p:cNvSpPr txBox="1">
            <a:spLocks noGrp="1"/>
          </p:cNvSpPr>
          <p:nvPr>
            <p:ph type="subTitle" idx="1"/>
          </p:nvPr>
        </p:nvSpPr>
        <p:spPr>
          <a:xfrm>
            <a:off x="1413310" y="3081639"/>
            <a:ext cx="7675728"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600"/>
              <a:buNone/>
            </a:pPr>
            <a:endParaRPr sz="2600" b="1"/>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AA9EF-626F-ACEE-9AA6-A919AF922B97}"/>
              </a:ext>
            </a:extLst>
          </p:cNvPr>
          <p:cNvSpPr>
            <a:spLocks noGrp="1"/>
          </p:cNvSpPr>
          <p:nvPr>
            <p:ph type="title"/>
          </p:nvPr>
        </p:nvSpPr>
        <p:spPr>
          <a:xfrm>
            <a:off x="609600" y="83911"/>
            <a:ext cx="7788676" cy="1325563"/>
          </a:xfrm>
        </p:spPr>
        <p:txBody>
          <a:bodyPr/>
          <a:lstStyle/>
          <a:p>
            <a:r>
              <a:rPr lang="en-US" dirty="0"/>
              <a:t>Celebrating World Doula Week </a:t>
            </a:r>
          </a:p>
        </p:txBody>
      </p:sp>
      <p:sp>
        <p:nvSpPr>
          <p:cNvPr id="3" name="Text Placeholder 2">
            <a:extLst>
              <a:ext uri="{FF2B5EF4-FFF2-40B4-BE49-F238E27FC236}">
                <a16:creationId xmlns:a16="http://schemas.microsoft.com/office/drawing/2014/main" id="{B0CAADBE-8684-6053-5D1A-7547B4A91489}"/>
              </a:ext>
            </a:extLst>
          </p:cNvPr>
          <p:cNvSpPr>
            <a:spLocks noGrp="1"/>
          </p:cNvSpPr>
          <p:nvPr>
            <p:ph type="body" idx="1"/>
          </p:nvPr>
        </p:nvSpPr>
        <p:spPr>
          <a:xfrm>
            <a:off x="609600" y="1008402"/>
            <a:ext cx="6446158" cy="4841195"/>
          </a:xfrm>
        </p:spPr>
        <p:txBody>
          <a:bodyPr/>
          <a:lstStyle/>
          <a:p>
            <a:r>
              <a:rPr lang="en-US" sz="1800" b="1" dirty="0">
                <a:solidFill>
                  <a:srgbClr val="000000"/>
                </a:solidFill>
                <a:latin typeface="Arial"/>
                <a:cs typeface="Arial"/>
              </a:rPr>
              <a:t>Share this post on social media with your networks! It's optimized for Instagram and Facebook.</a:t>
            </a:r>
            <a:endParaRPr lang="en-US" sz="1800" dirty="0">
              <a:solidFill>
                <a:srgbClr val="000000"/>
              </a:solidFill>
              <a:latin typeface="Arial"/>
              <a:cs typeface="Arial"/>
            </a:endParaRPr>
          </a:p>
          <a:p>
            <a:r>
              <a:rPr lang="en-US" sz="1800" b="1" u="sng" dirty="0">
                <a:solidFill>
                  <a:schemeClr val="accent2">
                    <a:lumMod val="50000"/>
                  </a:schemeClr>
                </a:solidFill>
                <a:latin typeface="Arial"/>
                <a:cs typeface="Arial"/>
              </a:rPr>
              <a:t>March 22-28 is World Doula Week! </a:t>
            </a:r>
            <a:endParaRPr lang="en-US" dirty="0">
              <a:solidFill>
                <a:schemeClr val="accent2">
                  <a:lumMod val="50000"/>
                </a:schemeClr>
              </a:solidFill>
            </a:endParaRPr>
          </a:p>
          <a:p>
            <a:r>
              <a:rPr lang="en-US" sz="1800" dirty="0">
                <a:solidFill>
                  <a:srgbClr val="000000"/>
                </a:solidFill>
                <a:latin typeface="Arial"/>
                <a:cs typeface="Arial"/>
              </a:rPr>
              <a:t>Studies examining the impact of continuous support by doulas report significant reductions in cesarean births, instrumental vaginal births, need for oxytocin augmentation, and shortened durations of labor.</a:t>
            </a:r>
          </a:p>
          <a:p>
            <a:r>
              <a:rPr lang="en-US" sz="1800" dirty="0">
                <a:solidFill>
                  <a:srgbClr val="000000"/>
                </a:solidFill>
                <a:latin typeface="Arial"/>
                <a:cs typeface="Arial"/>
              </a:rPr>
              <a:t>Additionally, doula-assisted mothers and birthing people were four times less likely to have a low birth weight baby, two times less likely to experience a birth complication involving themselves or their baby, and significantly more likely to initiate breastfeeding. </a:t>
            </a:r>
          </a:p>
          <a:p>
            <a:r>
              <a:rPr lang="en-US" sz="1800" dirty="0">
                <a:solidFill>
                  <a:srgbClr val="000000"/>
                </a:solidFill>
                <a:latin typeface="Arial"/>
                <a:cs typeface="Arial"/>
              </a:rPr>
              <a:t>Read "Doula Support Improves Maternal and Child Health Outcomes, Patient and Family Engagement," featuring a conversation with NICHQ board member </a:t>
            </a:r>
            <a:r>
              <a:rPr lang="en-US" sz="1800" dirty="0" err="1">
                <a:solidFill>
                  <a:srgbClr val="000000"/>
                </a:solidFill>
                <a:latin typeface="Arial"/>
                <a:cs typeface="Arial"/>
              </a:rPr>
              <a:t>LaToshia</a:t>
            </a:r>
            <a:r>
              <a:rPr lang="en-US" sz="1800" dirty="0">
                <a:solidFill>
                  <a:srgbClr val="000000"/>
                </a:solidFill>
                <a:latin typeface="Arial"/>
                <a:cs typeface="Arial"/>
              </a:rPr>
              <a:t> Rouse, CD/PCD (DONA), owner of Birth Sisters Doula Services to learn more. </a:t>
            </a:r>
            <a:r>
              <a:rPr lang="en-US" sz="1800" dirty="0">
                <a:solidFill>
                  <a:srgbClr val="000000"/>
                </a:solidFill>
                <a:latin typeface="Arial"/>
                <a:cs typeface="Arial"/>
                <a:hlinkClick r:id="rId2"/>
              </a:rPr>
              <a:t>https://bit.ly/4bYlJl2</a:t>
            </a:r>
            <a:endParaRPr lang="en-US" dirty="0"/>
          </a:p>
          <a:p>
            <a:pPr>
              <a:buClr>
                <a:srgbClr val="F5668F"/>
              </a:buClr>
            </a:pPr>
            <a:endParaRPr lang="en-US" sz="2800" dirty="0"/>
          </a:p>
        </p:txBody>
      </p:sp>
      <p:sp>
        <p:nvSpPr>
          <p:cNvPr id="4" name="Slide Number Placeholder 3">
            <a:extLst>
              <a:ext uri="{FF2B5EF4-FFF2-40B4-BE49-F238E27FC236}">
                <a16:creationId xmlns:a16="http://schemas.microsoft.com/office/drawing/2014/main" id="{9984B927-74DD-6164-239B-76438D5A5D09}"/>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4</a:t>
            </a:fld>
            <a:endParaRPr kumimoji="0" lang="en-US" sz="1200" b="0" i="0" u="none" strike="noStrike" kern="0" cap="none" spc="0" normalizeH="0" baseline="0" noProof="0">
              <a:ln>
                <a:noFill/>
              </a:ln>
              <a:solidFill>
                <a:srgbClr val="AEB3B7"/>
              </a:solidFill>
              <a:effectLst/>
              <a:uLnTx/>
              <a:uFillTx/>
              <a:latin typeface="Calibri"/>
              <a:cs typeface="Calibri"/>
              <a:sym typeface="Calibri"/>
            </a:endParaRPr>
          </a:p>
        </p:txBody>
      </p:sp>
      <p:pic>
        <p:nvPicPr>
          <p:cNvPr id="5" name="Picture 4" descr="World Doula Week Graphic (1)">
            <a:extLst>
              <a:ext uri="{FF2B5EF4-FFF2-40B4-BE49-F238E27FC236}">
                <a16:creationId xmlns:a16="http://schemas.microsoft.com/office/drawing/2014/main" id="{2746B89F-06CB-0588-34C4-DFA43667DF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36971" y="1549400"/>
            <a:ext cx="4394199" cy="4394199"/>
          </a:xfrm>
          <a:prstGeom prst="rect">
            <a:avLst/>
          </a:prstGeom>
        </p:spPr>
      </p:pic>
    </p:spTree>
    <p:extLst>
      <p:ext uri="{BB962C8B-B14F-4D97-AF65-F5344CB8AC3E}">
        <p14:creationId xmlns:p14="http://schemas.microsoft.com/office/powerpoint/2010/main" val="429167847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5E9CF-02ED-E7B7-67F2-8D49ECE9EC23}"/>
              </a:ext>
            </a:extLst>
          </p:cNvPr>
          <p:cNvSpPr>
            <a:spLocks noGrp="1"/>
          </p:cNvSpPr>
          <p:nvPr>
            <p:ph type="title"/>
          </p:nvPr>
        </p:nvSpPr>
        <p:spPr>
          <a:xfrm>
            <a:off x="609600" y="365125"/>
            <a:ext cx="7190154" cy="1325563"/>
          </a:xfrm>
        </p:spPr>
        <p:txBody>
          <a:bodyPr/>
          <a:lstStyle/>
          <a:p>
            <a:r>
              <a:rPr lang="en-US" dirty="0"/>
              <a:t>NICHQ Webinar – Impact of Doulas on Maternal and Child Health</a:t>
            </a:r>
          </a:p>
        </p:txBody>
      </p:sp>
      <p:sp>
        <p:nvSpPr>
          <p:cNvPr id="3" name="Text Placeholder 2">
            <a:extLst>
              <a:ext uri="{FF2B5EF4-FFF2-40B4-BE49-F238E27FC236}">
                <a16:creationId xmlns:a16="http://schemas.microsoft.com/office/drawing/2014/main" id="{5CCB0ADC-CD55-50F0-EA5A-E9730440451E}"/>
              </a:ext>
            </a:extLst>
          </p:cNvPr>
          <p:cNvSpPr>
            <a:spLocks noGrp="1"/>
          </p:cNvSpPr>
          <p:nvPr>
            <p:ph type="body" idx="1"/>
          </p:nvPr>
        </p:nvSpPr>
        <p:spPr/>
        <p:txBody>
          <a:bodyPr/>
          <a:lstStyle/>
          <a:p>
            <a:pPr algn="l"/>
            <a:r>
              <a:rPr lang="en-US" sz="2800" b="1" i="0" u="none" strike="noStrike" dirty="0">
                <a:solidFill>
                  <a:srgbClr val="1D4F91"/>
                </a:solidFill>
                <a:effectLst/>
                <a:latin typeface="Calibri" panose="020F0502020204030204" pitchFamily="34" charset="0"/>
                <a:cs typeface="Calibri" panose="020F0502020204030204" pitchFamily="34" charset="0"/>
                <a:hlinkClick r:id="rId2"/>
              </a:rPr>
              <a:t>Register: Impact of Doulas on Maternal and Child Health Webinar</a:t>
            </a:r>
            <a:endParaRPr lang="en-US" sz="2800" b="0" i="0" dirty="0">
              <a:solidFill>
                <a:srgbClr val="000000"/>
              </a:solidFill>
              <a:effectLst/>
              <a:latin typeface="Calibri" panose="020F0502020204030204" pitchFamily="34" charset="0"/>
              <a:cs typeface="Calibri" panose="020F0502020204030204" pitchFamily="34" charset="0"/>
            </a:endParaRPr>
          </a:p>
          <a:p>
            <a:pPr algn="l"/>
            <a:r>
              <a:rPr lang="en-US" sz="2800" b="1" i="0" dirty="0">
                <a:solidFill>
                  <a:srgbClr val="000000"/>
                </a:solidFill>
                <a:effectLst/>
                <a:latin typeface="Calibri" panose="020F0502020204030204" pitchFamily="34" charset="0"/>
                <a:cs typeface="Calibri" panose="020F0502020204030204" pitchFamily="34" charset="0"/>
              </a:rPr>
              <a:t>Wednesday, March 27, 2024</a:t>
            </a:r>
            <a:r>
              <a:rPr lang="en-US" sz="2800" b="0" i="0" dirty="0">
                <a:solidFill>
                  <a:srgbClr val="000000"/>
                </a:solidFill>
                <a:effectLst/>
                <a:latin typeface="Calibri" panose="020F0502020204030204" pitchFamily="34" charset="0"/>
                <a:cs typeface="Calibri" panose="020F0502020204030204" pitchFamily="34" charset="0"/>
              </a:rPr>
              <a:t> |</a:t>
            </a:r>
            <a:r>
              <a:rPr lang="en-US" sz="2800" i="0" dirty="0">
                <a:solidFill>
                  <a:srgbClr val="000000"/>
                </a:solidFill>
                <a:effectLst/>
                <a:latin typeface="Calibri" panose="020F0502020204030204" pitchFamily="34" charset="0"/>
                <a:cs typeface="Calibri" panose="020F0502020204030204" pitchFamily="34" charset="0"/>
              </a:rPr>
              <a:t> 2-3 PM EST / </a:t>
            </a:r>
            <a:r>
              <a:rPr lang="en-US" sz="2800" b="1" i="0" dirty="0">
                <a:solidFill>
                  <a:srgbClr val="000000"/>
                </a:solidFill>
                <a:effectLst/>
                <a:latin typeface="Calibri" panose="020F0502020204030204" pitchFamily="34" charset="0"/>
                <a:cs typeface="Calibri" panose="020F0502020204030204" pitchFamily="34" charset="0"/>
              </a:rPr>
              <a:t>1-2 PM CST</a:t>
            </a:r>
          </a:p>
          <a:p>
            <a:pPr algn="l"/>
            <a:r>
              <a:rPr lang="en-US" sz="2800" b="0" i="0" dirty="0">
                <a:solidFill>
                  <a:srgbClr val="000000"/>
                </a:solidFill>
                <a:effectLst/>
                <a:latin typeface="Calibri" panose="020F0502020204030204" pitchFamily="34" charset="0"/>
                <a:cs typeface="Calibri" panose="020F0502020204030204" pitchFamily="34" charset="0"/>
              </a:rPr>
              <a:t>Join NICHQ for a webinar focused on the impact of doulas on birth outcomes and maternal and infant health quality. We will host a discussion with certified doulas about the challenges they face when providing services and potential solutions for improving doula and provider relationships in the current medical landscape.</a:t>
            </a:r>
          </a:p>
        </p:txBody>
      </p:sp>
      <p:sp>
        <p:nvSpPr>
          <p:cNvPr id="4" name="Slide Number Placeholder 3">
            <a:extLst>
              <a:ext uri="{FF2B5EF4-FFF2-40B4-BE49-F238E27FC236}">
                <a16:creationId xmlns:a16="http://schemas.microsoft.com/office/drawing/2014/main" id="{DC945374-7704-2159-C346-DEDA8338195B}"/>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55</a:t>
            </a:fld>
            <a:endParaRPr kumimoji="0" lang="en-US" sz="1200" b="0" i="0" u="none" strike="noStrike" kern="0" cap="none" spc="0" normalizeH="0" baseline="0" noProof="0">
              <a:ln>
                <a:noFill/>
              </a:ln>
              <a:solidFill>
                <a:srgbClr val="AEB3B7"/>
              </a:solidFill>
              <a:effectLst/>
              <a:uLnTx/>
              <a:uFillTx/>
              <a:latin typeface="Calibri"/>
              <a:cs typeface="Calibri"/>
              <a:sym typeface="Calibri"/>
            </a:endParaRPr>
          </a:p>
        </p:txBody>
      </p:sp>
      <p:pic>
        <p:nvPicPr>
          <p:cNvPr id="9" name="Picture 8" descr="A green circle with a letter q&#10;&#10;Description automatically generated">
            <a:extLst>
              <a:ext uri="{FF2B5EF4-FFF2-40B4-BE49-F238E27FC236}">
                <a16:creationId xmlns:a16="http://schemas.microsoft.com/office/drawing/2014/main" id="{F26EE1B6-2CA3-54A7-FF13-E9AE851BAC72}"/>
              </a:ext>
            </a:extLst>
          </p:cNvPr>
          <p:cNvPicPr>
            <a:picLocks noChangeAspect="1"/>
          </p:cNvPicPr>
          <p:nvPr/>
        </p:nvPicPr>
        <p:blipFill>
          <a:blip r:embed="rId3"/>
          <a:stretch>
            <a:fillRect/>
          </a:stretch>
        </p:blipFill>
        <p:spPr>
          <a:xfrm>
            <a:off x="3238500" y="5386388"/>
            <a:ext cx="5715000" cy="790575"/>
          </a:xfrm>
          <a:prstGeom prst="rect">
            <a:avLst/>
          </a:prstGeom>
        </p:spPr>
      </p:pic>
      <p:pic>
        <p:nvPicPr>
          <p:cNvPr id="11" name="Picture 10" descr="A person touching a pregnant person's belly&#10;&#10;Description automatically generated">
            <a:extLst>
              <a:ext uri="{FF2B5EF4-FFF2-40B4-BE49-F238E27FC236}">
                <a16:creationId xmlns:a16="http://schemas.microsoft.com/office/drawing/2014/main" id="{69E9CF3D-7FB9-7C08-D38C-A0B8B58CBB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670368" y="120716"/>
            <a:ext cx="2912032" cy="1814379"/>
          </a:xfrm>
          <a:prstGeom prst="rect">
            <a:avLst/>
          </a:prstGeom>
        </p:spPr>
      </p:pic>
    </p:spTree>
    <p:extLst>
      <p:ext uri="{BB962C8B-B14F-4D97-AF65-F5344CB8AC3E}">
        <p14:creationId xmlns:p14="http://schemas.microsoft.com/office/powerpoint/2010/main" val="34910948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79ECFA-931F-4184-1F20-CBCC34AEA71E}"/>
              </a:ext>
            </a:extLst>
          </p:cNvPr>
          <p:cNvSpPr>
            <a:spLocks noGrp="1"/>
          </p:cNvSpPr>
          <p:nvPr>
            <p:ph type="body" idx="1"/>
          </p:nvPr>
        </p:nvSpPr>
        <p:spPr>
          <a:xfrm>
            <a:off x="97655" y="1146258"/>
            <a:ext cx="3773010" cy="2971798"/>
          </a:xfrm>
        </p:spPr>
        <p:txBody>
          <a:bodyPr/>
          <a:lstStyle/>
          <a:p>
            <a:pPr algn="ctr"/>
            <a:r>
              <a:rPr lang="en-US" sz="3600" b="1"/>
              <a:t>Birth Equity QI Office Hours Announcement</a:t>
            </a:r>
          </a:p>
        </p:txBody>
      </p:sp>
      <p:pic>
        <p:nvPicPr>
          <p:cNvPr id="5" name="Picture Placeholder 4" descr="A qr code on a blue background&#10;&#10;Description automatically generated">
            <a:extLst>
              <a:ext uri="{FF2B5EF4-FFF2-40B4-BE49-F238E27FC236}">
                <a16:creationId xmlns:a16="http://schemas.microsoft.com/office/drawing/2014/main" id="{8158A55A-5B9A-3B25-B9B6-CAF3E84A775B}"/>
              </a:ext>
            </a:extLst>
          </p:cNvPr>
          <p:cNvPicPr>
            <a:picLocks noGrp="1" noChangeAspect="1"/>
          </p:cNvPicPr>
          <p:nvPr>
            <p:ph type="pic" idx="2"/>
          </p:nvPr>
        </p:nvPicPr>
        <p:blipFill rotWithShape="1">
          <a:blip r:embed="rId2" cstate="email">
            <a:extLst>
              <a:ext uri="{28A0092B-C50C-407E-A947-70E740481C1C}">
                <a14:useLocalDpi xmlns:a14="http://schemas.microsoft.com/office/drawing/2010/main"/>
              </a:ext>
            </a:extLst>
          </a:blip>
          <a:srcRect/>
          <a:stretch/>
        </p:blipFill>
        <p:spPr>
          <a:xfrm>
            <a:off x="4154748" y="170313"/>
            <a:ext cx="6933461" cy="6517374"/>
          </a:xfrm>
        </p:spPr>
      </p:pic>
      <p:sp>
        <p:nvSpPr>
          <p:cNvPr id="3" name="Oval 2">
            <a:extLst>
              <a:ext uri="{FF2B5EF4-FFF2-40B4-BE49-F238E27FC236}">
                <a16:creationId xmlns:a16="http://schemas.microsoft.com/office/drawing/2014/main" id="{95E37B55-B5CA-05E2-10CB-ABFE198E1DED}"/>
              </a:ext>
            </a:extLst>
          </p:cNvPr>
          <p:cNvSpPr/>
          <p:nvPr/>
        </p:nvSpPr>
        <p:spPr>
          <a:xfrm>
            <a:off x="4384432" y="4939323"/>
            <a:ext cx="4087446" cy="640862"/>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245941D-EA40-465A-8164-19257C83FEC2}"/>
              </a:ext>
            </a:extLst>
          </p:cNvPr>
          <p:cNvSpPr txBox="1"/>
          <p:nvPr/>
        </p:nvSpPr>
        <p:spPr>
          <a:xfrm>
            <a:off x="2821355" y="4444146"/>
            <a:ext cx="1563077" cy="1631216"/>
          </a:xfrm>
          <a:prstGeom prst="rect">
            <a:avLst/>
          </a:prstGeom>
          <a:noFill/>
        </p:spPr>
        <p:txBody>
          <a:bodyPr wrap="square" rtlCol="0">
            <a:spAutoFit/>
          </a:bodyPr>
          <a:lstStyle/>
          <a:p>
            <a:pPr algn="ctr"/>
            <a:r>
              <a:rPr lang="en-US" sz="2000" b="1" dirty="0">
                <a:solidFill>
                  <a:srgbClr val="FF0000"/>
                </a:solidFill>
              </a:rPr>
              <a:t>FINAL Office Hours this Thursday at 12pm!</a:t>
            </a:r>
          </a:p>
        </p:txBody>
      </p:sp>
    </p:spTree>
    <p:extLst>
      <p:ext uri="{BB962C8B-B14F-4D97-AF65-F5344CB8AC3E}">
        <p14:creationId xmlns:p14="http://schemas.microsoft.com/office/powerpoint/2010/main" val="6648186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AA9EF-626F-ACEE-9AA6-A919AF922B97}"/>
              </a:ext>
            </a:extLst>
          </p:cNvPr>
          <p:cNvSpPr>
            <a:spLocks noGrp="1"/>
          </p:cNvSpPr>
          <p:nvPr>
            <p:ph type="title"/>
          </p:nvPr>
        </p:nvSpPr>
        <p:spPr>
          <a:xfrm>
            <a:off x="609600" y="365125"/>
            <a:ext cx="7788676" cy="1325563"/>
          </a:xfrm>
        </p:spPr>
        <p:txBody>
          <a:bodyPr/>
          <a:lstStyle/>
          <a:p>
            <a:r>
              <a:rPr lang="en-US" dirty="0"/>
              <a:t>BE 30-60-90 Day Plan to Engage Patient Partners</a:t>
            </a:r>
          </a:p>
        </p:txBody>
      </p:sp>
      <p:sp>
        <p:nvSpPr>
          <p:cNvPr id="3" name="Text Placeholder 2">
            <a:extLst>
              <a:ext uri="{FF2B5EF4-FFF2-40B4-BE49-F238E27FC236}">
                <a16:creationId xmlns:a16="http://schemas.microsoft.com/office/drawing/2014/main" id="{B0CAADBE-8684-6053-5D1A-7547B4A91489}"/>
              </a:ext>
            </a:extLst>
          </p:cNvPr>
          <p:cNvSpPr>
            <a:spLocks noGrp="1"/>
          </p:cNvSpPr>
          <p:nvPr>
            <p:ph type="body" idx="1"/>
          </p:nvPr>
        </p:nvSpPr>
        <p:spPr/>
        <p:txBody>
          <a:bodyPr/>
          <a:lstStyle/>
          <a:p>
            <a:r>
              <a:rPr lang="en-US" sz="2800" dirty="0"/>
              <a:t>For every hospital team working to identify and engage a patient partner on their QI team, please create a 30-60-90 day plan to share with ILPQC</a:t>
            </a:r>
          </a:p>
          <a:p>
            <a:r>
              <a:rPr lang="en-US" sz="2800" dirty="0"/>
              <a:t>Email your 30-60-90 day plan to </a:t>
            </a:r>
            <a:r>
              <a:rPr lang="en-US" sz="2800" dirty="0">
                <a:hlinkClick r:id="rId2"/>
              </a:rPr>
              <a:t>info@ilpqc.org</a:t>
            </a:r>
            <a:r>
              <a:rPr lang="en-US" sz="2800" dirty="0"/>
              <a:t> and feature it on your team’s storyboard at Face-to-Face on May 22</a:t>
            </a:r>
            <a:r>
              <a:rPr lang="en-US" sz="2800" baseline="30000" dirty="0"/>
              <a:t>nd</a:t>
            </a:r>
            <a:r>
              <a:rPr lang="en-US" sz="2800" dirty="0"/>
              <a:t>!</a:t>
            </a:r>
          </a:p>
          <a:p>
            <a:r>
              <a:rPr lang="en-US" sz="2800" dirty="0"/>
              <a:t>Example on next slide</a:t>
            </a:r>
          </a:p>
          <a:p>
            <a:pPr lvl="1"/>
            <a:r>
              <a:rPr lang="en-US" sz="2400" dirty="0"/>
              <a:t>Create your own </a:t>
            </a:r>
            <a:r>
              <a:rPr lang="en-US" sz="2400" dirty="0">
                <a:hlinkClick r:id="rId3"/>
              </a:rPr>
              <a:t>30-60-90 day plan here</a:t>
            </a:r>
            <a:endParaRPr lang="en-US" sz="2400" dirty="0"/>
          </a:p>
        </p:txBody>
      </p:sp>
      <p:sp>
        <p:nvSpPr>
          <p:cNvPr id="4" name="Slide Number Placeholder 3">
            <a:extLst>
              <a:ext uri="{FF2B5EF4-FFF2-40B4-BE49-F238E27FC236}">
                <a16:creationId xmlns:a16="http://schemas.microsoft.com/office/drawing/2014/main" id="{9984B927-74DD-6164-239B-76438D5A5D09}"/>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7</a:t>
            </a:fld>
            <a:endParaRPr lang="en-US"/>
          </a:p>
        </p:txBody>
      </p:sp>
    </p:spTree>
    <p:extLst>
      <p:ext uri="{BB962C8B-B14F-4D97-AF65-F5344CB8AC3E}">
        <p14:creationId xmlns:p14="http://schemas.microsoft.com/office/powerpoint/2010/main" val="39866350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3180A-9A97-CFA8-DAEA-98A986C9D5B5}"/>
              </a:ext>
            </a:extLst>
          </p:cNvPr>
          <p:cNvSpPr>
            <a:spLocks noGrp="1"/>
          </p:cNvSpPr>
          <p:nvPr>
            <p:ph type="title"/>
          </p:nvPr>
        </p:nvSpPr>
        <p:spPr>
          <a:xfrm>
            <a:off x="609600" y="-105391"/>
            <a:ext cx="10972800" cy="1325563"/>
          </a:xfrm>
        </p:spPr>
        <p:txBody>
          <a:bodyPr/>
          <a:lstStyle/>
          <a:p>
            <a:r>
              <a:rPr lang="en-US"/>
              <a:t>Example 30-60-90 Day Plan</a:t>
            </a:r>
          </a:p>
        </p:txBody>
      </p:sp>
      <p:sp>
        <p:nvSpPr>
          <p:cNvPr id="4" name="Slide Number Placeholder 3">
            <a:extLst>
              <a:ext uri="{FF2B5EF4-FFF2-40B4-BE49-F238E27FC236}">
                <a16:creationId xmlns:a16="http://schemas.microsoft.com/office/drawing/2014/main" id="{07FC62F8-D4F1-CBAA-52BA-0DDC5E7EB7A0}"/>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dirty="0" smtClean="0"/>
              <a:t>58</a:t>
            </a:fld>
            <a:endParaRPr lang="en-US" dirty="0"/>
          </a:p>
        </p:txBody>
      </p:sp>
      <p:pic>
        <p:nvPicPr>
          <p:cNvPr id="6" name="Picture 5">
            <a:extLst>
              <a:ext uri="{FF2B5EF4-FFF2-40B4-BE49-F238E27FC236}">
                <a16:creationId xmlns:a16="http://schemas.microsoft.com/office/drawing/2014/main" id="{38E2B180-E870-A0A1-4560-20DD7DF3DF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91450" y="926019"/>
            <a:ext cx="7998780" cy="5931981"/>
          </a:xfrm>
          <a:prstGeom prst="rect">
            <a:avLst/>
          </a:prstGeom>
        </p:spPr>
      </p:pic>
    </p:spTree>
    <p:extLst>
      <p:ext uri="{BB962C8B-B14F-4D97-AF65-F5344CB8AC3E}">
        <p14:creationId xmlns:p14="http://schemas.microsoft.com/office/powerpoint/2010/main" val="18220972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689"/>
        <p:cNvGrpSpPr/>
        <p:nvPr/>
      </p:nvGrpSpPr>
      <p:grpSpPr>
        <a:xfrm>
          <a:off x="0" y="0"/>
          <a:ext cx="0" cy="0"/>
          <a:chOff x="0" y="0"/>
          <a:chExt cx="0" cy="0"/>
        </a:xfrm>
      </p:grpSpPr>
      <p:sp>
        <p:nvSpPr>
          <p:cNvPr id="12690" name="Google Shape;12690;p1190"/>
          <p:cNvSpPr txBox="1">
            <a:spLocks noGrp="1"/>
          </p:cNvSpPr>
          <p:nvPr>
            <p:ph type="title"/>
          </p:nvPr>
        </p:nvSpPr>
        <p:spPr>
          <a:xfrm>
            <a:off x="667110" y="342269"/>
            <a:ext cx="3755367" cy="56616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a:t>PQI SPEAK UP Champion Training Announcement – April 12th &amp; 19th 2024!</a:t>
            </a:r>
            <a:br>
              <a:rPr lang="en-US"/>
            </a:br>
            <a:br>
              <a:rPr lang="en-US"/>
            </a:br>
            <a:r>
              <a:rPr lang="en-US"/>
              <a:t>ILPQC sponsored FREE 2-day training</a:t>
            </a:r>
            <a:endParaRPr/>
          </a:p>
        </p:txBody>
      </p:sp>
      <p:sp>
        <p:nvSpPr>
          <p:cNvPr id="12691" name="Google Shape;12691;p1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59</a:t>
            </a:fld>
            <a:endParaRPr/>
          </a:p>
        </p:txBody>
      </p:sp>
      <p:pic>
        <p:nvPicPr>
          <p:cNvPr id="12692" name="Google Shape;12692;p1190" descr="A white and green flyer with a qr code&#10;&#10;Description automatically generated"/>
          <p:cNvPicPr preferRelativeResize="0"/>
          <p:nvPr/>
        </p:nvPicPr>
        <p:blipFill rotWithShape="1">
          <a:blip r:embed="rId3">
            <a:alphaModFix/>
          </a:blip>
          <a:srcRect/>
          <a:stretch/>
        </p:blipFill>
        <p:spPr>
          <a:xfrm>
            <a:off x="4880902" y="49719"/>
            <a:ext cx="6645214" cy="6673968"/>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954"/>
        <p:cNvGrpSpPr/>
        <p:nvPr/>
      </p:nvGrpSpPr>
      <p:grpSpPr>
        <a:xfrm>
          <a:off x="0" y="0"/>
          <a:ext cx="0" cy="0"/>
          <a:chOff x="0" y="0"/>
          <a:chExt cx="0" cy="0"/>
        </a:xfrm>
      </p:grpSpPr>
      <p:sp>
        <p:nvSpPr>
          <p:cNvPr id="11955" name="Google Shape;11955;p5"/>
          <p:cNvSpPr/>
          <p:nvPr/>
        </p:nvSpPr>
        <p:spPr>
          <a:xfrm>
            <a:off x="0" y="-138223"/>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6" name="Google Shape;11956;p5"/>
          <p:cNvSpPr txBox="1">
            <a:spLocks noGrp="1"/>
          </p:cNvSpPr>
          <p:nvPr>
            <p:ph type="title"/>
          </p:nvPr>
        </p:nvSpPr>
        <p:spPr>
          <a:xfrm>
            <a:off x="255289" y="65729"/>
            <a:ext cx="3783994" cy="5583148"/>
          </a:xfrm>
          <a:prstGeom prst="rect">
            <a:avLst/>
          </a:prstGeom>
          <a:noFill/>
          <a:ln>
            <a:noFill/>
          </a:ln>
        </p:spPr>
        <p:txBody>
          <a:bodyPr spcFirstLastPara="1" wrap="square" lIns="91425" tIns="45700" rIns="91425" bIns="45700" anchor="ctr" anchorCtr="0">
            <a:normAutofit/>
          </a:bodyPr>
          <a:lstStyle/>
          <a:p>
            <a:pPr marL="0" lvl="0" indent="0" algn="l" rtl="0">
              <a:lnSpc>
                <a:spcPct val="100000"/>
              </a:lnSpc>
              <a:spcBef>
                <a:spcPts val="0"/>
              </a:spcBef>
              <a:spcAft>
                <a:spcPts val="0"/>
              </a:spcAft>
              <a:buClr>
                <a:schemeClr val="accent1"/>
              </a:buClr>
              <a:buSzPts val="5400"/>
              <a:buFont typeface="Calibri"/>
              <a:buNone/>
            </a:pPr>
            <a:r>
              <a:rPr lang="en-US" sz="5400" dirty="0"/>
              <a:t>Upcoming Face-to-Face 2024 Prep</a:t>
            </a:r>
            <a:endParaRPr sz="5400" dirty="0"/>
          </a:p>
        </p:txBody>
      </p:sp>
      <p:sp>
        <p:nvSpPr>
          <p:cNvPr id="11957" name="Google Shape;11957;p5"/>
          <p:cNvSpPr/>
          <p:nvPr/>
        </p:nvSpPr>
        <p:spPr>
          <a:xfrm rot="5400000">
            <a:off x="1627450" y="3462719"/>
            <a:ext cx="5410200" cy="18288"/>
          </a:xfrm>
          <a:custGeom>
            <a:avLst/>
            <a:gdLst/>
            <a:ahLst/>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8" name="Google Shape;11958;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11959" name="Google Shape;11959;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6</a:t>
            </a:fld>
            <a:endParaRPr/>
          </a:p>
        </p:txBody>
      </p:sp>
      <p:grpSp>
        <p:nvGrpSpPr>
          <p:cNvPr id="11960" name="Google Shape;11960;p5"/>
          <p:cNvGrpSpPr/>
          <p:nvPr/>
        </p:nvGrpSpPr>
        <p:grpSpPr>
          <a:xfrm>
            <a:off x="4705527" y="619341"/>
            <a:ext cx="7110693" cy="5924160"/>
            <a:chOff x="0" y="64782"/>
            <a:chExt cx="7110693" cy="5924160"/>
          </a:xfrm>
        </p:grpSpPr>
        <p:sp>
          <p:nvSpPr>
            <p:cNvPr id="11961" name="Google Shape;11961;p5"/>
            <p:cNvSpPr/>
            <p:nvPr/>
          </p:nvSpPr>
          <p:spPr>
            <a:xfrm>
              <a:off x="0" y="389502"/>
              <a:ext cx="7101795" cy="1247400"/>
            </a:xfrm>
            <a:prstGeom prst="rect">
              <a:avLst/>
            </a:prstGeom>
            <a:solidFill>
              <a:schemeClr val="lt1">
                <a:alpha val="89803"/>
              </a:schemeClr>
            </a:solidFill>
            <a:ln w="12700" cap="flat" cmpd="sng">
              <a:solidFill>
                <a:srgbClr val="F5658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5"/>
            <p:cNvSpPr txBox="1"/>
            <p:nvPr/>
          </p:nvSpPr>
          <p:spPr>
            <a:xfrm>
              <a:off x="0" y="389502"/>
              <a:ext cx="7101795" cy="1247400"/>
            </a:xfrm>
            <a:prstGeom prst="rect">
              <a:avLst/>
            </a:prstGeom>
            <a:noFill/>
            <a:ln>
              <a:noFill/>
            </a:ln>
          </p:spPr>
          <p:txBody>
            <a:bodyPr spcFirstLastPara="1" wrap="square" lIns="551175" tIns="458200" rIns="551175" bIns="156450" anchor="t" anchorCtr="0">
              <a:noAutofit/>
            </a:bodyPr>
            <a:lstStyle/>
            <a:p>
              <a:pPr marL="228600" marR="0" lvl="1" indent="-228600" algn="l" rtl="0">
                <a:lnSpc>
                  <a:spcPct val="90000"/>
                </a:lnSpc>
                <a:spcBef>
                  <a:spcPts val="0"/>
                </a:spcBef>
                <a:spcAft>
                  <a:spcPts val="0"/>
                </a:spcAft>
                <a:buClr>
                  <a:schemeClr val="dk1"/>
                </a:buClr>
                <a:buSzPts val="2200"/>
                <a:buFont typeface="Calibri"/>
                <a:buChar char="•"/>
              </a:pPr>
              <a:r>
                <a:rPr lang="en-US" sz="2200" b="0" i="0" u="none" strike="noStrike" cap="none" dirty="0">
                  <a:solidFill>
                    <a:schemeClr val="dk1"/>
                  </a:solidFill>
                  <a:latin typeface="Calibri"/>
                  <a:ea typeface="Calibri"/>
                  <a:cs typeface="Calibri"/>
                  <a:sym typeface="Calibri"/>
                </a:rPr>
                <a:t>All data baseline-March 2024 will be </a:t>
              </a:r>
              <a:r>
                <a:rPr lang="en-US" sz="2200" b="1" i="0" u="none" strike="noStrike" cap="none">
                  <a:solidFill>
                    <a:schemeClr val="dk1"/>
                  </a:solidFill>
                  <a:latin typeface="Calibri"/>
                  <a:ea typeface="Calibri"/>
                  <a:cs typeface="Calibri"/>
                  <a:sym typeface="Calibri"/>
                </a:rPr>
                <a:t>due on April </a:t>
              </a:r>
              <a:r>
                <a:rPr lang="en-US" sz="2200" b="1">
                  <a:solidFill>
                    <a:schemeClr val="dk1"/>
                  </a:solidFill>
                  <a:latin typeface="Calibri"/>
                  <a:ea typeface="Calibri"/>
                  <a:cs typeface="Calibri"/>
                  <a:sym typeface="Calibri"/>
                </a:rPr>
                <a:t>30</a:t>
              </a:r>
              <a:r>
                <a:rPr lang="en-US" sz="2200" b="1" i="0" u="none" strike="noStrike" cap="none" dirty="0">
                  <a:solidFill>
                    <a:schemeClr val="dk1"/>
                  </a:solidFill>
                  <a:latin typeface="Calibri"/>
                  <a:ea typeface="Calibri"/>
                  <a:cs typeface="Calibri"/>
                  <a:sym typeface="Calibri"/>
                </a:rPr>
                <a:t>, 2024,</a:t>
              </a:r>
              <a:r>
                <a:rPr lang="en-US" sz="2200" b="0" i="0" u="none" strike="noStrike" cap="none" dirty="0">
                  <a:solidFill>
                    <a:schemeClr val="dk1"/>
                  </a:solidFill>
                  <a:latin typeface="Calibri"/>
                  <a:ea typeface="Calibri"/>
                  <a:cs typeface="Calibri"/>
                  <a:sym typeface="Calibri"/>
                </a:rPr>
                <a:t> for award consideration.</a:t>
              </a:r>
              <a:endParaRPr sz="2200" b="1" i="0" u="none" strike="noStrike" cap="none" dirty="0">
                <a:solidFill>
                  <a:schemeClr val="dk1"/>
                </a:solidFill>
                <a:latin typeface="Calibri"/>
                <a:ea typeface="Calibri"/>
                <a:cs typeface="Calibri"/>
                <a:sym typeface="Calibri"/>
              </a:endParaRPr>
            </a:p>
          </p:txBody>
        </p:sp>
        <p:sp>
          <p:nvSpPr>
            <p:cNvPr id="11963" name="Google Shape;11963;p5"/>
            <p:cNvSpPr/>
            <p:nvPr/>
          </p:nvSpPr>
          <p:spPr>
            <a:xfrm>
              <a:off x="355089" y="64782"/>
              <a:ext cx="4971256" cy="649440"/>
            </a:xfrm>
            <a:prstGeom prst="roundRect">
              <a:avLst>
                <a:gd name="adj" fmla="val 16667"/>
              </a:avLst>
            </a:prstGeom>
            <a:solidFill>
              <a:srgbClr val="F565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5"/>
            <p:cNvSpPr txBox="1"/>
            <p:nvPr/>
          </p:nvSpPr>
          <p:spPr>
            <a:xfrm>
              <a:off x="386792" y="9648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lt1"/>
                </a:buClr>
                <a:buSzPts val="2200"/>
                <a:buFont typeface="Calibri"/>
                <a:buNone/>
              </a:pPr>
              <a:r>
                <a:rPr lang="en-US" sz="2200" dirty="0">
                  <a:solidFill>
                    <a:schemeClr val="lt1"/>
                  </a:solidFill>
                  <a:latin typeface="Calibri"/>
                  <a:ea typeface="Calibri"/>
                  <a:cs typeface="Calibri"/>
                  <a:sym typeface="Calibri"/>
                </a:rPr>
                <a:t> </a:t>
              </a:r>
              <a:r>
                <a:rPr lang="en-US" sz="2200" b="1" dirty="0">
                  <a:solidFill>
                    <a:schemeClr val="accent1"/>
                  </a:solidFill>
                  <a:latin typeface="Calibri"/>
                  <a:ea typeface="Calibri"/>
                  <a:cs typeface="Calibri"/>
                  <a:sym typeface="Calibri"/>
                </a:rPr>
                <a:t>Submit your Data!</a:t>
              </a:r>
              <a:r>
                <a:rPr lang="en-US" sz="2200" b="1" dirty="0">
                  <a:solidFill>
                    <a:schemeClr val="lt1"/>
                  </a:solidFill>
                  <a:latin typeface="Calibri"/>
                  <a:ea typeface="Calibri"/>
                  <a:cs typeface="Calibri"/>
                  <a:sym typeface="Calibri"/>
                </a:rPr>
                <a:t> </a:t>
              </a:r>
              <a:endParaRPr sz="2200" b="1" dirty="0">
                <a:solidFill>
                  <a:schemeClr val="accent1"/>
                </a:solidFill>
                <a:latin typeface="Calibri"/>
                <a:ea typeface="Calibri"/>
                <a:cs typeface="Calibri"/>
                <a:sym typeface="Calibri"/>
              </a:endParaRPr>
            </a:p>
          </p:txBody>
        </p:sp>
        <p:sp>
          <p:nvSpPr>
            <p:cNvPr id="11965" name="Google Shape;11965;p5"/>
            <p:cNvSpPr/>
            <p:nvPr/>
          </p:nvSpPr>
          <p:spPr>
            <a:xfrm>
              <a:off x="0" y="2080422"/>
              <a:ext cx="7101795" cy="1559250"/>
            </a:xfrm>
            <a:prstGeom prst="rect">
              <a:avLst/>
            </a:prstGeom>
            <a:solidFill>
              <a:schemeClr val="lt1">
                <a:alpha val="89803"/>
              </a:schemeClr>
            </a:solidFill>
            <a:ln w="12700" cap="flat" cmpd="sng">
              <a:solidFill>
                <a:srgbClr val="65F5E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6" name="Google Shape;11966;p5"/>
            <p:cNvSpPr txBox="1"/>
            <p:nvPr/>
          </p:nvSpPr>
          <p:spPr>
            <a:xfrm>
              <a:off x="8898" y="2009165"/>
              <a:ext cx="7101795" cy="1559250"/>
            </a:xfrm>
            <a:prstGeom prst="rect">
              <a:avLst/>
            </a:prstGeom>
            <a:noFill/>
            <a:ln>
              <a:noFill/>
            </a:ln>
          </p:spPr>
          <p:txBody>
            <a:bodyPr spcFirstLastPara="1" wrap="square" lIns="551175" tIns="458200" rIns="551175" bIns="156450" anchor="t" anchorCtr="0">
              <a:noAutofit/>
            </a:bodyPr>
            <a:lstStyle/>
            <a:p>
              <a:pPr marL="228600" marR="0" lvl="1" indent="-228600" algn="l" rtl="0">
                <a:lnSpc>
                  <a:spcPct val="90000"/>
                </a:lnSpc>
                <a:spcBef>
                  <a:spcPts val="0"/>
                </a:spcBef>
                <a:spcAft>
                  <a:spcPts val="0"/>
                </a:spcAft>
                <a:buClr>
                  <a:schemeClr val="dk1"/>
                </a:buClr>
                <a:buSzPts val="2200"/>
                <a:buFont typeface="Calibri"/>
                <a:buChar char="•"/>
              </a:pPr>
              <a:r>
                <a:rPr lang="en-US" sz="2200" b="0" i="0" u="none" strike="noStrike" cap="none" dirty="0">
                  <a:solidFill>
                    <a:schemeClr val="dk1"/>
                  </a:solidFill>
                  <a:latin typeface="Calibri"/>
                  <a:ea typeface="Calibri"/>
                  <a:cs typeface="Calibri"/>
                  <a:sym typeface="Calibri"/>
                </a:rPr>
                <a:t> All hospital teams are asked to </a:t>
              </a:r>
              <a:r>
                <a:rPr lang="en-US" sz="2200" dirty="0">
                  <a:solidFill>
                    <a:schemeClr val="dk1"/>
                  </a:solidFill>
                  <a:latin typeface="Calibri"/>
                  <a:ea typeface="Calibri"/>
                  <a:cs typeface="Calibri"/>
                  <a:sym typeface="Calibri"/>
                </a:rPr>
                <a:t>bring a stor</a:t>
              </a:r>
              <a:r>
                <a:rPr lang="en-US" sz="2200" b="0" i="0" u="none" strike="noStrike" cap="none" dirty="0">
                  <a:solidFill>
                    <a:schemeClr val="dk1"/>
                  </a:solidFill>
                  <a:latin typeface="Calibri"/>
                  <a:ea typeface="Calibri"/>
                  <a:cs typeface="Calibri"/>
                  <a:sym typeface="Calibri"/>
                </a:rPr>
                <a:t>yboard </a:t>
              </a:r>
              <a:r>
                <a:rPr lang="en-US" sz="2200" dirty="0">
                  <a:solidFill>
                    <a:schemeClr val="dk1"/>
                  </a:solidFill>
                  <a:latin typeface="Calibri"/>
                  <a:ea typeface="Calibri"/>
                  <a:cs typeface="Calibri"/>
                  <a:sym typeface="Calibri"/>
                </a:rPr>
                <a:t>sharing pics/names of their BE / PVB QI teams, your BE/ PVB</a:t>
              </a:r>
              <a:r>
                <a:rPr lang="en-US" sz="2200" b="0" i="0" u="none" strike="noStrike" cap="none" dirty="0">
                  <a:solidFill>
                    <a:schemeClr val="dk1"/>
                  </a:solidFill>
                  <a:latin typeface="Calibri"/>
                  <a:ea typeface="Calibri"/>
                  <a:cs typeface="Calibri"/>
                  <a:sym typeface="Calibri"/>
                </a:rPr>
                <a:t> QI </a:t>
              </a:r>
              <a:r>
                <a:rPr lang="en-US" sz="2200" dirty="0">
                  <a:solidFill>
                    <a:schemeClr val="dk1"/>
                  </a:solidFill>
                  <a:latin typeface="Calibri"/>
                  <a:ea typeface="Calibri"/>
                  <a:cs typeface="Calibri"/>
                  <a:sym typeface="Calibri"/>
                </a:rPr>
                <a:t>progress including data want to share and 30/60/90 plans for next few months!</a:t>
              </a:r>
              <a:endParaRPr sz="2200" b="0" i="0" u="none" strike="noStrike" cap="none" dirty="0">
                <a:solidFill>
                  <a:schemeClr val="dk1"/>
                </a:solidFill>
                <a:latin typeface="Calibri"/>
                <a:ea typeface="Calibri"/>
                <a:cs typeface="Calibri"/>
                <a:sym typeface="Calibri"/>
              </a:endParaRPr>
            </a:p>
          </p:txBody>
        </p:sp>
        <p:sp>
          <p:nvSpPr>
            <p:cNvPr id="11967" name="Google Shape;11967;p5"/>
            <p:cNvSpPr/>
            <p:nvPr/>
          </p:nvSpPr>
          <p:spPr>
            <a:xfrm>
              <a:off x="355089" y="1755702"/>
              <a:ext cx="4971256" cy="649440"/>
            </a:xfrm>
            <a:prstGeom prst="roundRect">
              <a:avLst>
                <a:gd name="adj" fmla="val 16667"/>
              </a:avLst>
            </a:prstGeom>
            <a:solidFill>
              <a:srgbClr val="65F5EE"/>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5"/>
            <p:cNvSpPr txBox="1"/>
            <p:nvPr/>
          </p:nvSpPr>
          <p:spPr>
            <a:xfrm>
              <a:off x="386792" y="1787405"/>
              <a:ext cx="5027524"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dirty="0">
                  <a:solidFill>
                    <a:schemeClr val="accent1"/>
                  </a:solidFill>
                  <a:latin typeface="Calibri"/>
                  <a:ea typeface="Calibri"/>
                  <a:cs typeface="Calibri"/>
                  <a:sym typeface="Calibri"/>
                </a:rPr>
                <a:t>Call for Storyboards! </a:t>
              </a:r>
            </a:p>
            <a:p>
              <a:pPr marL="0" marR="0" lvl="0" indent="0" algn="l" rtl="0">
                <a:lnSpc>
                  <a:spcPct val="90000"/>
                </a:lnSpc>
                <a:spcBef>
                  <a:spcPts val="0"/>
                </a:spcBef>
                <a:spcAft>
                  <a:spcPts val="0"/>
                </a:spcAft>
                <a:buClr>
                  <a:schemeClr val="accent1"/>
                </a:buClr>
                <a:buSzPts val="2200"/>
                <a:buFont typeface="Calibri"/>
                <a:buNone/>
              </a:pPr>
              <a:r>
                <a:rPr lang="en-US" sz="2200" b="1" dirty="0">
                  <a:solidFill>
                    <a:schemeClr val="accent1"/>
                  </a:solidFill>
                  <a:latin typeface="Calibri"/>
                  <a:ea typeface="Calibri"/>
                  <a:cs typeface="Calibri"/>
                  <a:sym typeface="Calibri"/>
                </a:rPr>
                <a:t>Share your QI story</a:t>
              </a:r>
              <a:endParaRPr sz="2200" b="1" dirty="0">
                <a:solidFill>
                  <a:schemeClr val="accent1"/>
                </a:solidFill>
                <a:latin typeface="Calibri"/>
                <a:ea typeface="Calibri"/>
                <a:cs typeface="Calibri"/>
                <a:sym typeface="Calibri"/>
              </a:endParaRPr>
            </a:p>
          </p:txBody>
        </p:sp>
        <p:sp>
          <p:nvSpPr>
            <p:cNvPr id="11969" name="Google Shape;11969;p5"/>
            <p:cNvSpPr/>
            <p:nvPr/>
          </p:nvSpPr>
          <p:spPr>
            <a:xfrm>
              <a:off x="0" y="4083192"/>
              <a:ext cx="7101795" cy="1905750"/>
            </a:xfrm>
            <a:prstGeom prst="rect">
              <a:avLst/>
            </a:prstGeom>
            <a:solidFill>
              <a:schemeClr val="lt1">
                <a:alpha val="89803"/>
              </a:schemeClr>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5"/>
            <p:cNvSpPr txBox="1"/>
            <p:nvPr/>
          </p:nvSpPr>
          <p:spPr>
            <a:xfrm>
              <a:off x="0" y="4083192"/>
              <a:ext cx="7049841" cy="1897091"/>
            </a:xfrm>
            <a:prstGeom prst="rect">
              <a:avLst/>
            </a:prstGeom>
            <a:noFill/>
            <a:ln>
              <a:noFill/>
            </a:ln>
          </p:spPr>
          <p:txBody>
            <a:bodyPr spcFirstLastPara="1" wrap="square" lIns="551175" tIns="458200" rIns="551175" bIns="156450" anchor="t" anchorCtr="0">
              <a:noAutofit/>
            </a:bodyPr>
            <a:lstStyle/>
            <a:p>
              <a:pPr marL="228600" lvl="1" indent="-228600">
                <a:lnSpc>
                  <a:spcPct val="90000"/>
                </a:lnSpc>
                <a:buClr>
                  <a:schemeClr val="dk1"/>
                </a:buClr>
                <a:buSzPts val="2200"/>
                <a:buFont typeface="Calibri"/>
                <a:buChar char="•"/>
              </a:pPr>
              <a:r>
                <a:rPr lang="en-US" sz="2000" b="0" i="0" u="none" strike="noStrike" cap="none" dirty="0">
                  <a:solidFill>
                    <a:schemeClr val="dk1"/>
                  </a:solidFill>
                  <a:latin typeface="Calibri"/>
                  <a:ea typeface="Calibri"/>
                  <a:cs typeface="Calibri"/>
                  <a:sym typeface="Calibri"/>
                </a:rPr>
                <a:t>Early Bird Registration: March 11</a:t>
              </a:r>
              <a:r>
                <a:rPr lang="en-US" sz="2000" b="0" i="0" u="none" strike="noStrike" cap="none" baseline="30000" dirty="0">
                  <a:solidFill>
                    <a:schemeClr val="dk1"/>
                  </a:solidFill>
                  <a:latin typeface="Calibri"/>
                  <a:ea typeface="Calibri"/>
                  <a:cs typeface="Calibri"/>
                  <a:sym typeface="Calibri"/>
                </a:rPr>
                <a:t>th</a:t>
              </a:r>
              <a:r>
                <a:rPr lang="en-US" sz="2000" b="0" i="0" u="none" strike="noStrike" cap="none" dirty="0">
                  <a:solidFill>
                    <a:schemeClr val="dk1"/>
                  </a:solidFill>
                  <a:latin typeface="Calibri"/>
                  <a:ea typeface="Calibri"/>
                  <a:cs typeface="Calibri"/>
                  <a:sym typeface="Calibri"/>
                </a:rPr>
                <a:t> – April 8</a:t>
              </a:r>
              <a:r>
                <a:rPr lang="en-US" sz="2000" b="0" i="0" u="none" strike="noStrike" cap="none" baseline="30000" dirty="0">
                  <a:solidFill>
                    <a:schemeClr val="dk1"/>
                  </a:solidFill>
                  <a:latin typeface="Calibri"/>
                  <a:ea typeface="Calibri"/>
                  <a:cs typeface="Calibri"/>
                  <a:sym typeface="Calibri"/>
                </a:rPr>
                <a:t>th</a:t>
              </a:r>
              <a:r>
                <a:rPr lang="en-US" sz="2000" dirty="0">
                  <a:solidFill>
                    <a:schemeClr val="dk1"/>
                  </a:solidFill>
                  <a:latin typeface="Calibri"/>
                  <a:ea typeface="Calibri"/>
                  <a:cs typeface="Calibri"/>
                  <a:sym typeface="Calibri"/>
                </a:rPr>
                <a:t> </a:t>
              </a:r>
              <a:endParaRPr lang="en-US" sz="2000" b="0" i="0" u="none" strike="noStrike" cap="none" baseline="30000" dirty="0">
                <a:solidFill>
                  <a:schemeClr val="dk1"/>
                </a:solidFill>
                <a:latin typeface="Calibri"/>
                <a:ea typeface="Calibri"/>
                <a:cs typeface="Calibri"/>
              </a:endParaRPr>
            </a:p>
            <a:p>
              <a:pPr lvl="3">
                <a:lnSpc>
                  <a:spcPct val="90000"/>
                </a:lnSpc>
                <a:buClr>
                  <a:schemeClr val="dk1"/>
                </a:buClr>
                <a:buSzPts val="2200"/>
              </a:pPr>
              <a:r>
                <a:rPr lang="en-US" sz="2000" b="1" dirty="0">
                  <a:solidFill>
                    <a:schemeClr val="dk1"/>
                  </a:solidFill>
                  <a:latin typeface="Calibri"/>
                  <a:ea typeface="Calibri"/>
                  <a:cs typeface="Calibri"/>
                  <a:sym typeface="Calibri"/>
                </a:rPr>
                <a:t>$75/day or $145/both days</a:t>
              </a:r>
              <a:endParaRPr lang="en-US" sz="2000" b="1" i="0" u="none" strike="noStrike" cap="none" dirty="0">
                <a:solidFill>
                  <a:schemeClr val="dk1"/>
                </a:solidFill>
                <a:latin typeface="Calibri"/>
                <a:ea typeface="Calibri"/>
                <a:cs typeface="Calibri"/>
              </a:endParaRPr>
            </a:p>
            <a:p>
              <a:pPr marL="228600" lvl="1" indent="-228600">
                <a:lnSpc>
                  <a:spcPct val="90000"/>
                </a:lnSpc>
                <a:buClr>
                  <a:schemeClr val="dk1"/>
                </a:buClr>
                <a:buSzPts val="2200"/>
                <a:buFont typeface="Calibri"/>
                <a:buChar char="•"/>
              </a:pPr>
              <a:r>
                <a:rPr lang="en-US" sz="2000" dirty="0">
                  <a:solidFill>
                    <a:schemeClr val="dk1"/>
                  </a:solidFill>
                  <a:latin typeface="Calibri"/>
                  <a:ea typeface="Calibri"/>
                  <a:cs typeface="Calibri"/>
                  <a:sym typeface="Calibri"/>
                </a:rPr>
                <a:t>Regular Registration: April 9</a:t>
              </a:r>
              <a:r>
                <a:rPr lang="en-US" sz="2000" baseline="30000" dirty="0">
                  <a:solidFill>
                    <a:schemeClr val="dk1"/>
                  </a:solidFill>
                  <a:latin typeface="Calibri"/>
                  <a:ea typeface="Calibri"/>
                  <a:cs typeface="Calibri"/>
                  <a:sym typeface="Calibri"/>
                </a:rPr>
                <a:t>th</a:t>
              </a:r>
              <a:r>
                <a:rPr lang="en-US" sz="2000" dirty="0">
                  <a:solidFill>
                    <a:schemeClr val="dk1"/>
                  </a:solidFill>
                  <a:latin typeface="Calibri"/>
                  <a:ea typeface="Calibri"/>
                  <a:cs typeface="Calibri"/>
                  <a:sym typeface="Calibri"/>
                </a:rPr>
                <a:t> – April 26</a:t>
              </a:r>
              <a:r>
                <a:rPr lang="en-US" sz="2000" baseline="30000" dirty="0">
                  <a:solidFill>
                    <a:schemeClr val="dk1"/>
                  </a:solidFill>
                  <a:latin typeface="Calibri"/>
                  <a:ea typeface="Calibri"/>
                  <a:cs typeface="Calibri"/>
                  <a:sym typeface="Calibri"/>
                </a:rPr>
                <a:t>th</a:t>
              </a:r>
              <a:r>
                <a:rPr lang="en-US" sz="2000" dirty="0">
                  <a:solidFill>
                    <a:schemeClr val="dk1"/>
                  </a:solidFill>
                  <a:latin typeface="Calibri"/>
                  <a:ea typeface="Calibri"/>
                  <a:cs typeface="Calibri"/>
                  <a:sym typeface="Calibri"/>
                </a:rPr>
                <a:t>   </a:t>
              </a:r>
              <a:endParaRPr lang="en-US" sz="2000" b="0" i="0" u="none" strike="noStrike" cap="none" dirty="0">
                <a:solidFill>
                  <a:schemeClr val="dk1"/>
                </a:solidFill>
                <a:latin typeface="Calibri" panose="020F0502020204030204" pitchFamily="34" charset="0"/>
                <a:ea typeface="Calibri"/>
                <a:cs typeface="Calibri" panose="020F0502020204030204" pitchFamily="34" charset="0"/>
              </a:endParaRPr>
            </a:p>
            <a:p>
              <a:pPr lvl="2">
                <a:lnSpc>
                  <a:spcPct val="90000"/>
                </a:lnSpc>
                <a:buClr>
                  <a:schemeClr val="dk1"/>
                </a:buClr>
                <a:buSzPts val="2200"/>
              </a:pPr>
              <a:r>
                <a:rPr lang="en-US" sz="2000" b="1" dirty="0">
                  <a:latin typeface="Calibri"/>
                  <a:cs typeface="Calibri"/>
                </a:rPr>
                <a:t>$100/day or $200/both days</a:t>
              </a:r>
              <a:endParaRPr sz="2000" b="1">
                <a:latin typeface="Calibri"/>
                <a:cs typeface="Calibri"/>
              </a:endParaRPr>
            </a:p>
          </p:txBody>
        </p:sp>
        <p:sp>
          <p:nvSpPr>
            <p:cNvPr id="11971" name="Google Shape;11971;p5"/>
            <p:cNvSpPr/>
            <p:nvPr/>
          </p:nvSpPr>
          <p:spPr>
            <a:xfrm>
              <a:off x="355089" y="3758472"/>
              <a:ext cx="4971256" cy="649440"/>
            </a:xfrm>
            <a:prstGeom prst="roundRect">
              <a:avLst>
                <a:gd name="adj" fmla="val 16667"/>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5"/>
            <p:cNvSpPr txBox="1"/>
            <p:nvPr/>
          </p:nvSpPr>
          <p:spPr>
            <a:xfrm>
              <a:off x="386792" y="379017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u="none" dirty="0">
                  <a:solidFill>
                    <a:schemeClr val="accent1"/>
                  </a:solidFill>
                  <a:latin typeface="Calibri"/>
                  <a:ea typeface="Calibri"/>
                  <a:cs typeface="Calibri"/>
                  <a:sym typeface="Calibri"/>
                </a:rPr>
                <a:t>Register for F2F 2024! </a:t>
              </a:r>
              <a:endParaRPr dirty="0"/>
            </a:p>
          </p:txBody>
        </p:sp>
      </p:grpSp>
      <p:sp>
        <p:nvSpPr>
          <p:cNvPr id="11973" name="Google Shape;11973;p5"/>
          <p:cNvSpPr/>
          <p:nvPr/>
        </p:nvSpPr>
        <p:spPr>
          <a:xfrm>
            <a:off x="184777" y="4670353"/>
            <a:ext cx="3925017" cy="1653396"/>
          </a:xfrm>
          <a:prstGeom prst="roundRect">
            <a:avLst>
              <a:gd name="adj" fmla="val 16667"/>
            </a:avLst>
          </a:prstGeom>
          <a:solidFill>
            <a:schemeClr val="lt1"/>
          </a:solidFill>
          <a:ln w="1270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200" b="1" dirty="0">
                <a:solidFill>
                  <a:schemeClr val="dk1"/>
                </a:solidFill>
                <a:latin typeface="Calibri"/>
                <a:ea typeface="Calibri"/>
                <a:cs typeface="Calibri"/>
                <a:sym typeface="Calibri"/>
              </a:rPr>
              <a:t>Data Due: </a:t>
            </a:r>
            <a:endParaRPr sz="2000" dirty="0"/>
          </a:p>
          <a:p>
            <a:pPr marL="0" marR="0" lvl="0" indent="0" algn="ctr" rtl="0">
              <a:spcBef>
                <a:spcPts val="0"/>
              </a:spcBef>
              <a:spcAft>
                <a:spcPts val="0"/>
              </a:spcAft>
              <a:buNone/>
            </a:pPr>
            <a:r>
              <a:rPr lang="en-US" sz="3200" b="1" dirty="0">
                <a:solidFill>
                  <a:schemeClr val="dk1"/>
                </a:solidFill>
                <a:latin typeface="Calibri"/>
                <a:ea typeface="Calibri"/>
                <a:cs typeface="Calibri"/>
                <a:sym typeface="Calibri"/>
              </a:rPr>
              <a:t>Tuesday April 30</a:t>
            </a:r>
            <a:r>
              <a:rPr lang="en-US" sz="3200" b="1" baseline="30000" dirty="0">
                <a:solidFill>
                  <a:schemeClr val="dk1"/>
                </a:solidFill>
                <a:latin typeface="Calibri"/>
                <a:ea typeface="Calibri"/>
                <a:cs typeface="Calibri"/>
                <a:sym typeface="Calibri"/>
              </a:rPr>
              <a:t>th</a:t>
            </a:r>
            <a:r>
              <a:rPr lang="en-US" sz="3200" b="1" dirty="0">
                <a:solidFill>
                  <a:schemeClr val="dk1"/>
                </a:solidFill>
                <a:latin typeface="Calibri"/>
                <a:ea typeface="Calibri"/>
                <a:cs typeface="Calibri"/>
                <a:sym typeface="Calibri"/>
              </a:rPr>
              <a:t>, 2024</a:t>
            </a:r>
            <a:endParaRPr sz="2000" dirty="0">
              <a:solidFill>
                <a:schemeClr val="dk1"/>
              </a:solidFill>
            </a:endParaRPr>
          </a:p>
        </p:txBody>
      </p:sp>
      <p:pic>
        <p:nvPicPr>
          <p:cNvPr id="2" name="Picture 1" descr="A qr code with text&#10;&#10;Description automatically generated">
            <a:extLst>
              <a:ext uri="{FF2B5EF4-FFF2-40B4-BE49-F238E27FC236}">
                <a16:creationId xmlns:a16="http://schemas.microsoft.com/office/drawing/2014/main" id="{F3D724F6-6F8E-69BE-F733-C68DB4BF1D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9843" y="4307032"/>
            <a:ext cx="1944906" cy="2408960"/>
          </a:xfrm>
          <a:prstGeom prst="rect">
            <a:avLst/>
          </a:prstGeom>
        </p:spPr>
      </p:pic>
      <p:sp>
        <p:nvSpPr>
          <p:cNvPr id="3" name="Rectangle 2">
            <a:extLst>
              <a:ext uri="{FF2B5EF4-FFF2-40B4-BE49-F238E27FC236}">
                <a16:creationId xmlns:a16="http://schemas.microsoft.com/office/drawing/2014/main" id="{48513C2F-0AF2-45DD-A53C-836D4A8E826F}"/>
              </a:ext>
            </a:extLst>
          </p:cNvPr>
          <p:cNvSpPr/>
          <p:nvPr/>
        </p:nvSpPr>
        <p:spPr>
          <a:xfrm>
            <a:off x="7152640" y="3596640"/>
            <a:ext cx="45719"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EF817-FCE3-A0D6-1615-60596BD6580E}"/>
              </a:ext>
            </a:extLst>
          </p:cNvPr>
          <p:cNvSpPr>
            <a:spLocks noGrp="1"/>
          </p:cNvSpPr>
          <p:nvPr>
            <p:ph type="title"/>
          </p:nvPr>
        </p:nvSpPr>
        <p:spPr/>
        <p:txBody>
          <a:bodyPr/>
          <a:lstStyle/>
          <a:p>
            <a:r>
              <a:rPr lang="en-US" dirty="0"/>
              <a:t>IPHI CLS/C Survey</a:t>
            </a:r>
          </a:p>
        </p:txBody>
      </p:sp>
      <p:sp>
        <p:nvSpPr>
          <p:cNvPr id="3" name="Text Placeholder 2">
            <a:extLst>
              <a:ext uri="{FF2B5EF4-FFF2-40B4-BE49-F238E27FC236}">
                <a16:creationId xmlns:a16="http://schemas.microsoft.com/office/drawing/2014/main" id="{4E5852C1-B6EB-611B-C3F2-ED3F456FAE1B}"/>
              </a:ext>
            </a:extLst>
          </p:cNvPr>
          <p:cNvSpPr>
            <a:spLocks noGrp="1"/>
          </p:cNvSpPr>
          <p:nvPr>
            <p:ph type="body" idx="1"/>
          </p:nvPr>
        </p:nvSpPr>
        <p:spPr/>
        <p:txBody>
          <a:bodyPr/>
          <a:lstStyle/>
          <a:p>
            <a:r>
              <a:rPr lang="en-US" b="1" dirty="0">
                <a:solidFill>
                  <a:srgbClr val="424242"/>
                </a:solidFill>
              </a:rPr>
              <a:t>NEW! Survey for Certified Lactation Specialists and Counselors (CLS/Cs)</a:t>
            </a:r>
            <a:r>
              <a:rPr lang="en-US" dirty="0">
                <a:solidFill>
                  <a:srgbClr val="424242"/>
                </a:solidFill>
                <a:latin typeface="Segoe UI"/>
                <a:cs typeface="Segoe UI"/>
              </a:rPr>
              <a:t>: The Illinois Public Health Institute (IPHI), non-profit organization in Illinois focused on improving lactation support and equity, is surveying CLS/Cs across Illinois to learn about gaps and consider opportunities for promoting a diverse lactation support professional network in Illinois.</a:t>
            </a:r>
            <a:endParaRPr lang="en-US" sz="5400"/>
          </a:p>
          <a:p>
            <a:pPr lvl="1">
              <a:buClr>
                <a:srgbClr val="1C498B"/>
              </a:buClr>
              <a:buFont typeface="Courier New"/>
              <a:buChar char="o"/>
            </a:pPr>
            <a:r>
              <a:rPr lang="en-US" dirty="0">
                <a:solidFill>
                  <a:srgbClr val="424242"/>
                </a:solidFill>
                <a:latin typeface="Segoe UI"/>
                <a:cs typeface="Segoe UI"/>
              </a:rPr>
              <a:t>Your responses will help IPHI better understand where CLS/C providers are across the state, the demographic composition of our state’s CLS/C provider workforce, who you’re serving, if you have opportunities for professional advancement within your organizations and gaps in access to services across the state.</a:t>
            </a:r>
            <a:endParaRPr lang="en-US"/>
          </a:p>
          <a:p>
            <a:pPr lvl="1">
              <a:buClr>
                <a:srgbClr val="1C498B"/>
              </a:buClr>
              <a:buFont typeface="Courier New"/>
              <a:buChar char="o"/>
            </a:pPr>
            <a:r>
              <a:rPr lang="en-US" b="1" dirty="0">
                <a:solidFill>
                  <a:srgbClr val="424242"/>
                </a:solidFill>
              </a:rPr>
              <a:t>Take the survey </a:t>
            </a:r>
            <a:r>
              <a:rPr lang="en-US" dirty="0">
                <a:solidFill>
                  <a:srgbClr val="424242"/>
                </a:solidFill>
                <a:hlinkClick r:id="rId2"/>
              </a:rPr>
              <a:t>HERE</a:t>
            </a:r>
            <a:r>
              <a:rPr lang="en-US" b="1" dirty="0">
                <a:solidFill>
                  <a:srgbClr val="424242"/>
                </a:solidFill>
              </a:rPr>
              <a:t> and</a:t>
            </a:r>
            <a:r>
              <a:rPr lang="en-US" dirty="0">
                <a:solidFill>
                  <a:srgbClr val="424242"/>
                </a:solidFill>
                <a:latin typeface="Segoe UI"/>
                <a:cs typeface="Segoe UI"/>
              </a:rPr>
              <a:t> </a:t>
            </a:r>
            <a:r>
              <a:rPr lang="en-US" b="1" dirty="0">
                <a:solidFill>
                  <a:srgbClr val="424242"/>
                </a:solidFill>
              </a:rPr>
              <a:t>please submit your response by May 31st, 2024</a:t>
            </a:r>
            <a:r>
              <a:rPr lang="en-US" dirty="0">
                <a:solidFill>
                  <a:srgbClr val="424242"/>
                </a:solidFill>
                <a:latin typeface="Segoe UI"/>
                <a:cs typeface="Segoe UI"/>
              </a:rPr>
              <a:t>. IPHI is hoping to get as close to 100% participation by CLS/Cs across the state, so please spread the word!</a:t>
            </a:r>
            <a:endParaRPr lang="en-US"/>
          </a:p>
          <a:p>
            <a:endParaRPr lang="en-US" sz="1100" b="1" dirty="0">
              <a:solidFill>
                <a:srgbClr val="000000"/>
              </a:solidFill>
            </a:endParaRPr>
          </a:p>
          <a:p>
            <a:endParaRPr lang="en-US" dirty="0"/>
          </a:p>
        </p:txBody>
      </p:sp>
      <p:sp>
        <p:nvSpPr>
          <p:cNvPr id="4" name="Slide Number Placeholder 3">
            <a:extLst>
              <a:ext uri="{FF2B5EF4-FFF2-40B4-BE49-F238E27FC236}">
                <a16:creationId xmlns:a16="http://schemas.microsoft.com/office/drawing/2014/main" id="{C923C717-36D9-8ECD-50E7-03A3B6D2C47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60</a:t>
            </a:fld>
            <a:endParaRPr lang="en-US"/>
          </a:p>
        </p:txBody>
      </p:sp>
    </p:spTree>
    <p:extLst>
      <p:ext uri="{BB962C8B-B14F-4D97-AF65-F5344CB8AC3E}">
        <p14:creationId xmlns:p14="http://schemas.microsoft.com/office/powerpoint/2010/main" val="39768036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3BB77-3DA4-B7F6-E378-479ED67EFFA1}"/>
              </a:ext>
            </a:extLst>
          </p:cNvPr>
          <p:cNvSpPr>
            <a:spLocks noGrp="1"/>
          </p:cNvSpPr>
          <p:nvPr>
            <p:ph type="title"/>
          </p:nvPr>
        </p:nvSpPr>
        <p:spPr>
          <a:xfrm>
            <a:off x="609600" y="217921"/>
            <a:ext cx="10972800" cy="1325563"/>
          </a:xfrm>
        </p:spPr>
        <p:txBody>
          <a:bodyPr/>
          <a:lstStyle/>
          <a:p>
            <a:r>
              <a:rPr lang="en-US" dirty="0"/>
              <a:t>CDC 2024 </a:t>
            </a:r>
            <a:r>
              <a:rPr lang="en-US" dirty="0" err="1"/>
              <a:t>mPINC</a:t>
            </a:r>
            <a:r>
              <a:rPr lang="en-US" dirty="0"/>
              <a:t> National Survey</a:t>
            </a:r>
          </a:p>
        </p:txBody>
      </p:sp>
      <p:sp>
        <p:nvSpPr>
          <p:cNvPr id="3" name="Text Placeholder 2">
            <a:extLst>
              <a:ext uri="{FF2B5EF4-FFF2-40B4-BE49-F238E27FC236}">
                <a16:creationId xmlns:a16="http://schemas.microsoft.com/office/drawing/2014/main" id="{08182785-89F5-CFDC-B0BF-C177961CD4CD}"/>
              </a:ext>
            </a:extLst>
          </p:cNvPr>
          <p:cNvSpPr>
            <a:spLocks noGrp="1"/>
          </p:cNvSpPr>
          <p:nvPr>
            <p:ph type="body" idx="1"/>
          </p:nvPr>
        </p:nvSpPr>
        <p:spPr>
          <a:xfrm>
            <a:off x="349828" y="1487921"/>
            <a:ext cx="11760776" cy="4758315"/>
          </a:xfrm>
        </p:spPr>
        <p:txBody>
          <a:bodyPr/>
          <a:lstStyle/>
          <a:p>
            <a:r>
              <a:rPr lang="en-US" sz="1800" b="1" dirty="0">
                <a:solidFill>
                  <a:srgbClr val="424242"/>
                </a:solidFill>
              </a:rPr>
              <a:t>CDC’s 2024 </a:t>
            </a:r>
            <a:r>
              <a:rPr lang="en-US" sz="1800" b="1" dirty="0">
                <a:solidFill>
                  <a:srgbClr val="000000"/>
                </a:solidFill>
              </a:rPr>
              <a:t>national survey of Maternity Practices in Infant Nutrition and Care (</a:t>
            </a:r>
            <a:r>
              <a:rPr lang="en-US" sz="1800" b="1" dirty="0" err="1">
                <a:solidFill>
                  <a:srgbClr val="000000"/>
                </a:solidFill>
              </a:rPr>
              <a:t>mPINC</a:t>
            </a:r>
            <a:r>
              <a:rPr lang="en-US" sz="1800" b="1" dirty="0">
                <a:solidFill>
                  <a:srgbClr val="000000"/>
                </a:solidFill>
              </a:rPr>
              <a:t>) </a:t>
            </a:r>
            <a:r>
              <a:rPr lang="en-US" sz="1800" b="1" dirty="0">
                <a:solidFill>
                  <a:srgbClr val="424242"/>
                </a:solidFill>
              </a:rPr>
              <a:t>has launched! </a:t>
            </a:r>
            <a:r>
              <a:rPr lang="en-US" sz="1800" b="1" dirty="0">
                <a:solidFill>
                  <a:srgbClr val="424242"/>
                </a:solidFill>
                <a:hlinkClick r:id="rId2"/>
              </a:rPr>
              <a:t>LINKED HERE</a:t>
            </a:r>
            <a:endParaRPr lang="en-US" sz="1800" b="1" dirty="0">
              <a:solidFill>
                <a:srgbClr val="424242"/>
              </a:solidFill>
            </a:endParaRPr>
          </a:p>
          <a:p>
            <a:pPr lvl="1">
              <a:buClr>
                <a:srgbClr val="1C498B"/>
              </a:buClr>
              <a:buFont typeface="Courier New"/>
              <a:buChar char="o"/>
            </a:pPr>
            <a:r>
              <a:rPr lang="en-US" sz="1400" dirty="0">
                <a:solidFill>
                  <a:srgbClr val="000000"/>
                </a:solidFill>
              </a:rPr>
              <a:t>CDC’s </a:t>
            </a:r>
            <a:r>
              <a:rPr lang="en-US" sz="1400" dirty="0" err="1">
                <a:solidFill>
                  <a:srgbClr val="000000"/>
                </a:solidFill>
              </a:rPr>
              <a:t>mPINC</a:t>
            </a:r>
            <a:r>
              <a:rPr lang="en-US" sz="1400" dirty="0">
                <a:solidFill>
                  <a:srgbClr val="000000"/>
                </a:solidFill>
              </a:rPr>
              <a:t> survey assesses maternity care practices and provides feedback to encourage hospitals to make improvements that better support breastfeeding families. About every 2 years, CDC invites all eligible hospitals across US states and territories to complete the </a:t>
            </a:r>
            <a:r>
              <a:rPr lang="en-US" sz="1400" err="1">
                <a:solidFill>
                  <a:srgbClr val="000000"/>
                </a:solidFill>
              </a:rPr>
              <a:t>mPINC</a:t>
            </a:r>
            <a:r>
              <a:rPr lang="en-US" sz="1400" dirty="0">
                <a:solidFill>
                  <a:srgbClr val="000000"/>
                </a:solidFill>
              </a:rPr>
              <a:t> survey. The questions focus on specific parts of maternity care that affect how babies are fed.</a:t>
            </a:r>
            <a:endParaRPr lang="en-US" sz="1400"/>
          </a:p>
          <a:p>
            <a:pPr lvl="1">
              <a:buClr>
                <a:srgbClr val="1C498B"/>
              </a:buClr>
              <a:buFont typeface="Courier New"/>
              <a:buChar char="o"/>
            </a:pPr>
            <a:r>
              <a:rPr lang="en-US" sz="1400" dirty="0">
                <a:solidFill>
                  <a:srgbClr val="000000"/>
                </a:solidFill>
              </a:rPr>
              <a:t>CDC sends participating hospitals a confidential, individualized report with a summary of their survey results. Hospitals can use their results to celebrate strengths and identify areas for improvement in the practices and policies that affect infant feeding.</a:t>
            </a:r>
            <a:endParaRPr lang="en-US" sz="1400"/>
          </a:p>
          <a:p>
            <a:r>
              <a:rPr lang="en-US" sz="1800" b="1" u="sng" dirty="0">
                <a:solidFill>
                  <a:srgbClr val="424242"/>
                </a:solidFill>
              </a:rPr>
              <a:t>How can hospitals benefit from </a:t>
            </a:r>
            <a:r>
              <a:rPr lang="en-US" sz="1800" b="1" u="sng" err="1">
                <a:solidFill>
                  <a:srgbClr val="424242"/>
                </a:solidFill>
              </a:rPr>
              <a:t>mPINC</a:t>
            </a:r>
            <a:r>
              <a:rPr lang="en-US" sz="1800" b="1" u="sng">
                <a:solidFill>
                  <a:srgbClr val="424242"/>
                </a:solidFill>
              </a:rPr>
              <a:t> participation? </a:t>
            </a:r>
            <a:r>
              <a:rPr lang="en-US" sz="1800">
                <a:solidFill>
                  <a:srgbClr val="424242"/>
                </a:solidFill>
              </a:rPr>
              <a:t>Use your hospital’s </a:t>
            </a:r>
            <a:r>
              <a:rPr lang="en-US" sz="1800" err="1">
                <a:solidFill>
                  <a:srgbClr val="424242"/>
                </a:solidFill>
              </a:rPr>
              <a:t>mPINC</a:t>
            </a:r>
            <a:r>
              <a:rPr lang="en-US" sz="1800" dirty="0">
                <a:solidFill>
                  <a:srgbClr val="424242"/>
                </a:solidFill>
              </a:rPr>
              <a:t> report for:</a:t>
            </a:r>
            <a:endParaRPr lang="en-US" sz="1800"/>
          </a:p>
          <a:p>
            <a:pPr lvl="1">
              <a:buClr>
                <a:srgbClr val="1C498B"/>
              </a:buClr>
              <a:buFont typeface="Courier New"/>
              <a:buChar char="o"/>
            </a:pPr>
            <a:r>
              <a:rPr lang="en-US" sz="1100" u="sng" dirty="0">
                <a:solidFill>
                  <a:srgbClr val="424242"/>
                </a:solidFill>
              </a:rPr>
              <a:t>Quality improvement</a:t>
            </a:r>
            <a:endParaRPr lang="en-US" sz="1100"/>
          </a:p>
          <a:p>
            <a:pPr lvl="2">
              <a:buClr>
                <a:srgbClr val="F5668F"/>
              </a:buClr>
              <a:buFont typeface="Wingdings"/>
              <a:buChar char="§"/>
            </a:pPr>
            <a:r>
              <a:rPr lang="en-US" sz="1100" dirty="0">
                <a:solidFill>
                  <a:srgbClr val="424242"/>
                </a:solidFill>
              </a:rPr>
              <a:t>Help assess your hospital’s implementation of each of the Ten Steps to Successful Breastfeeding (Ten Steps) using</a:t>
            </a:r>
            <a:r>
              <a:rPr lang="en-US" sz="1100" dirty="0">
                <a:solidFill>
                  <a:srgbClr val="424242"/>
                </a:solidFill>
                <a:hlinkClick r:id="rId3"/>
              </a:rPr>
              <a:t> CDC’s mPINC 10 Steps Assessment Tool.</a:t>
            </a:r>
            <a:endParaRPr lang="en-US" sz="1100"/>
          </a:p>
          <a:p>
            <a:pPr lvl="2">
              <a:buClr>
                <a:srgbClr val="F5668F"/>
              </a:buClr>
              <a:buFont typeface="Wingdings"/>
              <a:buChar char="§"/>
            </a:pPr>
            <a:r>
              <a:rPr lang="en-US" sz="1100" dirty="0">
                <a:solidFill>
                  <a:srgbClr val="424242"/>
                </a:solidFill>
              </a:rPr>
              <a:t>Review </a:t>
            </a:r>
            <a:r>
              <a:rPr lang="en-US" sz="1100" err="1">
                <a:solidFill>
                  <a:srgbClr val="424242"/>
                </a:solidFill>
              </a:rPr>
              <a:t>mPINC</a:t>
            </a:r>
            <a:r>
              <a:rPr lang="en-US" sz="1100" dirty="0">
                <a:solidFill>
                  <a:srgbClr val="424242"/>
                </a:solidFill>
              </a:rPr>
              <a:t> </a:t>
            </a:r>
            <a:r>
              <a:rPr lang="en-US" sz="1100" err="1">
                <a:solidFill>
                  <a:srgbClr val="424242"/>
                </a:solidFill>
              </a:rPr>
              <a:t>subscores</a:t>
            </a:r>
            <a:r>
              <a:rPr lang="en-US" sz="1100" dirty="0">
                <a:solidFill>
                  <a:srgbClr val="424242"/>
                </a:solidFill>
              </a:rPr>
              <a:t> and/or questions to help determine </a:t>
            </a:r>
            <a:r>
              <a:rPr lang="en-US" sz="1100" dirty="0">
                <a:solidFill>
                  <a:srgbClr val="424242"/>
                </a:solidFill>
                <a:hlinkClick r:id="rId4"/>
              </a:rPr>
              <a:t>standards of care</a:t>
            </a:r>
            <a:r>
              <a:rPr lang="en-US" sz="1100" dirty="0">
                <a:solidFill>
                  <a:srgbClr val="424242"/>
                </a:solidFill>
              </a:rPr>
              <a:t> </a:t>
            </a:r>
            <a:r>
              <a:rPr lang="en-US" sz="1100">
                <a:solidFill>
                  <a:srgbClr val="424242"/>
                </a:solidFill>
              </a:rPr>
              <a:t>that can be improved or implemented in your hospital.</a:t>
            </a:r>
            <a:endParaRPr lang="en-US" sz="1100"/>
          </a:p>
          <a:p>
            <a:pPr lvl="1">
              <a:buClr>
                <a:srgbClr val="1C498B"/>
              </a:buClr>
              <a:buFont typeface="Courier New"/>
              <a:buChar char="o"/>
            </a:pPr>
            <a:r>
              <a:rPr lang="en-US" sz="1100" u="sng" dirty="0">
                <a:solidFill>
                  <a:srgbClr val="424242"/>
                </a:solidFill>
              </a:rPr>
              <a:t>Benchmarking</a:t>
            </a:r>
          </a:p>
          <a:p>
            <a:pPr lvl="2">
              <a:buFont typeface="Wingdings"/>
              <a:buChar char="§"/>
            </a:pPr>
            <a:r>
              <a:rPr lang="en-US" sz="1100" dirty="0">
                <a:solidFill>
                  <a:srgbClr val="424242"/>
                </a:solidFill>
              </a:rPr>
              <a:t>Track your hospital’s scores over time to celebrate the improvements that have been made and to identify where further improvements may be needed.</a:t>
            </a:r>
          </a:p>
          <a:p>
            <a:pPr lvl="2">
              <a:buClr>
                <a:srgbClr val="F5668F"/>
              </a:buClr>
              <a:buFont typeface="Wingdings"/>
              <a:buChar char="§"/>
            </a:pPr>
            <a:r>
              <a:rPr lang="en-US" sz="1100" dirty="0">
                <a:solidFill>
                  <a:srgbClr val="424242"/>
                </a:solidFill>
              </a:rPr>
              <a:t>See how your hospital is doing in relation to your </a:t>
            </a:r>
            <a:r>
              <a:rPr lang="en-US" sz="1100" dirty="0">
                <a:solidFill>
                  <a:srgbClr val="424242"/>
                </a:solidFill>
                <a:hlinkClick r:id="rId5"/>
              </a:rPr>
              <a:t>state</a:t>
            </a:r>
            <a:r>
              <a:rPr lang="en-US" sz="1100" dirty="0">
                <a:solidFill>
                  <a:srgbClr val="424242"/>
                </a:solidFill>
              </a:rPr>
              <a:t>, </a:t>
            </a:r>
            <a:r>
              <a:rPr lang="en-US" sz="1100" dirty="0">
                <a:solidFill>
                  <a:srgbClr val="424242"/>
                </a:solidFill>
                <a:hlinkClick r:id="rId6"/>
              </a:rPr>
              <a:t>region</a:t>
            </a:r>
            <a:r>
              <a:rPr lang="en-US" sz="1100" dirty="0">
                <a:solidFill>
                  <a:srgbClr val="424242"/>
                </a:solidFill>
              </a:rPr>
              <a:t> and the </a:t>
            </a:r>
            <a:r>
              <a:rPr lang="en-US" sz="1100" dirty="0">
                <a:solidFill>
                  <a:srgbClr val="424242"/>
                </a:solidFill>
                <a:hlinkClick r:id="rId7"/>
              </a:rPr>
              <a:t>nation</a:t>
            </a:r>
            <a:r>
              <a:rPr lang="en-US" sz="1100" dirty="0">
                <a:solidFill>
                  <a:srgbClr val="424242"/>
                </a:solidFill>
              </a:rPr>
              <a:t> and use your findings as leverage for change within your hospital.</a:t>
            </a:r>
            <a:endParaRPr lang="en-US" sz="1100"/>
          </a:p>
          <a:p>
            <a:pPr lvl="1">
              <a:buClr>
                <a:srgbClr val="1C498B"/>
              </a:buClr>
              <a:buFont typeface="Courier New"/>
              <a:buChar char="o"/>
            </a:pPr>
            <a:r>
              <a:rPr lang="en-US" sz="1100" u="sng" dirty="0">
                <a:solidFill>
                  <a:srgbClr val="424242"/>
                </a:solidFill>
              </a:rPr>
              <a:t>Staff  motivation</a:t>
            </a:r>
          </a:p>
          <a:p>
            <a:pPr lvl="2">
              <a:buClr>
                <a:srgbClr val="F5668F"/>
              </a:buClr>
              <a:buFont typeface="Wingdings"/>
              <a:buChar char="§"/>
            </a:pPr>
            <a:r>
              <a:rPr lang="en-US" sz="1100" dirty="0">
                <a:solidFill>
                  <a:srgbClr val="333333"/>
                </a:solidFill>
              </a:rPr>
              <a:t>Share results with staff, hospital leadership, partners, and supporters to highlight key areas where your hospital did well and opportunities for improvement.</a:t>
            </a:r>
          </a:p>
          <a:p>
            <a:pPr lvl="2">
              <a:buFont typeface="Wingdings"/>
              <a:buChar char="§"/>
            </a:pPr>
            <a:r>
              <a:rPr lang="en-US" sz="1100" dirty="0">
                <a:solidFill>
                  <a:srgbClr val="424242"/>
                </a:solidFill>
              </a:rPr>
              <a:t>Hospitals can request copies of their previous </a:t>
            </a:r>
            <a:r>
              <a:rPr lang="en-US" sz="1100" dirty="0" err="1">
                <a:solidFill>
                  <a:srgbClr val="424242"/>
                </a:solidFill>
              </a:rPr>
              <a:t>mPINC</a:t>
            </a:r>
            <a:r>
              <a:rPr lang="en-US" sz="1100" dirty="0">
                <a:solidFill>
                  <a:srgbClr val="424242"/>
                </a:solidFill>
              </a:rPr>
              <a:t> reports by emailing </a:t>
            </a:r>
            <a:r>
              <a:rPr lang="en-US" sz="1100" b="1" dirty="0">
                <a:solidFill>
                  <a:srgbClr val="424242"/>
                </a:solidFill>
                <a:hlinkClick r:id="rId8"/>
              </a:rPr>
              <a:t>mPINC@cdc.gov</a:t>
            </a:r>
            <a:r>
              <a:rPr lang="en-US" sz="1100" dirty="0">
                <a:solidFill>
                  <a:srgbClr val="424242"/>
                </a:solidFill>
              </a:rPr>
              <a:t> with their hospital’s name and address from their official hospital email address.</a:t>
            </a:r>
            <a:endParaRPr lang="en-US" sz="1100"/>
          </a:p>
        </p:txBody>
      </p:sp>
      <p:sp>
        <p:nvSpPr>
          <p:cNvPr id="4" name="Slide Number Placeholder 3">
            <a:extLst>
              <a:ext uri="{FF2B5EF4-FFF2-40B4-BE49-F238E27FC236}">
                <a16:creationId xmlns:a16="http://schemas.microsoft.com/office/drawing/2014/main" id="{4B04C4B0-AF1A-7801-B21B-4A5D383BD8C1}"/>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61</a:t>
            </a:fld>
            <a:endParaRPr lang="en-US"/>
          </a:p>
        </p:txBody>
      </p:sp>
    </p:spTree>
    <p:extLst>
      <p:ext uri="{BB962C8B-B14F-4D97-AF65-F5344CB8AC3E}">
        <p14:creationId xmlns:p14="http://schemas.microsoft.com/office/powerpoint/2010/main" val="7166031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12696"/>
        <p:cNvGrpSpPr/>
        <p:nvPr/>
      </p:nvGrpSpPr>
      <p:grpSpPr>
        <a:xfrm>
          <a:off x="0" y="0"/>
          <a:ext cx="0" cy="0"/>
          <a:chOff x="0" y="0"/>
          <a:chExt cx="0" cy="0"/>
        </a:xfrm>
      </p:grpSpPr>
      <p:sp>
        <p:nvSpPr>
          <p:cNvPr id="12697" name="Google Shape;12697;p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r>
              <a:rPr lang="en-US"/>
              <a:t>2024 BE Goals</a:t>
            </a:r>
          </a:p>
        </p:txBody>
      </p:sp>
      <p:sp>
        <p:nvSpPr>
          <p:cNvPr id="12698" name="Google Shape;12698;p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0E83-E0C0-A0D1-6B82-D6AB6297435C}"/>
              </a:ext>
            </a:extLst>
          </p:cNvPr>
          <p:cNvSpPr>
            <a:spLocks noGrp="1"/>
          </p:cNvSpPr>
          <p:nvPr>
            <p:ph type="title"/>
          </p:nvPr>
        </p:nvSpPr>
        <p:spPr>
          <a:xfrm>
            <a:off x="383357" y="320675"/>
            <a:ext cx="8242169" cy="1325563"/>
          </a:xfrm>
        </p:spPr>
        <p:txBody>
          <a:bodyPr/>
          <a:lstStyle/>
          <a:p>
            <a:r>
              <a:rPr lang="en-US"/>
              <a:t>Achieving Birth Equity QI Excellence Award by Face-to-Face Meeting May 2024</a:t>
            </a:r>
          </a:p>
        </p:txBody>
      </p:sp>
      <p:sp>
        <p:nvSpPr>
          <p:cNvPr id="3" name="Text Placeholder 2">
            <a:extLst>
              <a:ext uri="{FF2B5EF4-FFF2-40B4-BE49-F238E27FC236}">
                <a16:creationId xmlns:a16="http://schemas.microsoft.com/office/drawing/2014/main" id="{860DED57-40FF-095C-C5DD-2B1DC27C5F01}"/>
              </a:ext>
            </a:extLst>
          </p:cNvPr>
          <p:cNvSpPr>
            <a:spLocks noGrp="1"/>
          </p:cNvSpPr>
          <p:nvPr>
            <p:ph type="body" idx="1"/>
          </p:nvPr>
        </p:nvSpPr>
        <p:spPr/>
        <p:txBody>
          <a:bodyPr/>
          <a:lstStyle/>
          <a:p>
            <a:pPr algn="l" rtl="0" fontAlgn="base">
              <a:buFont typeface="Arial" panose="020B0604020202020204" pitchFamily="34" charset="0"/>
              <a:buChar char="•"/>
            </a:pPr>
            <a:r>
              <a:rPr lang="en-US" b="0" i="0" u="none" strike="noStrike" dirty="0">
                <a:solidFill>
                  <a:srgbClr val="1F497D"/>
                </a:solidFill>
                <a:effectLst/>
                <a:latin typeface="Calibri" panose="020F0502020204030204" pitchFamily="34" charset="0"/>
              </a:rPr>
              <a:t>All data submitted</a:t>
            </a:r>
            <a:r>
              <a:rPr lang="en-US" b="0" i="0" dirty="0">
                <a:solidFill>
                  <a:srgbClr val="1F497D"/>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b="0" i="0" u="none" strike="noStrike" dirty="0">
                <a:solidFill>
                  <a:srgbClr val="1F497D"/>
                </a:solidFill>
                <a:effectLst/>
                <a:latin typeface="Calibri" panose="020F0502020204030204" pitchFamily="34" charset="0"/>
              </a:rPr>
              <a:t>7/7 key structure measures in place</a:t>
            </a:r>
            <a:r>
              <a:rPr lang="en-US" b="0" i="0" dirty="0">
                <a:solidFill>
                  <a:srgbClr val="1F497D"/>
                </a:solidFill>
                <a:effectLst/>
                <a:latin typeface="Calibri" panose="020F0502020204030204" pitchFamily="34" charset="0"/>
              </a:rPr>
              <a:t>​</a:t>
            </a:r>
          </a:p>
          <a:p>
            <a:pPr algn="l" rtl="0" fontAlgn="base">
              <a:buFont typeface="Arial" panose="020B0604020202020204" pitchFamily="34" charset="0"/>
              <a:buChar char="•"/>
            </a:pPr>
            <a:r>
              <a:rPr lang="en-US" dirty="0">
                <a:solidFill>
                  <a:srgbClr val="1F497D"/>
                </a:solidFill>
                <a:latin typeface="Calibri" panose="020F0502020204030204" pitchFamily="34" charset="0"/>
              </a:rPr>
              <a:t>Achieve key BE goals</a:t>
            </a:r>
            <a:endParaRPr lang="en-US" b="0"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b="0" i="0" u="none" strike="noStrike" dirty="0">
                <a:solidFill>
                  <a:srgbClr val="1F497D"/>
                </a:solidFill>
                <a:effectLst/>
                <a:latin typeface="Calibri" panose="020F0502020204030204" pitchFamily="34" charset="0"/>
              </a:rPr>
              <a:t>Provider, nurse, and staff education </a:t>
            </a:r>
            <a:r>
              <a:rPr lang="en-US" b="0" i="0" u="sng" dirty="0">
                <a:solidFill>
                  <a:srgbClr val="1F497D"/>
                </a:solidFill>
                <a:effectLst/>
                <a:latin typeface="Calibri" panose="020F0502020204030204" pitchFamily="34" charset="0"/>
              </a:rPr>
              <a:t>&gt;</a:t>
            </a:r>
            <a:r>
              <a:rPr lang="en-US" b="0" i="0" u="none" strike="noStrike" dirty="0">
                <a:solidFill>
                  <a:srgbClr val="1F497D"/>
                </a:solidFill>
                <a:effectLst/>
                <a:latin typeface="Calibri" panose="020F0502020204030204" pitchFamily="34" charset="0"/>
              </a:rPr>
              <a:t> 70% </a:t>
            </a:r>
            <a:r>
              <a:rPr lang="en-US" b="0" i="0" dirty="0">
                <a:solidFill>
                  <a:srgbClr val="1F497D"/>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b="0" i="0" u="none" strike="noStrike" dirty="0" err="1">
                <a:solidFill>
                  <a:srgbClr val="1F497D"/>
                </a:solidFill>
                <a:effectLst/>
                <a:latin typeface="Calibri" panose="020F0502020204030204" pitchFamily="34" charset="0"/>
              </a:rPr>
              <a:t>SDoH</a:t>
            </a:r>
            <a:r>
              <a:rPr lang="en-US" b="0" i="0" u="none" strike="noStrike" dirty="0">
                <a:solidFill>
                  <a:srgbClr val="1F497D"/>
                </a:solidFill>
                <a:effectLst/>
                <a:latin typeface="Calibri" panose="020F0502020204030204" pitchFamily="34" charset="0"/>
              </a:rPr>
              <a:t> delivery admission screening </a:t>
            </a:r>
            <a:r>
              <a:rPr lang="en-US" b="0" i="0" u="sng" dirty="0">
                <a:solidFill>
                  <a:srgbClr val="1F497D"/>
                </a:solidFill>
                <a:effectLst/>
                <a:latin typeface="Calibri" panose="020F0502020204030204" pitchFamily="34" charset="0"/>
              </a:rPr>
              <a:t>&gt;</a:t>
            </a:r>
            <a:r>
              <a:rPr lang="en-US" b="0" i="0" u="none" strike="noStrike" dirty="0">
                <a:solidFill>
                  <a:srgbClr val="1F497D"/>
                </a:solidFill>
                <a:effectLst/>
                <a:latin typeface="Calibri" panose="020F0502020204030204" pitchFamily="34" charset="0"/>
              </a:rPr>
              <a:t> 70%</a:t>
            </a:r>
            <a:r>
              <a:rPr lang="en-US" b="0" i="0" dirty="0">
                <a:solidFill>
                  <a:srgbClr val="1F497D"/>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b="0" i="0" u="none" strike="noStrike" dirty="0" err="1">
                <a:solidFill>
                  <a:srgbClr val="1F497D"/>
                </a:solidFill>
                <a:effectLst/>
                <a:latin typeface="Calibri" panose="020F0502020204030204" pitchFamily="34" charset="0"/>
              </a:rPr>
              <a:t>SDoH</a:t>
            </a:r>
            <a:r>
              <a:rPr lang="en-US" b="0" i="0" u="none" strike="noStrike" dirty="0">
                <a:solidFill>
                  <a:srgbClr val="1F497D"/>
                </a:solidFill>
                <a:effectLst/>
                <a:latin typeface="Calibri" panose="020F0502020204030204" pitchFamily="34" charset="0"/>
              </a:rPr>
              <a:t> screen positive linkage to resources </a:t>
            </a:r>
            <a:r>
              <a:rPr lang="en-US" b="0" i="0" u="sng" dirty="0">
                <a:solidFill>
                  <a:srgbClr val="1F497D"/>
                </a:solidFill>
                <a:effectLst/>
                <a:latin typeface="Calibri" panose="020F0502020204030204" pitchFamily="34" charset="0"/>
              </a:rPr>
              <a:t>&gt;</a:t>
            </a:r>
            <a:r>
              <a:rPr lang="en-US" b="0" i="0" u="none" strike="noStrike" dirty="0">
                <a:solidFill>
                  <a:srgbClr val="1F497D"/>
                </a:solidFill>
                <a:effectLst/>
                <a:latin typeface="Calibri" panose="020F0502020204030204" pitchFamily="34" charset="0"/>
              </a:rPr>
              <a:t> 70%</a:t>
            </a:r>
            <a:r>
              <a:rPr lang="en-US" b="0" i="0" dirty="0">
                <a:solidFill>
                  <a:srgbClr val="1F497D"/>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lvl="1" fontAlgn="base">
              <a:buFont typeface="Arial" panose="020B0604020202020204" pitchFamily="34" charset="0"/>
              <a:buChar char="•"/>
            </a:pPr>
            <a:r>
              <a:rPr lang="en-US" b="0" i="0" u="none" strike="noStrike" dirty="0">
                <a:solidFill>
                  <a:srgbClr val="1F497D"/>
                </a:solidFill>
                <a:effectLst/>
                <a:latin typeface="Calibri" panose="020F0502020204030204" pitchFamily="34" charset="0"/>
              </a:rPr>
              <a:t>PREM completion rate </a:t>
            </a:r>
            <a:r>
              <a:rPr lang="en-US" b="0" i="0" u="sng" dirty="0">
                <a:solidFill>
                  <a:srgbClr val="1F497D"/>
                </a:solidFill>
                <a:effectLst/>
                <a:latin typeface="Calibri" panose="020F0502020204030204" pitchFamily="34" charset="0"/>
              </a:rPr>
              <a:t>&gt;</a:t>
            </a:r>
            <a:r>
              <a:rPr lang="en-US" b="0" i="0" u="none" strike="noStrike" dirty="0">
                <a:solidFill>
                  <a:srgbClr val="1F497D"/>
                </a:solidFill>
                <a:effectLst/>
                <a:latin typeface="Calibri" panose="020F0502020204030204" pitchFamily="34" charset="0"/>
              </a:rPr>
              <a:t> 10%</a:t>
            </a:r>
            <a:endParaRPr lang="en-US" b="0" i="0" dirty="0">
              <a:solidFill>
                <a:srgbClr val="000000"/>
              </a:solidFill>
              <a:effectLst/>
              <a:latin typeface="Arial" panose="020B0604020202020204" pitchFamily="34" charset="0"/>
            </a:endParaRPr>
          </a:p>
          <a:p>
            <a:endParaRPr lang="en-US" dirty="0"/>
          </a:p>
        </p:txBody>
      </p:sp>
      <p:sp>
        <p:nvSpPr>
          <p:cNvPr id="4" name="Text Placeholder 3">
            <a:extLst>
              <a:ext uri="{FF2B5EF4-FFF2-40B4-BE49-F238E27FC236}">
                <a16:creationId xmlns:a16="http://schemas.microsoft.com/office/drawing/2014/main" id="{49948CD5-93AC-0FC1-73C4-D3FEF8C60AD0}"/>
              </a:ext>
            </a:extLst>
          </p:cNvPr>
          <p:cNvSpPr>
            <a:spLocks noGrp="1"/>
          </p:cNvSpPr>
          <p:nvPr>
            <p:ph type="body" idx="2"/>
          </p:nvPr>
        </p:nvSpPr>
        <p:spPr/>
        <p:txBody>
          <a:bodyPr/>
          <a:lstStyle/>
          <a:p>
            <a:r>
              <a:rPr lang="en-US" sz="2800"/>
              <a:t>Reach out to Aleena &amp; Alana for a 1:1 QI support call if there are any measures you need support to achieve BE QI Excellence</a:t>
            </a:r>
          </a:p>
          <a:p>
            <a:r>
              <a:rPr lang="en-US" sz="2800"/>
              <a:t>We will reach out to teams who are still working on having all structure measures in place</a:t>
            </a:r>
          </a:p>
          <a:p>
            <a:r>
              <a:rPr lang="en-US" sz="2800"/>
              <a:t>Email info@ilpqc.org</a:t>
            </a:r>
          </a:p>
        </p:txBody>
      </p:sp>
      <p:sp>
        <p:nvSpPr>
          <p:cNvPr id="5" name="Slide Number Placeholder 4">
            <a:extLst>
              <a:ext uri="{FF2B5EF4-FFF2-40B4-BE49-F238E27FC236}">
                <a16:creationId xmlns:a16="http://schemas.microsoft.com/office/drawing/2014/main" id="{181A6727-0C3D-85DA-1EB3-1BC54F2BAD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3</a:t>
            </a:fld>
            <a:endParaRPr lang="en-US"/>
          </a:p>
        </p:txBody>
      </p:sp>
    </p:spTree>
    <p:extLst>
      <p:ext uri="{BB962C8B-B14F-4D97-AF65-F5344CB8AC3E}">
        <p14:creationId xmlns:p14="http://schemas.microsoft.com/office/powerpoint/2010/main" val="29970369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2713"/>
        <p:cNvGrpSpPr/>
        <p:nvPr/>
      </p:nvGrpSpPr>
      <p:grpSpPr>
        <a:xfrm>
          <a:off x="0" y="0"/>
          <a:ext cx="0" cy="0"/>
          <a:chOff x="0" y="0"/>
          <a:chExt cx="0" cy="0"/>
        </a:xfrm>
      </p:grpSpPr>
      <p:sp>
        <p:nvSpPr>
          <p:cNvPr id="12714" name="Google Shape;12714;p42"/>
          <p:cNvSpPr txBox="1">
            <a:spLocks noGrp="1"/>
          </p:cNvSpPr>
          <p:nvPr>
            <p:ph type="title"/>
          </p:nvPr>
        </p:nvSpPr>
        <p:spPr>
          <a:xfrm>
            <a:off x="247581" y="172509"/>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Upcoming BE Calls</a:t>
            </a:r>
            <a:endParaRPr/>
          </a:p>
        </p:txBody>
      </p:sp>
      <p:sp>
        <p:nvSpPr>
          <p:cNvPr id="12715" name="Google Shape;12715;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AEB3B7"/>
              </a:buClr>
              <a:buSzPts val="1200"/>
              <a:buFont typeface="Calibri"/>
              <a:buNone/>
            </a:pPr>
            <a:fld id="{00000000-1234-1234-1234-123412341234}" type="slidenum">
              <a:rPr lang="en-US" sz="1200" b="0" i="0" u="none" strike="noStrike" cap="none">
                <a:solidFill>
                  <a:srgbClr val="AEB3B7"/>
                </a:solidFill>
                <a:latin typeface="Calibri"/>
                <a:ea typeface="Calibri"/>
                <a:cs typeface="Calibri"/>
                <a:sym typeface="Calibri"/>
              </a:rPr>
              <a:t>64</a:t>
            </a:fld>
            <a:endParaRPr sz="1200" b="0" i="0" u="none" strike="noStrike" cap="none">
              <a:solidFill>
                <a:srgbClr val="AEB3B7"/>
              </a:solidFill>
              <a:latin typeface="Calibri"/>
              <a:ea typeface="Calibri"/>
              <a:cs typeface="Calibri"/>
              <a:sym typeface="Calibri"/>
            </a:endParaRPr>
          </a:p>
        </p:txBody>
      </p:sp>
      <p:sp>
        <p:nvSpPr>
          <p:cNvPr id="12716" name="Google Shape;12716;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19497"/>
              </a:buClr>
              <a:buSzPts val="1200"/>
              <a:buFont typeface="Calibri"/>
              <a:buNone/>
            </a:pPr>
            <a:r>
              <a:rPr lang="en-US" sz="1200" b="0" i="0" u="none" strike="noStrike" cap="none">
                <a:solidFill>
                  <a:srgbClr val="919497"/>
                </a:solidFill>
                <a:latin typeface="Calibri"/>
                <a:ea typeface="Calibri"/>
                <a:cs typeface="Calibri"/>
                <a:sym typeface="Calibri"/>
              </a:rPr>
              <a:t>Illinois Perinatal Quality Collaborative</a:t>
            </a:r>
            <a:endParaRPr/>
          </a:p>
        </p:txBody>
      </p:sp>
      <p:graphicFrame>
        <p:nvGraphicFramePr>
          <p:cNvPr id="12717" name="Google Shape;12717;p42"/>
          <p:cNvGraphicFramePr/>
          <p:nvPr>
            <p:extLst>
              <p:ext uri="{D42A27DB-BD31-4B8C-83A1-F6EECF244321}">
                <p14:modId xmlns:p14="http://schemas.microsoft.com/office/powerpoint/2010/main" val="916110990"/>
              </p:ext>
            </p:extLst>
          </p:nvPr>
        </p:nvGraphicFramePr>
        <p:xfrm>
          <a:off x="247581" y="1803498"/>
          <a:ext cx="9728675" cy="3247863"/>
        </p:xfrm>
        <a:graphic>
          <a:graphicData uri="http://schemas.openxmlformats.org/drawingml/2006/table">
            <a:tbl>
              <a:tblPr firstRow="1" bandRow="1">
                <a:noFill/>
                <a:tableStyleId>{907AF9B1-F0F0-4187-A23C-68A95F3377F3}</a:tableStyleId>
              </a:tblPr>
              <a:tblGrid>
                <a:gridCol w="5552550">
                  <a:extLst>
                    <a:ext uri="{9D8B030D-6E8A-4147-A177-3AD203B41FA5}">
                      <a16:colId xmlns:a16="http://schemas.microsoft.com/office/drawing/2014/main" val="20000"/>
                    </a:ext>
                  </a:extLst>
                </a:gridCol>
                <a:gridCol w="4176125">
                  <a:extLst>
                    <a:ext uri="{9D8B030D-6E8A-4147-A177-3AD203B41FA5}">
                      <a16:colId xmlns:a16="http://schemas.microsoft.com/office/drawing/2014/main" val="20001"/>
                    </a:ext>
                  </a:extLst>
                </a:gridCol>
              </a:tblGrid>
              <a:tr h="744275">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a:solidFill>
                            <a:srgbClr val="000000"/>
                          </a:solidFill>
                        </a:rPr>
                        <a:t>Event </a:t>
                      </a:r>
                      <a:endParaRPr sz="1400" u="none" strike="noStrike" cap="none"/>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a:solidFill>
                            <a:srgbClr val="000000"/>
                          </a:solidFill>
                        </a:rPr>
                        <a:t>Day/Time </a:t>
                      </a:r>
                      <a:endParaRPr sz="1400" u="none" strike="noStrike" cap="none"/>
                    </a:p>
                  </a:txBody>
                  <a:tcPr marL="91450" marR="91450" marT="45725" marB="45725"/>
                </a:tc>
                <a:extLst>
                  <a:ext uri="{0D108BD9-81ED-4DB2-BD59-A6C34878D82A}">
                    <a16:rowId xmlns:a16="http://schemas.microsoft.com/office/drawing/2014/main" val="10000"/>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chemeClr val="accent1"/>
                          </a:solidFill>
                          <a:latin typeface="Calibri"/>
                          <a:ea typeface="Calibri"/>
                          <a:cs typeface="Calibri"/>
                          <a:sym typeface="Calibri"/>
                        </a:rPr>
                        <a:t>BE April Webinar</a:t>
                      </a:r>
                      <a:r>
                        <a:rPr lang="en-US" sz="2400" b="1" i="0" u="none" strike="noStrike" cap="none">
                          <a:solidFill>
                            <a:schemeClr val="accent1"/>
                          </a:solidFill>
                          <a:latin typeface="Calibri"/>
                          <a:ea typeface="Calibri"/>
                          <a:cs typeface="Calibri"/>
                        </a:rPr>
                        <a:t> – </a:t>
                      </a:r>
                      <a:r>
                        <a:rPr lang="en-US" sz="2400" b="1" i="1" u="none" strike="noStrike" cap="none">
                          <a:solidFill>
                            <a:schemeClr val="accent1"/>
                          </a:solidFill>
                          <a:latin typeface="Calibri"/>
                          <a:ea typeface="Calibri"/>
                          <a:cs typeface="Calibri"/>
                        </a:rPr>
                        <a:t>Expanding patient access to home visiting programs</a:t>
                      </a:r>
                      <a:endParaRPr sz="2400" b="1" i="1" u="none" strike="noStrike" cap="none">
                        <a:solidFill>
                          <a:schemeClr val="accent1"/>
                        </a:solidFill>
                        <a:latin typeface="Calibri"/>
                        <a:ea typeface="Calibri"/>
                        <a:cs typeface="Calibri"/>
                        <a:sym typeface="Calibri"/>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dirty="0">
                          <a:solidFill>
                            <a:schemeClr val="accent1"/>
                          </a:solidFill>
                          <a:latin typeface="Calibri"/>
                          <a:ea typeface="Calibri"/>
                          <a:cs typeface="Calibri"/>
                          <a:sym typeface="Calibri"/>
                        </a:rPr>
                        <a:t>Monday, April 15th 12-1pm CT</a:t>
                      </a:r>
                      <a:endParaRPr dirty="0"/>
                    </a:p>
                  </a:txBody>
                  <a:tcPr marL="91450" marR="91450" marT="45725" marB="45725"/>
                </a:tc>
                <a:extLst>
                  <a:ext uri="{0D108BD9-81ED-4DB2-BD59-A6C34878D82A}">
                    <a16:rowId xmlns:a16="http://schemas.microsoft.com/office/drawing/2014/main" val="10004"/>
                  </a:ext>
                </a:extLst>
              </a:tr>
              <a:tr h="949100">
                <a:tc>
                  <a:txBody>
                    <a:bodyPr/>
                    <a:lstStyle/>
                    <a:p>
                      <a:pPr marL="0" lvl="0" indent="0" algn="l">
                        <a:lnSpc>
                          <a:spcPct val="100000"/>
                        </a:lnSpc>
                        <a:spcBef>
                          <a:spcPts val="0"/>
                        </a:spcBef>
                        <a:spcAft>
                          <a:spcPts val="0"/>
                        </a:spcAft>
                        <a:buNone/>
                      </a:pPr>
                      <a:r>
                        <a:rPr lang="en-US" sz="2400" b="1" i="1" u="none" strike="noStrike" cap="none" dirty="0">
                          <a:solidFill>
                            <a:schemeClr val="accent1"/>
                          </a:solidFill>
                          <a:latin typeface="Calibri"/>
                          <a:ea typeface="Calibri"/>
                          <a:cs typeface="Calibri"/>
                        </a:rPr>
                        <a:t>ILPQC Face-to-Face Conference</a:t>
                      </a:r>
                      <a:endParaRPr sz="2400" b="1" i="1" u="none" strike="noStrike" cap="none" dirty="0">
                        <a:solidFill>
                          <a:schemeClr val="accent1"/>
                        </a:solidFill>
                        <a:latin typeface="Calibri"/>
                        <a:ea typeface="Calibri"/>
                        <a:cs typeface="Calibri"/>
                        <a:sym typeface="Calibri"/>
                      </a:endParaRPr>
                    </a:p>
                  </a:txBody>
                  <a:tcPr marL="91450" marR="91450" marT="45724" marB="45724"/>
                </a:tc>
                <a:tc>
                  <a:txBody>
                    <a:bodyPr/>
                    <a:lstStyle/>
                    <a:p>
                      <a:pPr marL="0" lvl="0" indent="0" algn="l">
                        <a:lnSpc>
                          <a:spcPct val="100000"/>
                        </a:lnSpc>
                        <a:spcBef>
                          <a:spcPts val="0"/>
                        </a:spcBef>
                        <a:spcAft>
                          <a:spcPts val="0"/>
                        </a:spcAft>
                        <a:buNone/>
                      </a:pPr>
                      <a:r>
                        <a:rPr lang="en-US" sz="2400" b="1" i="0" u="none" strike="noStrike" cap="none" dirty="0">
                          <a:solidFill>
                            <a:schemeClr val="accent1"/>
                          </a:solidFill>
                          <a:latin typeface="Calibri"/>
                          <a:cs typeface="Calibri"/>
                        </a:rPr>
                        <a:t>OB Focus: Wednesday, May 22</a:t>
                      </a:r>
                    </a:p>
                    <a:p>
                      <a:pPr marL="0" lvl="0" indent="0" algn="l">
                        <a:lnSpc>
                          <a:spcPct val="100000"/>
                        </a:lnSpc>
                        <a:spcBef>
                          <a:spcPts val="0"/>
                        </a:spcBef>
                        <a:spcAft>
                          <a:spcPts val="0"/>
                        </a:spcAft>
                        <a:buNone/>
                      </a:pPr>
                      <a:r>
                        <a:rPr lang="en-US" sz="2400" b="1" i="0" u="none" strike="noStrike" cap="none" dirty="0">
                          <a:solidFill>
                            <a:schemeClr val="accent1"/>
                          </a:solidFill>
                          <a:latin typeface="Calibri"/>
                          <a:cs typeface="Calibri"/>
                        </a:rPr>
                        <a:t>Neo Focus: Thursday, May 23</a:t>
                      </a:r>
                    </a:p>
                    <a:p>
                      <a:pPr marL="0" lvl="0" indent="0" algn="l">
                        <a:lnSpc>
                          <a:spcPct val="100000"/>
                        </a:lnSpc>
                        <a:spcBef>
                          <a:spcPts val="0"/>
                        </a:spcBef>
                        <a:spcAft>
                          <a:spcPts val="0"/>
                        </a:spcAft>
                        <a:buNone/>
                      </a:pPr>
                      <a:r>
                        <a:rPr lang="en-US" sz="2400" b="1" i="1" u="none" strike="noStrike" cap="none" dirty="0">
                          <a:solidFill>
                            <a:schemeClr val="accent1"/>
                          </a:solidFill>
                          <a:latin typeface="Calibri"/>
                          <a:cs typeface="Calibri"/>
                        </a:rPr>
                        <a:t>Attendees are encouraged to attend both days!</a:t>
                      </a:r>
                    </a:p>
                  </a:txBody>
                  <a:tcPr marL="91450" marR="91450" marT="45724" marB="45724"/>
                </a:tc>
                <a:extLst>
                  <a:ext uri="{0D108BD9-81ED-4DB2-BD59-A6C34878D82A}">
                    <a16:rowId xmlns:a16="http://schemas.microsoft.com/office/drawing/2014/main" val="3260839331"/>
                  </a:ext>
                </a:extLst>
              </a:tr>
            </a:tbl>
          </a:graphicData>
        </a:graphic>
      </p:graphicFrame>
      <p:pic>
        <p:nvPicPr>
          <p:cNvPr id="12718" name="Google Shape;12718;p42" descr="Daily calendar with solid fill"/>
          <p:cNvPicPr preferRelativeResize="0"/>
          <p:nvPr/>
        </p:nvPicPr>
        <p:blipFill rotWithShape="1">
          <a:blip r:embed="rId3">
            <a:alphaModFix/>
          </a:blip>
          <a:srcRect/>
          <a:stretch/>
        </p:blipFill>
        <p:spPr>
          <a:xfrm>
            <a:off x="9745910" y="2089272"/>
            <a:ext cx="2707630" cy="2676316"/>
          </a:xfrm>
          <a:prstGeom prst="rect">
            <a:avLst/>
          </a:prstGeom>
          <a:noFill/>
          <a:ln>
            <a:noFill/>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2723"/>
        <p:cNvGrpSpPr/>
        <p:nvPr/>
      </p:nvGrpSpPr>
      <p:grpSpPr>
        <a:xfrm>
          <a:off x="0" y="0"/>
          <a:ext cx="0" cy="0"/>
          <a:chOff x="0" y="0"/>
          <a:chExt cx="0" cy="0"/>
        </a:xfrm>
      </p:grpSpPr>
      <p:sp>
        <p:nvSpPr>
          <p:cNvPr id="12724" name="Google Shape;12724;p1192"/>
          <p:cNvSpPr txBox="1">
            <a:spLocks noGrp="1"/>
          </p:cNvSpPr>
          <p:nvPr>
            <p:ph type="sldNum" idx="12"/>
          </p:nvPr>
        </p:nvSpPr>
        <p:spPr>
          <a:xfrm>
            <a:off x="8839200" y="6356351"/>
            <a:ext cx="2743200" cy="365200"/>
          </a:xfrm>
          <a:prstGeom prst="rect">
            <a:avLst/>
          </a:prstGeom>
          <a:noFill/>
          <a:ln>
            <a:noFill/>
          </a:ln>
        </p:spPr>
        <p:txBody>
          <a:bodyPr spcFirstLastPara="1" wrap="square" lIns="91425" tIns="45700" rIns="91425" bIns="45700" anchor="ctr" anchorCtr="0">
            <a:normAutofit/>
          </a:bodyPr>
          <a:lstStyle/>
          <a:p>
            <a:pPr marL="0" lvl="0" indent="0" algn="r" rtl="0">
              <a:lnSpc>
                <a:spcPct val="100000"/>
              </a:lnSpc>
              <a:spcBef>
                <a:spcPts val="0"/>
              </a:spcBef>
              <a:spcAft>
                <a:spcPts val="0"/>
              </a:spcAft>
              <a:buClr>
                <a:srgbClr val="AEB3B7"/>
              </a:buClr>
              <a:buSzPts val="900"/>
              <a:buNone/>
            </a:pPr>
            <a:fld id="{00000000-1234-1234-1234-123412341234}" type="slidenum">
              <a:rPr lang="en-US" dirty="0"/>
              <a:t>65</a:t>
            </a:fld>
            <a:endParaRPr/>
          </a:p>
        </p:txBody>
      </p:sp>
      <p:sp>
        <p:nvSpPr>
          <p:cNvPr id="12725" name="Google Shape;12725;p1192"/>
          <p:cNvSpPr txBox="1">
            <a:spLocks noGrp="1"/>
          </p:cNvSpPr>
          <p:nvPr>
            <p:ph type="ftr" idx="11"/>
          </p:nvPr>
        </p:nvSpPr>
        <p:spPr>
          <a:xfrm>
            <a:off x="609600" y="6356351"/>
            <a:ext cx="4114800" cy="365200"/>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rgbClr val="919497"/>
              </a:buClr>
              <a:buSzPts val="900"/>
              <a:buNone/>
            </a:pPr>
            <a:r>
              <a:rPr lang="en-US" sz="1200">
                <a:solidFill>
                  <a:srgbClr val="919497"/>
                </a:solidFill>
                <a:latin typeface="Calibri"/>
                <a:ea typeface="Calibri"/>
                <a:cs typeface="Calibri"/>
                <a:sym typeface="Calibri"/>
              </a:rPr>
              <a:t>Illinois Perinatal Quality Collaborative</a:t>
            </a:r>
            <a:endParaRPr/>
          </a:p>
        </p:txBody>
      </p:sp>
      <p:pic>
        <p:nvPicPr>
          <p:cNvPr id="12726" name="Google Shape;12726;p1192"/>
          <p:cNvPicPr preferRelativeResize="0"/>
          <p:nvPr/>
        </p:nvPicPr>
        <p:blipFill rotWithShape="1">
          <a:blip r:embed="rId3">
            <a:alphaModFix/>
          </a:blip>
          <a:srcRect/>
          <a:stretch/>
        </p:blipFill>
        <p:spPr>
          <a:xfrm>
            <a:off x="-5438" y="0"/>
            <a:ext cx="6173327" cy="6397191"/>
          </a:xfrm>
          <a:prstGeom prst="rect">
            <a:avLst/>
          </a:prstGeom>
          <a:noFill/>
          <a:ln>
            <a:noFill/>
          </a:ln>
        </p:spPr>
      </p:pic>
      <p:pic>
        <p:nvPicPr>
          <p:cNvPr id="12727" name="Google Shape;12727;p1192" descr="A text on a black background&#10;&#10;Description automatically generated"/>
          <p:cNvPicPr preferRelativeResize="0"/>
          <p:nvPr/>
        </p:nvPicPr>
        <p:blipFill rotWithShape="1">
          <a:blip r:embed="rId4">
            <a:alphaModFix/>
          </a:blip>
          <a:srcRect/>
          <a:stretch/>
        </p:blipFill>
        <p:spPr>
          <a:xfrm>
            <a:off x="6162136" y="2198002"/>
            <a:ext cx="6107502" cy="4201655"/>
          </a:xfrm>
          <a:prstGeom prst="rect">
            <a:avLst/>
          </a:prstGeom>
          <a:noFill/>
          <a:ln>
            <a:noFill/>
          </a:ln>
        </p:spPr>
      </p:pic>
      <p:sp>
        <p:nvSpPr>
          <p:cNvPr id="12728" name="Google Shape;12728;p1192"/>
          <p:cNvSpPr/>
          <p:nvPr/>
        </p:nvSpPr>
        <p:spPr>
          <a:xfrm>
            <a:off x="6799951" y="-90"/>
            <a:ext cx="5391508" cy="1437735"/>
          </a:xfrm>
          <a:prstGeom prst="roundRect">
            <a:avLst>
              <a:gd name="adj" fmla="val 16667"/>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29" name="Google Shape;12729;p1192"/>
          <p:cNvSpPr txBox="1"/>
          <p:nvPr/>
        </p:nvSpPr>
        <p:spPr>
          <a:xfrm>
            <a:off x="7506329" y="574195"/>
            <a:ext cx="3245149" cy="129266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3900" b="1" i="0" u="none" strike="noStrike" cap="none">
                <a:solidFill>
                  <a:srgbClr val="083C92"/>
                </a:solidFill>
                <a:latin typeface="Arial"/>
                <a:ea typeface="Arial"/>
                <a:cs typeface="Arial"/>
                <a:sym typeface="Arial"/>
              </a:rPr>
              <a:t>ILPQC </a:t>
            </a:r>
            <a:endParaRPr sz="3900" b="0" i="0" u="none" strike="noStrike" cap="none">
              <a:solidFill>
                <a:srgbClr val="083C92"/>
              </a:solidFill>
              <a:latin typeface="Arial"/>
              <a:ea typeface="Arial"/>
              <a:cs typeface="Arial"/>
              <a:sym typeface="Arial"/>
            </a:endParaRPr>
          </a:p>
          <a:p>
            <a:pPr marL="0" marR="0" lvl="0" indent="0" algn="l" rtl="0">
              <a:lnSpc>
                <a:spcPct val="100000"/>
              </a:lnSpc>
              <a:spcBef>
                <a:spcPts val="0"/>
              </a:spcBef>
              <a:spcAft>
                <a:spcPts val="0"/>
              </a:spcAft>
              <a:buNone/>
            </a:pPr>
            <a:r>
              <a:rPr lang="en-US" sz="3900" b="1" i="0" u="none" strike="noStrike" cap="none">
                <a:solidFill>
                  <a:srgbClr val="083C92"/>
                </a:solidFill>
                <a:latin typeface="Arial"/>
                <a:ea typeface="Arial"/>
                <a:cs typeface="Arial"/>
                <a:sym typeface="Arial"/>
              </a:rPr>
              <a:t>2024 Events</a:t>
            </a:r>
            <a:endParaRPr sz="3900" b="0" i="0" u="none" strike="noStrike" cap="none">
              <a:solidFill>
                <a:srgbClr val="083C92"/>
              </a:solidFill>
              <a:latin typeface="Arial"/>
              <a:ea typeface="Arial"/>
              <a:cs typeface="Arial"/>
              <a:sym typeface="Arial"/>
            </a:endParaRPr>
          </a:p>
        </p:txBody>
      </p:sp>
      <p:pic>
        <p:nvPicPr>
          <p:cNvPr id="12730" name="Google Shape;12730;p1192" descr="Balloons outline"/>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487064" y="139460"/>
            <a:ext cx="914400" cy="914400"/>
          </a:xfrm>
          <a:prstGeom prst="rect">
            <a:avLst/>
          </a:prstGeom>
          <a:noFill/>
          <a:ln>
            <a:noFill/>
          </a:ln>
        </p:spPr>
      </p:pic>
      <p:pic>
        <p:nvPicPr>
          <p:cNvPr id="12731" name="Google Shape;12731;p1192" descr="Dance outline"/>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570234" y="1289649"/>
            <a:ext cx="914400" cy="91440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900E83-E0C0-A0D1-6B82-D6AB6297435C}"/>
              </a:ext>
            </a:extLst>
          </p:cNvPr>
          <p:cNvSpPr>
            <a:spLocks noGrp="1"/>
          </p:cNvSpPr>
          <p:nvPr>
            <p:ph type="title"/>
          </p:nvPr>
        </p:nvSpPr>
        <p:spPr>
          <a:xfrm>
            <a:off x="383357" y="70583"/>
            <a:ext cx="7979105" cy="1325563"/>
          </a:xfrm>
        </p:spPr>
        <p:txBody>
          <a:bodyPr/>
          <a:lstStyle/>
          <a:p>
            <a:r>
              <a:rPr lang="en-US" sz="3600" dirty="0"/>
              <a:t>Achieving Birth Equity QI Excellence Award by Face-to-Face Meeting May 2024</a:t>
            </a:r>
          </a:p>
        </p:txBody>
      </p:sp>
      <p:sp>
        <p:nvSpPr>
          <p:cNvPr id="3" name="Text Placeholder 2">
            <a:extLst>
              <a:ext uri="{FF2B5EF4-FFF2-40B4-BE49-F238E27FC236}">
                <a16:creationId xmlns:a16="http://schemas.microsoft.com/office/drawing/2014/main" id="{860DED57-40FF-095C-C5DD-2B1DC27C5F01}"/>
              </a:ext>
            </a:extLst>
          </p:cNvPr>
          <p:cNvSpPr>
            <a:spLocks noGrp="1"/>
          </p:cNvSpPr>
          <p:nvPr>
            <p:ph type="body" idx="1"/>
          </p:nvPr>
        </p:nvSpPr>
        <p:spPr>
          <a:xfrm>
            <a:off x="468418" y="1618596"/>
            <a:ext cx="11808643" cy="3996471"/>
          </a:xfrm>
        </p:spPr>
        <p:txBody>
          <a:bodyPr/>
          <a:lstStyle/>
          <a:p>
            <a:pPr algn="l" rtl="0" fontAlgn="base">
              <a:buFont typeface="Arial" panose="020B0604020202020204" pitchFamily="34" charset="0"/>
              <a:buChar char="•"/>
            </a:pPr>
            <a:r>
              <a:rPr lang="en-US" sz="3200" b="1" i="0" u="none" strike="noStrike" dirty="0">
                <a:solidFill>
                  <a:schemeClr val="accent6">
                    <a:lumMod val="75000"/>
                  </a:schemeClr>
                </a:solidFill>
                <a:effectLst/>
                <a:latin typeface="Calibri" panose="020F0502020204030204" pitchFamily="34" charset="0"/>
                <a:cs typeface="Calibri" panose="020F0502020204030204" pitchFamily="34" charset="0"/>
              </a:rPr>
              <a:t>All data submitted (baseline – March 2024)</a:t>
            </a:r>
            <a:r>
              <a:rPr lang="en-US" sz="3200" b="1" i="0" dirty="0">
                <a:solidFill>
                  <a:schemeClr val="accent6">
                    <a:lumMod val="75000"/>
                  </a:schemeClr>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3200" b="1" i="0" u="none" strike="noStrike" dirty="0">
                <a:solidFill>
                  <a:schemeClr val="accent6">
                    <a:lumMod val="75000"/>
                  </a:schemeClr>
                </a:solidFill>
                <a:effectLst/>
                <a:latin typeface="Calibri" panose="020F0502020204030204" pitchFamily="34" charset="0"/>
                <a:cs typeface="Calibri" panose="020F0502020204030204" pitchFamily="34" charset="0"/>
              </a:rPr>
              <a:t>7/7 key structure measures </a:t>
            </a:r>
            <a:r>
              <a:rPr lang="en-US" sz="3200" b="1" dirty="0">
                <a:solidFill>
                  <a:schemeClr val="accent6">
                    <a:lumMod val="75000"/>
                  </a:schemeClr>
                </a:solidFill>
                <a:latin typeface="Calibri" panose="020F0502020204030204" pitchFamily="34" charset="0"/>
                <a:cs typeface="Calibri" panose="020F0502020204030204" pitchFamily="34" charset="0"/>
              </a:rPr>
              <a:t>IN PLACE (Green)</a:t>
            </a:r>
            <a:r>
              <a:rPr lang="en-US" sz="3200" b="1" i="0" dirty="0">
                <a:solidFill>
                  <a:schemeClr val="accent6">
                    <a:lumMod val="75000"/>
                  </a:schemeClr>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3200" b="1" dirty="0">
                <a:solidFill>
                  <a:schemeClr val="accent6">
                    <a:lumMod val="75000"/>
                  </a:schemeClr>
                </a:solidFill>
                <a:latin typeface="Calibri" panose="020F0502020204030204" pitchFamily="34" charset="0"/>
                <a:cs typeface="Calibri" panose="020F0502020204030204" pitchFamily="34" charset="0"/>
              </a:rPr>
              <a:t>Achieve key BE goals:</a:t>
            </a:r>
            <a:endParaRPr lang="en-US" sz="3200" b="1" i="0" dirty="0">
              <a:solidFill>
                <a:schemeClr val="accent6">
                  <a:lumMod val="75000"/>
                </a:schemeClr>
              </a:solidFill>
              <a:effectLst/>
              <a:latin typeface="Calibri" panose="020F0502020204030204" pitchFamily="34" charset="0"/>
              <a:cs typeface="Calibri" panose="020F0502020204030204" pitchFamily="34" charset="0"/>
            </a:endParaRPr>
          </a:p>
          <a:p>
            <a:pPr lvl="1" fontAlgn="base">
              <a:buFont typeface="Arial" panose="020B0604020202020204" pitchFamily="34" charset="0"/>
              <a:buChar char="•"/>
            </a:pPr>
            <a:r>
              <a:rPr lang="en-US" i="0" u="none" strike="noStrike" dirty="0">
                <a:effectLst/>
                <a:latin typeface="Calibri" panose="020F0502020204030204" pitchFamily="34" charset="0"/>
                <a:cs typeface="Calibri" panose="020F0502020204030204" pitchFamily="34" charset="0"/>
              </a:rPr>
              <a:t>Provider, nurse, and staff education </a:t>
            </a:r>
            <a:r>
              <a:rPr lang="en-US" i="0" u="sng" dirty="0">
                <a:effectLst/>
                <a:latin typeface="Calibri" panose="020F0502020204030204" pitchFamily="34" charset="0"/>
                <a:cs typeface="Calibri" panose="020F0502020204030204" pitchFamily="34" charset="0"/>
              </a:rPr>
              <a:t>&gt;</a:t>
            </a:r>
            <a:r>
              <a:rPr lang="en-US" i="0" u="none" strike="noStrike" dirty="0">
                <a:effectLst/>
                <a:latin typeface="Calibri" panose="020F0502020204030204" pitchFamily="34" charset="0"/>
                <a:cs typeface="Calibri" panose="020F0502020204030204" pitchFamily="34" charset="0"/>
              </a:rPr>
              <a:t> 70%  </a:t>
            </a:r>
            <a:r>
              <a:rPr lang="en-US" i="0" dirty="0">
                <a:effectLst/>
                <a:latin typeface="Calibri" panose="020F0502020204030204" pitchFamily="34" charset="0"/>
                <a:cs typeface="Calibri" panose="020F0502020204030204" pitchFamily="34" charset="0"/>
              </a:rPr>
              <a:t>​</a:t>
            </a:r>
          </a:p>
          <a:p>
            <a:pPr lvl="1" fontAlgn="base">
              <a:buFont typeface="Arial" panose="020B0604020202020204" pitchFamily="34" charset="0"/>
              <a:buChar char="•"/>
            </a:pPr>
            <a:r>
              <a:rPr lang="en-US" i="0" u="none" strike="noStrike" dirty="0" err="1">
                <a:effectLst/>
                <a:latin typeface="Calibri" panose="020F0502020204030204" pitchFamily="34" charset="0"/>
                <a:cs typeface="Calibri" panose="020F0502020204030204" pitchFamily="34" charset="0"/>
              </a:rPr>
              <a:t>SDoH</a:t>
            </a:r>
            <a:r>
              <a:rPr lang="en-US" i="0" u="none" strike="noStrike" dirty="0">
                <a:effectLst/>
                <a:latin typeface="Calibri" panose="020F0502020204030204" pitchFamily="34" charset="0"/>
                <a:cs typeface="Calibri" panose="020F0502020204030204" pitchFamily="34" charset="0"/>
              </a:rPr>
              <a:t> delivery admission screening </a:t>
            </a:r>
            <a:r>
              <a:rPr lang="en-US" i="0" u="sng" dirty="0">
                <a:effectLst/>
                <a:latin typeface="Calibri" panose="020F0502020204030204" pitchFamily="34" charset="0"/>
                <a:cs typeface="Calibri" panose="020F0502020204030204" pitchFamily="34" charset="0"/>
              </a:rPr>
              <a:t>&gt;</a:t>
            </a:r>
            <a:r>
              <a:rPr lang="en-US" i="0" u="none" strike="noStrike" dirty="0">
                <a:effectLst/>
                <a:latin typeface="Calibri" panose="020F0502020204030204" pitchFamily="34" charset="0"/>
                <a:cs typeface="Calibri" panose="020F0502020204030204" pitchFamily="34" charset="0"/>
              </a:rPr>
              <a:t> 70%</a:t>
            </a:r>
            <a:r>
              <a:rPr lang="en-US" i="0" dirty="0">
                <a:effectLst/>
                <a:latin typeface="Calibri" panose="020F0502020204030204" pitchFamily="34" charset="0"/>
                <a:cs typeface="Calibri" panose="020F0502020204030204" pitchFamily="34" charset="0"/>
              </a:rPr>
              <a:t>​</a:t>
            </a:r>
          </a:p>
          <a:p>
            <a:pPr lvl="1" fontAlgn="base">
              <a:buFont typeface="Arial" panose="020B0604020202020204" pitchFamily="34" charset="0"/>
              <a:buChar char="•"/>
            </a:pPr>
            <a:r>
              <a:rPr lang="en-US" i="0" u="none" strike="noStrike" dirty="0" err="1">
                <a:effectLst/>
                <a:latin typeface="Calibri" panose="020F0502020204030204" pitchFamily="34" charset="0"/>
                <a:cs typeface="Calibri" panose="020F0502020204030204" pitchFamily="34" charset="0"/>
              </a:rPr>
              <a:t>SDoH</a:t>
            </a:r>
            <a:r>
              <a:rPr lang="en-US" i="0" u="none" strike="noStrike" dirty="0">
                <a:effectLst/>
                <a:latin typeface="Calibri" panose="020F0502020204030204" pitchFamily="34" charset="0"/>
                <a:cs typeface="Calibri" panose="020F0502020204030204" pitchFamily="34" charset="0"/>
              </a:rPr>
              <a:t> screen positive linkage to resources </a:t>
            </a:r>
            <a:r>
              <a:rPr lang="en-US" i="0" u="sng" dirty="0">
                <a:effectLst/>
                <a:latin typeface="Calibri" panose="020F0502020204030204" pitchFamily="34" charset="0"/>
                <a:cs typeface="Calibri" panose="020F0502020204030204" pitchFamily="34" charset="0"/>
              </a:rPr>
              <a:t>&gt;</a:t>
            </a:r>
            <a:r>
              <a:rPr lang="en-US" i="0" u="none" strike="noStrike" dirty="0">
                <a:effectLst/>
                <a:latin typeface="Calibri" panose="020F0502020204030204" pitchFamily="34" charset="0"/>
                <a:cs typeface="Calibri" panose="020F0502020204030204" pitchFamily="34" charset="0"/>
              </a:rPr>
              <a:t> 70%</a:t>
            </a:r>
            <a:r>
              <a:rPr lang="en-US" i="0" dirty="0">
                <a:effectLst/>
                <a:latin typeface="Calibri" panose="020F0502020204030204" pitchFamily="34" charset="0"/>
                <a:cs typeface="Calibri" panose="020F0502020204030204" pitchFamily="34" charset="0"/>
              </a:rPr>
              <a:t>​</a:t>
            </a:r>
          </a:p>
          <a:p>
            <a:pPr lvl="1" fontAlgn="base">
              <a:buFont typeface="Arial" panose="020B0604020202020204" pitchFamily="34" charset="0"/>
              <a:buChar char="•"/>
            </a:pPr>
            <a:r>
              <a:rPr lang="en-US" i="0" u="none" strike="noStrike" dirty="0">
                <a:effectLst/>
                <a:latin typeface="Calibri" panose="020F0502020204030204" pitchFamily="34" charset="0"/>
                <a:cs typeface="Calibri" panose="020F0502020204030204" pitchFamily="34" charset="0"/>
              </a:rPr>
              <a:t>PREM completion rate </a:t>
            </a:r>
            <a:r>
              <a:rPr lang="en-US" i="0" u="sng" dirty="0">
                <a:effectLst/>
                <a:latin typeface="Calibri" panose="020F0502020204030204" pitchFamily="34" charset="0"/>
                <a:cs typeface="Calibri" panose="020F0502020204030204" pitchFamily="34" charset="0"/>
              </a:rPr>
              <a:t>&gt;</a:t>
            </a:r>
            <a:r>
              <a:rPr lang="en-US" i="0" u="none" strike="noStrike" dirty="0">
                <a:effectLst/>
                <a:latin typeface="Calibri" panose="020F0502020204030204" pitchFamily="34" charset="0"/>
                <a:cs typeface="Calibri" panose="020F0502020204030204" pitchFamily="34" charset="0"/>
              </a:rPr>
              <a:t> 10%</a:t>
            </a:r>
            <a:endParaRPr lang="en-US" i="0" dirty="0">
              <a:effectLst/>
              <a:latin typeface="Calibri" panose="020F0502020204030204" pitchFamily="34" charset="0"/>
              <a:cs typeface="Calibri" panose="020F0502020204030204" pitchFamily="34" charset="0"/>
            </a:endParaRPr>
          </a:p>
          <a:p>
            <a:endParaRPr lang="en-US" dirty="0"/>
          </a:p>
        </p:txBody>
      </p:sp>
      <p:sp>
        <p:nvSpPr>
          <p:cNvPr id="5" name="Slide Number Placeholder 4">
            <a:extLst>
              <a:ext uri="{FF2B5EF4-FFF2-40B4-BE49-F238E27FC236}">
                <a16:creationId xmlns:a16="http://schemas.microsoft.com/office/drawing/2014/main" id="{181A6727-0C3D-85DA-1EB3-1BC54F2BADF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spTree>
    <p:extLst>
      <p:ext uri="{BB962C8B-B14F-4D97-AF65-F5344CB8AC3E}">
        <p14:creationId xmlns:p14="http://schemas.microsoft.com/office/powerpoint/2010/main" val="574777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C9430-B97F-AD6C-FFC9-4861D9548BBA}"/>
              </a:ext>
            </a:extLst>
          </p:cNvPr>
          <p:cNvSpPr>
            <a:spLocks noGrp="1"/>
          </p:cNvSpPr>
          <p:nvPr>
            <p:ph type="title"/>
          </p:nvPr>
        </p:nvSpPr>
        <p:spPr>
          <a:xfrm>
            <a:off x="609600" y="365125"/>
            <a:ext cx="7639251" cy="1549644"/>
          </a:xfrm>
        </p:spPr>
        <p:txBody>
          <a:bodyPr/>
          <a:lstStyle/>
          <a:p>
            <a:r>
              <a:rPr lang="en-US" dirty="0"/>
              <a:t>Patient Engagement is key to sustainability of Birth Equity ---</a:t>
            </a:r>
            <a:br>
              <a:rPr lang="en-US" dirty="0"/>
            </a:br>
            <a:r>
              <a:rPr lang="en-US" dirty="0"/>
              <a:t>BE Data Form Updates</a:t>
            </a:r>
          </a:p>
        </p:txBody>
      </p:sp>
      <p:sp>
        <p:nvSpPr>
          <p:cNvPr id="4" name="Slide Number Placeholder 3">
            <a:extLst>
              <a:ext uri="{FF2B5EF4-FFF2-40B4-BE49-F238E27FC236}">
                <a16:creationId xmlns:a16="http://schemas.microsoft.com/office/drawing/2014/main" id="{FE8FA41E-1C81-3CFF-BD75-EC8B2CCD60D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8</a:t>
            </a:fld>
            <a:endParaRPr lang="en-US"/>
          </a:p>
        </p:txBody>
      </p:sp>
      <p:graphicFrame>
        <p:nvGraphicFramePr>
          <p:cNvPr id="5" name="Diagram 4">
            <a:extLst>
              <a:ext uri="{FF2B5EF4-FFF2-40B4-BE49-F238E27FC236}">
                <a16:creationId xmlns:a16="http://schemas.microsoft.com/office/drawing/2014/main" id="{B96F30E7-4363-890E-F21C-A02F352B3A0C}"/>
              </a:ext>
            </a:extLst>
          </p:cNvPr>
          <p:cNvGraphicFramePr/>
          <p:nvPr>
            <p:extLst>
              <p:ext uri="{D42A27DB-BD31-4B8C-83A1-F6EECF244321}">
                <p14:modId xmlns:p14="http://schemas.microsoft.com/office/powerpoint/2010/main" val="1585183068"/>
              </p:ext>
            </p:extLst>
          </p:nvPr>
        </p:nvGraphicFramePr>
        <p:xfrm>
          <a:off x="966839" y="1272459"/>
          <a:ext cx="10258321" cy="51488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C13821A1-C695-4E02-AC21-A8513ABE8570}"/>
              </a:ext>
            </a:extLst>
          </p:cNvPr>
          <p:cNvSpPr txBox="1"/>
          <p:nvPr/>
        </p:nvSpPr>
        <p:spPr>
          <a:xfrm>
            <a:off x="1963554" y="5585541"/>
            <a:ext cx="8470232" cy="707886"/>
          </a:xfrm>
          <a:prstGeom prst="rect">
            <a:avLst/>
          </a:prstGeom>
          <a:noFill/>
        </p:spPr>
        <p:txBody>
          <a:bodyPr wrap="square" rtlCol="0">
            <a:spAutoFit/>
          </a:bodyPr>
          <a:lstStyle/>
          <a:p>
            <a:pPr algn="ctr"/>
            <a:r>
              <a:rPr lang="en-US" sz="2000"/>
              <a:t>Adding questions on Patient Partners and Respectful Care Breakfast to Birth Equity Data Form as will be required for Sustainability</a:t>
            </a:r>
          </a:p>
        </p:txBody>
      </p:sp>
    </p:spTree>
    <p:extLst>
      <p:ext uri="{BB962C8B-B14F-4D97-AF65-F5344CB8AC3E}">
        <p14:creationId xmlns:p14="http://schemas.microsoft.com/office/powerpoint/2010/main" val="1288250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6862-3D01-AA23-A463-DF1F3E266D62}"/>
              </a:ext>
            </a:extLst>
          </p:cNvPr>
          <p:cNvSpPr>
            <a:spLocks noGrp="1"/>
          </p:cNvSpPr>
          <p:nvPr>
            <p:ph type="title"/>
          </p:nvPr>
        </p:nvSpPr>
        <p:spPr>
          <a:xfrm>
            <a:off x="224503" y="-36359"/>
            <a:ext cx="10972800" cy="1325563"/>
          </a:xfrm>
        </p:spPr>
        <p:txBody>
          <a:bodyPr/>
          <a:lstStyle/>
          <a:p>
            <a:r>
              <a:rPr lang="en-US" dirty="0"/>
              <a:t>ILPQC </a:t>
            </a:r>
            <a:r>
              <a:rPr lang="en-US" dirty="0" err="1"/>
              <a:t>RedCap</a:t>
            </a:r>
            <a:r>
              <a:rPr lang="en-US" dirty="0"/>
              <a:t> Data</a:t>
            </a:r>
            <a:br>
              <a:rPr lang="en-US" dirty="0"/>
            </a:br>
            <a:r>
              <a:rPr lang="en-US" dirty="0"/>
              <a:t>Respectful Care Breakfast Questions</a:t>
            </a:r>
          </a:p>
        </p:txBody>
      </p:sp>
      <p:sp>
        <p:nvSpPr>
          <p:cNvPr id="3" name="Text Placeholder 2">
            <a:extLst>
              <a:ext uri="{FF2B5EF4-FFF2-40B4-BE49-F238E27FC236}">
                <a16:creationId xmlns:a16="http://schemas.microsoft.com/office/drawing/2014/main" id="{9762BF5F-928E-2E48-1860-275347451739}"/>
              </a:ext>
            </a:extLst>
          </p:cNvPr>
          <p:cNvSpPr>
            <a:spLocks noGrp="1"/>
          </p:cNvSpPr>
          <p:nvPr>
            <p:ph type="body" idx="1"/>
          </p:nvPr>
        </p:nvSpPr>
        <p:spPr>
          <a:xfrm>
            <a:off x="508000" y="1185658"/>
            <a:ext cx="10964607" cy="5170692"/>
          </a:xfrm>
        </p:spPr>
        <p:txBody>
          <a:bodyPr/>
          <a:lstStyle/>
          <a:p>
            <a:r>
              <a:rPr lang="en-US" sz="1400" b="1" dirty="0">
                <a:solidFill>
                  <a:srgbClr val="201F1E"/>
                </a:solidFill>
              </a:rPr>
              <a:t>Has your team hosted a respectful care breakfast? </a:t>
            </a:r>
            <a:endParaRPr lang="en-US" sz="1400" b="1" dirty="0"/>
          </a:p>
          <a:p>
            <a:pPr lvl="1">
              <a:buClr>
                <a:srgbClr val="1C498B"/>
              </a:buClr>
            </a:pPr>
            <a:r>
              <a:rPr lang="en-US" sz="1400" dirty="0">
                <a:solidFill>
                  <a:srgbClr val="201F1E"/>
                </a:solidFill>
              </a:rPr>
              <a:t>Yes, No, Planned  </a:t>
            </a:r>
            <a:endParaRPr lang="en-US" sz="1400" dirty="0"/>
          </a:p>
          <a:p>
            <a:r>
              <a:rPr lang="en-US" sz="1400" b="1" dirty="0">
                <a:solidFill>
                  <a:srgbClr val="201F1E"/>
                </a:solidFill>
              </a:rPr>
              <a:t>If planned, what is the date? </a:t>
            </a:r>
            <a:r>
              <a:rPr lang="en-US" sz="1400" dirty="0">
                <a:solidFill>
                  <a:srgbClr val="201F1E"/>
                </a:solidFill>
              </a:rPr>
              <a:t>(free text) </a:t>
            </a:r>
            <a:endParaRPr lang="en-US" sz="1400" dirty="0"/>
          </a:p>
          <a:p>
            <a:r>
              <a:rPr lang="en-US" sz="1400" b="1" dirty="0">
                <a:solidFill>
                  <a:srgbClr val="201F1E"/>
                </a:solidFill>
              </a:rPr>
              <a:t>If yes, when was the breakfast held? </a:t>
            </a:r>
            <a:endParaRPr lang="en-US" sz="1400" b="1" dirty="0"/>
          </a:p>
          <a:p>
            <a:pPr lvl="1">
              <a:buClr>
                <a:srgbClr val="1C498B"/>
              </a:buClr>
            </a:pPr>
            <a:r>
              <a:rPr lang="en-US" sz="1400" dirty="0">
                <a:solidFill>
                  <a:srgbClr val="201F1E"/>
                </a:solidFill>
              </a:rPr>
              <a:t>Date entered here </a:t>
            </a:r>
            <a:endParaRPr lang="en-US" sz="1400" dirty="0"/>
          </a:p>
          <a:p>
            <a:r>
              <a:rPr lang="en-US" sz="1400" b="1" dirty="0">
                <a:solidFill>
                  <a:srgbClr val="201F1E"/>
                </a:solidFill>
              </a:rPr>
              <a:t>If yes, how many people attended? </a:t>
            </a:r>
            <a:r>
              <a:rPr lang="en-US" sz="1400" dirty="0">
                <a:solidFill>
                  <a:srgbClr val="201F1E"/>
                </a:solidFill>
              </a:rPr>
              <a:t>(free text)</a:t>
            </a:r>
            <a:endParaRPr lang="en-US" sz="1400" b="1" dirty="0"/>
          </a:p>
          <a:p>
            <a:r>
              <a:rPr lang="en-US" sz="1400" b="1" dirty="0">
                <a:solidFill>
                  <a:srgbClr val="201F1E"/>
                </a:solidFill>
              </a:rPr>
              <a:t>If yes, did any attendees complete the post-event survey? </a:t>
            </a:r>
            <a:endParaRPr lang="en-US" sz="1400" b="1" dirty="0"/>
          </a:p>
          <a:p>
            <a:pPr lvl="1">
              <a:buClr>
                <a:srgbClr val="1C498B"/>
              </a:buClr>
            </a:pPr>
            <a:r>
              <a:rPr lang="en-US" sz="1400" dirty="0">
                <a:solidFill>
                  <a:srgbClr val="201F1E"/>
                </a:solidFill>
              </a:rPr>
              <a:t>Yes, No </a:t>
            </a:r>
            <a:endParaRPr lang="en-US" sz="1400" dirty="0"/>
          </a:p>
          <a:p>
            <a:pPr>
              <a:buClr>
                <a:srgbClr val="F5668F"/>
              </a:buClr>
            </a:pPr>
            <a:r>
              <a:rPr lang="en-US" sz="1400" b="1" dirty="0">
                <a:solidFill>
                  <a:srgbClr val="201F1E"/>
                </a:solidFill>
              </a:rPr>
              <a:t>If yes, did you review the post-event survey results with your BE team?</a:t>
            </a:r>
            <a:endParaRPr lang="en-US" sz="1400" b="1" dirty="0"/>
          </a:p>
          <a:p>
            <a:pPr lvl="1">
              <a:buClr>
                <a:srgbClr val="1C498B"/>
              </a:buClr>
            </a:pPr>
            <a:r>
              <a:rPr lang="en-US" sz="1400" dirty="0">
                <a:solidFill>
                  <a:srgbClr val="201F1E"/>
                </a:solidFill>
              </a:rPr>
              <a:t>Yes, No </a:t>
            </a:r>
            <a:endParaRPr lang="en-US" sz="1400" dirty="0"/>
          </a:p>
          <a:p>
            <a:r>
              <a:rPr lang="en-US" sz="1400" b="1" dirty="0">
                <a:solidFill>
                  <a:srgbClr val="201F1E"/>
                </a:solidFill>
              </a:rPr>
              <a:t>If yes, what was the biggest success of the event?</a:t>
            </a:r>
            <a:r>
              <a:rPr lang="en-US" sz="1400" dirty="0">
                <a:solidFill>
                  <a:srgbClr val="201F1E"/>
                </a:solidFill>
              </a:rPr>
              <a:t> (free text)</a:t>
            </a:r>
            <a:endParaRPr lang="en-US" sz="1400" dirty="0"/>
          </a:p>
          <a:p>
            <a:r>
              <a:rPr lang="en-US" sz="1400" b="1" dirty="0">
                <a:solidFill>
                  <a:srgbClr val="201F1E"/>
                </a:solidFill>
              </a:rPr>
              <a:t>What are your plans for holding future respectful care breakfasts? </a:t>
            </a:r>
            <a:r>
              <a:rPr lang="en-US" sz="1400" dirty="0">
                <a:solidFill>
                  <a:srgbClr val="201F1E"/>
                </a:solidFill>
              </a:rPr>
              <a:t>(free text)</a:t>
            </a:r>
            <a:endParaRPr lang="en-US" sz="1400" dirty="0"/>
          </a:p>
          <a:p>
            <a:r>
              <a:rPr lang="en-US" sz="1400" b="1" dirty="0">
                <a:solidFill>
                  <a:srgbClr val="201F1E"/>
                </a:solidFill>
              </a:rPr>
              <a:t>Will you hold respectful care breakfasts:</a:t>
            </a:r>
            <a:endParaRPr lang="en-US" sz="1400" b="1" dirty="0"/>
          </a:p>
          <a:p>
            <a:pPr lvl="1">
              <a:buClr>
                <a:srgbClr val="1C498B"/>
              </a:buClr>
            </a:pPr>
            <a:r>
              <a:rPr lang="en-US" sz="1400" dirty="0">
                <a:solidFill>
                  <a:srgbClr val="201F1E"/>
                </a:solidFill>
              </a:rPr>
              <a:t>Quarterly, Bi-annually, Other (free text)</a:t>
            </a:r>
            <a:endParaRPr lang="en-US" sz="1400" dirty="0"/>
          </a:p>
        </p:txBody>
      </p:sp>
      <p:sp>
        <p:nvSpPr>
          <p:cNvPr id="4" name="Slide Number Placeholder 3">
            <a:extLst>
              <a:ext uri="{FF2B5EF4-FFF2-40B4-BE49-F238E27FC236}">
                <a16:creationId xmlns:a16="http://schemas.microsoft.com/office/drawing/2014/main" id="{4C237E91-DCF6-872D-CAEA-D97C786B7F7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a:t>9</a:t>
            </a:fld>
            <a:endParaRPr lang="en-US"/>
          </a:p>
        </p:txBody>
      </p:sp>
    </p:spTree>
    <p:extLst>
      <p:ext uri="{BB962C8B-B14F-4D97-AF65-F5344CB8AC3E}">
        <p14:creationId xmlns:p14="http://schemas.microsoft.com/office/powerpoint/2010/main" val="2093182215"/>
      </p:ext>
    </p:extLst>
  </p:cSld>
  <p:clrMapOvr>
    <a:masterClrMapping/>
  </p:clrMapOvr>
</p:sld>
</file>